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3.xml" ContentType="application/vnd.openxmlformats-officedocument.them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5.xml" ContentType="application/vnd.openxmlformats-officedocument.theme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heme/theme6.xml" ContentType="application/vnd.openxmlformats-officedocument.them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4"/>
    <p:sldMasterId id="2147483667" r:id="rId5"/>
    <p:sldMasterId id="2147483673" r:id="rId6"/>
    <p:sldMasterId id="2147483679" r:id="rId7"/>
    <p:sldMasterId id="2147483685" r:id="rId8"/>
  </p:sldMasterIdLst>
  <p:notesMasterIdLst>
    <p:notesMasterId r:id="rId25"/>
  </p:notesMasterIdLst>
  <p:sldIdLst>
    <p:sldId id="287" r:id="rId9"/>
    <p:sldId id="282" r:id="rId10"/>
    <p:sldId id="283" r:id="rId11"/>
    <p:sldId id="284" r:id="rId12"/>
    <p:sldId id="285" r:id="rId13"/>
    <p:sldId id="286" r:id="rId14"/>
    <p:sldId id="265" r:id="rId15"/>
    <p:sldId id="263" r:id="rId16"/>
    <p:sldId id="275" r:id="rId17"/>
    <p:sldId id="276" r:id="rId18"/>
    <p:sldId id="270" r:id="rId19"/>
    <p:sldId id="277" r:id="rId20"/>
    <p:sldId id="278" r:id="rId21"/>
    <p:sldId id="279" r:id="rId22"/>
    <p:sldId id="274" r:id="rId23"/>
    <p:sldId id="280" r:id="rId24"/>
  </p:sldIdLst>
  <p:sldSz cx="12192000" cy="6858000"/>
  <p:notesSz cx="6858000" cy="9144000"/>
  <p:defaultTextStyle>
    <a:defPPr>
      <a:defRPr lang="sw-K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799" autoAdjust="0"/>
    <p:restoredTop sz="94660" autoAdjust="0"/>
  </p:normalViewPr>
  <p:slideViewPr>
    <p:cSldViewPr snapToGrid="0">
      <p:cViewPr varScale="1">
        <p:scale>
          <a:sx n="70" d="100"/>
          <a:sy n="70" d="100"/>
        </p:scale>
        <p:origin x="780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2628"/>
    </p:cViewPr>
  </p:sorterViewPr>
  <p:notesViewPr>
    <p:cSldViewPr snapToGrid="0">
      <p:cViewPr varScale="1">
        <p:scale>
          <a:sx n="57" d="100"/>
          <a:sy n="57" d="100"/>
        </p:scale>
        <p:origin x="2832" y="7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viewProps" Target="viewProps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3">
  <dgm:title val=""/>
  <dgm:desc val=""/>
  <dgm:catLst>
    <dgm:cat type="mainScheme" pri="10300"/>
  </dgm:catLst>
  <dgm:styleLbl name="node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lignNode1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lnNode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vennNode1">
    <dgm:fillClrLst meth="repeat">
      <a:schemeClr val="dk2">
        <a:alpha val="50000"/>
      </a:schemeClr>
    </dgm:fillClrLst>
    <dgm:linClrLst meth="repeat">
      <a:schemeClr val="lt2"/>
    </dgm:linClrLst>
    <dgm:effectClrLst/>
    <dgm:txLinClrLst/>
    <dgm:txFillClrLst/>
    <dgm:txEffectClrLst/>
  </dgm:styleLbl>
  <dgm:styleLbl name="node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node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fgImgPlace1">
    <dgm:fillClrLst meth="repeat">
      <a:schemeClr val="dk2">
        <a:tint val="50000"/>
      </a:schemeClr>
    </dgm:fillClrLst>
    <dgm:linClrLst meth="repeat">
      <a:schemeClr val="lt2"/>
    </dgm:linClrLst>
    <dgm:effectClrLst/>
    <dgm:txLinClrLst/>
    <dgm:txFillClrLst meth="repeat">
      <a:schemeClr val="lt2"/>
    </dgm:txFillClrLst>
    <dgm:txEffectClrLst/>
  </dgm:styleLbl>
  <dgm:styleLbl name="align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bgImgPlace1">
    <dgm:fillClrLst meth="repeat">
      <a:schemeClr val="dk2">
        <a:tint val="5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2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callout">
    <dgm:fillClrLst meth="repeat">
      <a:schemeClr val="dk2"/>
    </dgm:fillClrLst>
    <dgm:linClrLst meth="repeat">
      <a:schemeClr val="dk2">
        <a:tint val="50000"/>
      </a:schemeClr>
    </dgm:linClrLst>
    <dgm:effectClrLst/>
    <dgm:txLinClrLst/>
    <dgm:txFillClrLst meth="repeat">
      <a:schemeClr val="lt2"/>
    </dgm:txFillClrLst>
    <dgm:txEffectClrLst/>
  </dgm:styleLbl>
  <dgm:styleLbl name="asst0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1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2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3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asst4">
    <dgm:fillClrLst meth="repeat">
      <a:schemeClr val="dk2"/>
    </dgm:fillClrLst>
    <dgm:linClrLst meth="repeat">
      <a:schemeClr val="lt2"/>
    </dgm:linClrLst>
    <dgm:effectClrLst/>
    <dgm:txLinClrLst/>
    <dgm:txFillClrLst/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lt2"/>
    </dgm:txFillClrLst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2">
        <a:alpha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2"/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dk2">
        <a:alpha val="90000"/>
        <a:tint val="40000"/>
      </a:schemeClr>
    </dgm:fillClrLst>
    <dgm:linClrLst meth="repeat">
      <a:schemeClr val="dk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2">
        <a:alpha val="9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2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2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6B3D9699-D2FA-4BF7-BCA6-31D5234BFAA2}" type="doc">
      <dgm:prSet loTypeId="urn:microsoft.com/office/officeart/2005/8/layout/orgChart1" loCatId="hierarchy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en-GB"/>
        </a:p>
      </dgm:t>
    </dgm:pt>
    <dgm:pt modelId="{74E68907-DD47-4247-9083-CCCAFDD2F38B}">
      <dgm:prSet phldrT="[Text]" custT="1"/>
      <dgm:spPr>
        <a:solidFill>
          <a:schemeClr val="accent1">
            <a:lumMod val="50000"/>
          </a:schemeClr>
        </a:solidFill>
        <a:ln>
          <a:noFill/>
        </a:ln>
      </dgm:spPr>
      <dgm:t>
        <a:bodyPr/>
        <a:lstStyle/>
        <a:p>
          <a:r>
            <a:rPr lang="en-GB" sz="1800" b="1" dirty="0" smtClean="0"/>
            <a:t>Solutions</a:t>
          </a:r>
          <a:r>
            <a:rPr lang="en-GB" sz="1800" dirty="0" smtClean="0"/>
            <a:t> </a:t>
          </a:r>
        </a:p>
        <a:p>
          <a:r>
            <a:rPr lang="en-GB" sz="1600" dirty="0" smtClean="0"/>
            <a:t>to address the identified issues</a:t>
          </a:r>
          <a:endParaRPr lang="en-GB" sz="1600" dirty="0"/>
        </a:p>
      </dgm:t>
    </dgm:pt>
    <dgm:pt modelId="{E2357771-F63E-48EC-8876-E9F4590B31B8}" type="parTrans" cxnId="{72FE4BFD-CE28-47F1-873E-03A73C522218}">
      <dgm:prSet/>
      <dgm:spPr/>
      <dgm:t>
        <a:bodyPr/>
        <a:lstStyle/>
        <a:p>
          <a:endParaRPr lang="en-GB" sz="2000"/>
        </a:p>
      </dgm:t>
    </dgm:pt>
    <dgm:pt modelId="{0015D941-7763-4DA0-98C5-CFE6DF1049EC}" type="sibTrans" cxnId="{72FE4BFD-CE28-47F1-873E-03A73C522218}">
      <dgm:prSet/>
      <dgm:spPr/>
      <dgm:t>
        <a:bodyPr/>
        <a:lstStyle/>
        <a:p>
          <a:endParaRPr lang="en-GB" sz="2000"/>
        </a:p>
      </dgm:t>
    </dgm:pt>
    <dgm:pt modelId="{D0E6F6BE-A947-458B-95DD-22BF74DA1DAA}">
      <dgm:prSet phldrT="[Text]" custT="1"/>
      <dgm:spPr>
        <a:ln>
          <a:noFill/>
        </a:ln>
      </dgm:spPr>
      <dgm:t>
        <a:bodyPr/>
        <a:lstStyle/>
        <a:p>
          <a:pPr algn="ctr"/>
          <a:r>
            <a:rPr lang="en-GB" sz="1800" b="1" dirty="0" smtClean="0"/>
            <a:t>Specific </a:t>
          </a:r>
          <a:r>
            <a:rPr lang="en-US" sz="1800" b="1" dirty="0" smtClean="0"/>
            <a:t>Facility Strengthening Approach</a:t>
          </a:r>
        </a:p>
      </dgm:t>
    </dgm:pt>
    <dgm:pt modelId="{45745F7B-C8D6-4869-B783-69B6056CACC3}" type="parTrans" cxnId="{F8DF182E-6F41-4A7E-967D-9958DCC2F6BF}">
      <dgm:prSet/>
      <dgm:spPr/>
      <dgm:t>
        <a:bodyPr/>
        <a:lstStyle/>
        <a:p>
          <a:endParaRPr lang="en-GB" sz="2000"/>
        </a:p>
      </dgm:t>
    </dgm:pt>
    <dgm:pt modelId="{2F078089-61F9-4EA5-9397-CB05337E348F}" type="sibTrans" cxnId="{F8DF182E-6F41-4A7E-967D-9958DCC2F6BF}">
      <dgm:prSet/>
      <dgm:spPr/>
      <dgm:t>
        <a:bodyPr/>
        <a:lstStyle/>
        <a:p>
          <a:endParaRPr lang="en-GB" sz="2000"/>
        </a:p>
      </dgm:t>
    </dgm:pt>
    <dgm:pt modelId="{EBC7AA50-7BE0-4209-8A79-C725F7106564}">
      <dgm:prSet phldrT="[Text]" custT="1"/>
      <dgm:spPr>
        <a:ln>
          <a:noFill/>
        </a:ln>
      </dgm:spPr>
      <dgm:t>
        <a:bodyPr/>
        <a:lstStyle/>
        <a:p>
          <a:r>
            <a:rPr lang="en-GB" sz="1800" b="1" dirty="0" smtClean="0"/>
            <a:t>General Facility Strengthening Approach</a:t>
          </a:r>
        </a:p>
      </dgm:t>
    </dgm:pt>
    <dgm:pt modelId="{6A5B94FB-DE7E-4D55-B65D-D46707428928}" type="parTrans" cxnId="{24B84DBE-819C-40EF-88FA-3B3E8F3F3752}">
      <dgm:prSet/>
      <dgm:spPr/>
      <dgm:t>
        <a:bodyPr/>
        <a:lstStyle/>
        <a:p>
          <a:endParaRPr lang="en-GB" sz="2000"/>
        </a:p>
      </dgm:t>
    </dgm:pt>
    <dgm:pt modelId="{C40F3894-9409-4337-88DD-1BAF772E3050}" type="sibTrans" cxnId="{24B84DBE-819C-40EF-88FA-3B3E8F3F3752}">
      <dgm:prSet/>
      <dgm:spPr/>
      <dgm:t>
        <a:bodyPr/>
        <a:lstStyle/>
        <a:p>
          <a:endParaRPr lang="en-GB" sz="2000"/>
        </a:p>
      </dgm:t>
    </dgm:pt>
    <dgm:pt modelId="{FF3B477F-B03D-44B7-B26D-A25D05687245}" type="pres">
      <dgm:prSet presAssocID="{6B3D9699-D2FA-4BF7-BCA6-31D5234BFAA2}" presName="hierChild1" presStyleCnt="0">
        <dgm:presLayoutVars>
          <dgm:orgChart val="1"/>
          <dgm:chPref val="1"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en-GB"/>
        </a:p>
      </dgm:t>
    </dgm:pt>
    <dgm:pt modelId="{DC2F7A5F-BDA3-46D2-885C-52789871E753}" type="pres">
      <dgm:prSet presAssocID="{74E68907-DD47-4247-9083-CCCAFDD2F38B}" presName="hierRoot1" presStyleCnt="0">
        <dgm:presLayoutVars>
          <dgm:hierBranch val="init"/>
        </dgm:presLayoutVars>
      </dgm:prSet>
      <dgm:spPr/>
    </dgm:pt>
    <dgm:pt modelId="{DE421904-B6E5-4AE8-A724-9BFC3582C8F2}" type="pres">
      <dgm:prSet presAssocID="{74E68907-DD47-4247-9083-CCCAFDD2F38B}" presName="rootComposite1" presStyleCnt="0"/>
      <dgm:spPr/>
    </dgm:pt>
    <dgm:pt modelId="{7A925E8E-1D8F-402B-BE1C-0FB0D554E191}" type="pres">
      <dgm:prSet presAssocID="{74E68907-DD47-4247-9083-CCCAFDD2F38B}" presName="rootText1" presStyleLbl="node0" presStyleIdx="0" presStyleCnt="1" custScaleY="42555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7B94B51E-43C4-45BA-9990-E5838ED20FC9}" type="pres">
      <dgm:prSet presAssocID="{74E68907-DD47-4247-9083-CCCAFDD2F38B}" presName="rootConnector1" presStyleLbl="node1" presStyleIdx="0" presStyleCnt="0"/>
      <dgm:spPr/>
      <dgm:t>
        <a:bodyPr/>
        <a:lstStyle/>
        <a:p>
          <a:endParaRPr lang="en-GB"/>
        </a:p>
      </dgm:t>
    </dgm:pt>
    <dgm:pt modelId="{D9333958-229F-42D9-BEA7-0DE06D303A22}" type="pres">
      <dgm:prSet presAssocID="{74E68907-DD47-4247-9083-CCCAFDD2F38B}" presName="hierChild2" presStyleCnt="0"/>
      <dgm:spPr/>
    </dgm:pt>
    <dgm:pt modelId="{9820BC9A-797B-4B17-975B-E26ED11EECC4}" type="pres">
      <dgm:prSet presAssocID="{45745F7B-C8D6-4869-B783-69B6056CACC3}" presName="Name37" presStyleLbl="parChTrans1D2" presStyleIdx="0" presStyleCnt="2"/>
      <dgm:spPr/>
      <dgm:t>
        <a:bodyPr/>
        <a:lstStyle/>
        <a:p>
          <a:endParaRPr lang="en-GB"/>
        </a:p>
      </dgm:t>
    </dgm:pt>
    <dgm:pt modelId="{7B110437-DD5A-4134-8D4E-2C25A4C86B06}" type="pres">
      <dgm:prSet presAssocID="{D0E6F6BE-A947-458B-95DD-22BF74DA1DAA}" presName="hierRoot2" presStyleCnt="0">
        <dgm:presLayoutVars>
          <dgm:hierBranch val="init"/>
        </dgm:presLayoutVars>
      </dgm:prSet>
      <dgm:spPr/>
    </dgm:pt>
    <dgm:pt modelId="{73E38C17-6D07-4A7B-B3A1-7A0701A40078}" type="pres">
      <dgm:prSet presAssocID="{D0E6F6BE-A947-458B-95DD-22BF74DA1DAA}" presName="rootComposite" presStyleCnt="0"/>
      <dgm:spPr/>
    </dgm:pt>
    <dgm:pt modelId="{A57F547C-9415-4119-9B35-0A997D277C12}" type="pres">
      <dgm:prSet presAssocID="{D0E6F6BE-A947-458B-95DD-22BF74DA1DAA}" presName="rootText" presStyleLbl="node2" presStyleIdx="0" presStyleCnt="2" custScaleY="36101" custLinFactNeighborX="-472" custLinFactNeighborY="6290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81DBF381-4B20-4869-9621-1496F437C0AF}" type="pres">
      <dgm:prSet presAssocID="{D0E6F6BE-A947-458B-95DD-22BF74DA1DAA}" presName="rootConnector" presStyleLbl="node2" presStyleIdx="0" presStyleCnt="2"/>
      <dgm:spPr/>
      <dgm:t>
        <a:bodyPr/>
        <a:lstStyle/>
        <a:p>
          <a:endParaRPr lang="en-GB"/>
        </a:p>
      </dgm:t>
    </dgm:pt>
    <dgm:pt modelId="{42EA4A6F-0F2F-448B-944E-382EF33303B6}" type="pres">
      <dgm:prSet presAssocID="{D0E6F6BE-A947-458B-95DD-22BF74DA1DAA}" presName="hierChild4" presStyleCnt="0"/>
      <dgm:spPr/>
    </dgm:pt>
    <dgm:pt modelId="{7FFE1336-BD2C-457F-866E-C9197E447DE3}" type="pres">
      <dgm:prSet presAssocID="{D0E6F6BE-A947-458B-95DD-22BF74DA1DAA}" presName="hierChild5" presStyleCnt="0"/>
      <dgm:spPr/>
    </dgm:pt>
    <dgm:pt modelId="{50C3CBDA-F557-40DA-AF99-409AF386AA93}" type="pres">
      <dgm:prSet presAssocID="{6A5B94FB-DE7E-4D55-B65D-D46707428928}" presName="Name37" presStyleLbl="parChTrans1D2" presStyleIdx="1" presStyleCnt="2"/>
      <dgm:spPr/>
      <dgm:t>
        <a:bodyPr/>
        <a:lstStyle/>
        <a:p>
          <a:endParaRPr lang="en-GB"/>
        </a:p>
      </dgm:t>
    </dgm:pt>
    <dgm:pt modelId="{46D7613C-415E-47E9-B020-95D5280FA46D}" type="pres">
      <dgm:prSet presAssocID="{EBC7AA50-7BE0-4209-8A79-C725F7106564}" presName="hierRoot2" presStyleCnt="0">
        <dgm:presLayoutVars>
          <dgm:hierBranch val="init"/>
        </dgm:presLayoutVars>
      </dgm:prSet>
      <dgm:spPr/>
    </dgm:pt>
    <dgm:pt modelId="{525F193C-AB50-4D04-8599-2EAB2DF181B6}" type="pres">
      <dgm:prSet presAssocID="{EBC7AA50-7BE0-4209-8A79-C725F7106564}" presName="rootComposite" presStyleCnt="0"/>
      <dgm:spPr/>
    </dgm:pt>
    <dgm:pt modelId="{902DB0D7-E916-47CC-995B-937B2928A65A}" type="pres">
      <dgm:prSet presAssocID="{EBC7AA50-7BE0-4209-8A79-C725F7106564}" presName="rootText" presStyleLbl="node2" presStyleIdx="1" presStyleCnt="2" custScaleY="36101" custLinFactNeighborX="835" custLinFactNeighborY="35391">
        <dgm:presLayoutVars>
          <dgm:chPref val="3"/>
        </dgm:presLayoutVars>
      </dgm:prSet>
      <dgm:spPr/>
      <dgm:t>
        <a:bodyPr/>
        <a:lstStyle/>
        <a:p>
          <a:endParaRPr lang="en-GB"/>
        </a:p>
      </dgm:t>
    </dgm:pt>
    <dgm:pt modelId="{DC48F73A-BD4E-4697-9E50-45BB8B45FE15}" type="pres">
      <dgm:prSet presAssocID="{EBC7AA50-7BE0-4209-8A79-C725F7106564}" presName="rootConnector" presStyleLbl="node2" presStyleIdx="1" presStyleCnt="2"/>
      <dgm:spPr/>
      <dgm:t>
        <a:bodyPr/>
        <a:lstStyle/>
        <a:p>
          <a:endParaRPr lang="en-GB"/>
        </a:p>
      </dgm:t>
    </dgm:pt>
    <dgm:pt modelId="{40E05643-A09F-478C-B645-7B9A72260724}" type="pres">
      <dgm:prSet presAssocID="{EBC7AA50-7BE0-4209-8A79-C725F7106564}" presName="hierChild4" presStyleCnt="0"/>
      <dgm:spPr/>
    </dgm:pt>
    <dgm:pt modelId="{54B9F0C2-6186-4C60-8335-A21072AE3E43}" type="pres">
      <dgm:prSet presAssocID="{EBC7AA50-7BE0-4209-8A79-C725F7106564}" presName="hierChild5" presStyleCnt="0"/>
      <dgm:spPr/>
    </dgm:pt>
    <dgm:pt modelId="{45D0BF4D-9B36-47D4-84E7-29CDE57FFC41}" type="pres">
      <dgm:prSet presAssocID="{74E68907-DD47-4247-9083-CCCAFDD2F38B}" presName="hierChild3" presStyleCnt="0"/>
      <dgm:spPr/>
    </dgm:pt>
  </dgm:ptLst>
  <dgm:cxnLst>
    <dgm:cxn modelId="{ED7749EF-966F-4F90-B12D-EB43563033E0}" type="presOf" srcId="{45745F7B-C8D6-4869-B783-69B6056CACC3}" destId="{9820BC9A-797B-4B17-975B-E26ED11EECC4}" srcOrd="0" destOrd="0" presId="urn:microsoft.com/office/officeart/2005/8/layout/orgChart1"/>
    <dgm:cxn modelId="{24B84DBE-819C-40EF-88FA-3B3E8F3F3752}" srcId="{74E68907-DD47-4247-9083-CCCAFDD2F38B}" destId="{EBC7AA50-7BE0-4209-8A79-C725F7106564}" srcOrd="1" destOrd="0" parTransId="{6A5B94FB-DE7E-4D55-B65D-D46707428928}" sibTransId="{C40F3894-9409-4337-88DD-1BAF772E3050}"/>
    <dgm:cxn modelId="{972F4439-4383-403B-992D-BC14AC68D016}" type="presOf" srcId="{EBC7AA50-7BE0-4209-8A79-C725F7106564}" destId="{DC48F73A-BD4E-4697-9E50-45BB8B45FE15}" srcOrd="1" destOrd="0" presId="urn:microsoft.com/office/officeart/2005/8/layout/orgChart1"/>
    <dgm:cxn modelId="{05627271-2AB1-42A6-9D26-4C1B641D5585}" type="presOf" srcId="{74E68907-DD47-4247-9083-CCCAFDD2F38B}" destId="{7B94B51E-43C4-45BA-9990-E5838ED20FC9}" srcOrd="1" destOrd="0" presId="urn:microsoft.com/office/officeart/2005/8/layout/orgChart1"/>
    <dgm:cxn modelId="{A2C12D79-4049-4B2F-9F78-CBC77DE234F4}" type="presOf" srcId="{6A5B94FB-DE7E-4D55-B65D-D46707428928}" destId="{50C3CBDA-F557-40DA-AF99-409AF386AA93}" srcOrd="0" destOrd="0" presId="urn:microsoft.com/office/officeart/2005/8/layout/orgChart1"/>
    <dgm:cxn modelId="{F8DF182E-6F41-4A7E-967D-9958DCC2F6BF}" srcId="{74E68907-DD47-4247-9083-CCCAFDD2F38B}" destId="{D0E6F6BE-A947-458B-95DD-22BF74DA1DAA}" srcOrd="0" destOrd="0" parTransId="{45745F7B-C8D6-4869-B783-69B6056CACC3}" sibTransId="{2F078089-61F9-4EA5-9397-CB05337E348F}"/>
    <dgm:cxn modelId="{10CDFF65-D3CD-4859-B280-9F246AD54BE5}" type="presOf" srcId="{D0E6F6BE-A947-458B-95DD-22BF74DA1DAA}" destId="{A57F547C-9415-4119-9B35-0A997D277C12}" srcOrd="0" destOrd="0" presId="urn:microsoft.com/office/officeart/2005/8/layout/orgChart1"/>
    <dgm:cxn modelId="{486B3B28-44F8-43A4-8177-3531D2DBE8D0}" type="presOf" srcId="{6B3D9699-D2FA-4BF7-BCA6-31D5234BFAA2}" destId="{FF3B477F-B03D-44B7-B26D-A25D05687245}" srcOrd="0" destOrd="0" presId="urn:microsoft.com/office/officeart/2005/8/layout/orgChart1"/>
    <dgm:cxn modelId="{0AF5246B-8820-423A-9184-76B18915AFCA}" type="presOf" srcId="{EBC7AA50-7BE0-4209-8A79-C725F7106564}" destId="{902DB0D7-E916-47CC-995B-937B2928A65A}" srcOrd="0" destOrd="0" presId="urn:microsoft.com/office/officeart/2005/8/layout/orgChart1"/>
    <dgm:cxn modelId="{B2A71BC6-5134-4929-AC08-56606C34CFCC}" type="presOf" srcId="{74E68907-DD47-4247-9083-CCCAFDD2F38B}" destId="{7A925E8E-1D8F-402B-BE1C-0FB0D554E191}" srcOrd="0" destOrd="0" presId="urn:microsoft.com/office/officeart/2005/8/layout/orgChart1"/>
    <dgm:cxn modelId="{72FE4BFD-CE28-47F1-873E-03A73C522218}" srcId="{6B3D9699-D2FA-4BF7-BCA6-31D5234BFAA2}" destId="{74E68907-DD47-4247-9083-CCCAFDD2F38B}" srcOrd="0" destOrd="0" parTransId="{E2357771-F63E-48EC-8876-E9F4590B31B8}" sibTransId="{0015D941-7763-4DA0-98C5-CFE6DF1049EC}"/>
    <dgm:cxn modelId="{C609B230-7016-46C6-8696-E769FB23E0D2}" type="presOf" srcId="{D0E6F6BE-A947-458B-95DD-22BF74DA1DAA}" destId="{81DBF381-4B20-4869-9621-1496F437C0AF}" srcOrd="1" destOrd="0" presId="urn:microsoft.com/office/officeart/2005/8/layout/orgChart1"/>
    <dgm:cxn modelId="{13BD00FD-BF01-4276-88E2-CE9F1C2B9EA1}" type="presParOf" srcId="{FF3B477F-B03D-44B7-B26D-A25D05687245}" destId="{DC2F7A5F-BDA3-46D2-885C-52789871E753}" srcOrd="0" destOrd="0" presId="urn:microsoft.com/office/officeart/2005/8/layout/orgChart1"/>
    <dgm:cxn modelId="{73C13617-3B8D-4CAF-8832-A74113A9024E}" type="presParOf" srcId="{DC2F7A5F-BDA3-46D2-885C-52789871E753}" destId="{DE421904-B6E5-4AE8-A724-9BFC3582C8F2}" srcOrd="0" destOrd="0" presId="urn:microsoft.com/office/officeart/2005/8/layout/orgChart1"/>
    <dgm:cxn modelId="{0F6AAA9A-F352-4C5B-A69E-F2C2DF2DBB55}" type="presParOf" srcId="{DE421904-B6E5-4AE8-A724-9BFC3582C8F2}" destId="{7A925E8E-1D8F-402B-BE1C-0FB0D554E191}" srcOrd="0" destOrd="0" presId="urn:microsoft.com/office/officeart/2005/8/layout/orgChart1"/>
    <dgm:cxn modelId="{8C30C401-9BE5-45A6-87BA-CCCDD2CE94D4}" type="presParOf" srcId="{DE421904-B6E5-4AE8-A724-9BFC3582C8F2}" destId="{7B94B51E-43C4-45BA-9990-E5838ED20FC9}" srcOrd="1" destOrd="0" presId="urn:microsoft.com/office/officeart/2005/8/layout/orgChart1"/>
    <dgm:cxn modelId="{EEA6BB31-590A-4098-B71B-6430E218C2F2}" type="presParOf" srcId="{DC2F7A5F-BDA3-46D2-885C-52789871E753}" destId="{D9333958-229F-42D9-BEA7-0DE06D303A22}" srcOrd="1" destOrd="0" presId="urn:microsoft.com/office/officeart/2005/8/layout/orgChart1"/>
    <dgm:cxn modelId="{00858ADE-7DC3-4632-BE78-66BBEC422932}" type="presParOf" srcId="{D9333958-229F-42D9-BEA7-0DE06D303A22}" destId="{9820BC9A-797B-4B17-975B-E26ED11EECC4}" srcOrd="0" destOrd="0" presId="urn:microsoft.com/office/officeart/2005/8/layout/orgChart1"/>
    <dgm:cxn modelId="{906DA24E-4729-4DA5-BC11-7E2A06E5EDB5}" type="presParOf" srcId="{D9333958-229F-42D9-BEA7-0DE06D303A22}" destId="{7B110437-DD5A-4134-8D4E-2C25A4C86B06}" srcOrd="1" destOrd="0" presId="urn:microsoft.com/office/officeart/2005/8/layout/orgChart1"/>
    <dgm:cxn modelId="{CB9C6668-A40C-4350-82DF-5573440B7EC6}" type="presParOf" srcId="{7B110437-DD5A-4134-8D4E-2C25A4C86B06}" destId="{73E38C17-6D07-4A7B-B3A1-7A0701A40078}" srcOrd="0" destOrd="0" presId="urn:microsoft.com/office/officeart/2005/8/layout/orgChart1"/>
    <dgm:cxn modelId="{313971EC-EB30-4D62-BB7F-BAC3E36A3FAE}" type="presParOf" srcId="{73E38C17-6D07-4A7B-B3A1-7A0701A40078}" destId="{A57F547C-9415-4119-9B35-0A997D277C12}" srcOrd="0" destOrd="0" presId="urn:microsoft.com/office/officeart/2005/8/layout/orgChart1"/>
    <dgm:cxn modelId="{7CF01B08-E5BD-45F2-891A-E5B0FB2C74EB}" type="presParOf" srcId="{73E38C17-6D07-4A7B-B3A1-7A0701A40078}" destId="{81DBF381-4B20-4869-9621-1496F437C0AF}" srcOrd="1" destOrd="0" presId="urn:microsoft.com/office/officeart/2005/8/layout/orgChart1"/>
    <dgm:cxn modelId="{C402CCFA-86F3-41E3-820F-B5245F52B94D}" type="presParOf" srcId="{7B110437-DD5A-4134-8D4E-2C25A4C86B06}" destId="{42EA4A6F-0F2F-448B-944E-382EF33303B6}" srcOrd="1" destOrd="0" presId="urn:microsoft.com/office/officeart/2005/8/layout/orgChart1"/>
    <dgm:cxn modelId="{90BE5A71-F543-428B-AF7B-DA6E2123BC10}" type="presParOf" srcId="{7B110437-DD5A-4134-8D4E-2C25A4C86B06}" destId="{7FFE1336-BD2C-457F-866E-C9197E447DE3}" srcOrd="2" destOrd="0" presId="urn:microsoft.com/office/officeart/2005/8/layout/orgChart1"/>
    <dgm:cxn modelId="{D4B236CB-BE56-41BE-8748-9EC6EFC1564F}" type="presParOf" srcId="{D9333958-229F-42D9-BEA7-0DE06D303A22}" destId="{50C3CBDA-F557-40DA-AF99-409AF386AA93}" srcOrd="2" destOrd="0" presId="urn:microsoft.com/office/officeart/2005/8/layout/orgChart1"/>
    <dgm:cxn modelId="{461DEF1F-223C-4A21-AB24-376151B4DB50}" type="presParOf" srcId="{D9333958-229F-42D9-BEA7-0DE06D303A22}" destId="{46D7613C-415E-47E9-B020-95D5280FA46D}" srcOrd="3" destOrd="0" presId="urn:microsoft.com/office/officeart/2005/8/layout/orgChart1"/>
    <dgm:cxn modelId="{2FF54034-D3A6-4DC2-BDA4-8A0ABEACDB05}" type="presParOf" srcId="{46D7613C-415E-47E9-B020-95D5280FA46D}" destId="{525F193C-AB50-4D04-8599-2EAB2DF181B6}" srcOrd="0" destOrd="0" presId="urn:microsoft.com/office/officeart/2005/8/layout/orgChart1"/>
    <dgm:cxn modelId="{3F8734F5-2C8E-40CE-8C08-821367CB2817}" type="presParOf" srcId="{525F193C-AB50-4D04-8599-2EAB2DF181B6}" destId="{902DB0D7-E916-47CC-995B-937B2928A65A}" srcOrd="0" destOrd="0" presId="urn:microsoft.com/office/officeart/2005/8/layout/orgChart1"/>
    <dgm:cxn modelId="{1BE5EEC4-89E4-4DD3-B4BF-B66A9B8839B9}" type="presParOf" srcId="{525F193C-AB50-4D04-8599-2EAB2DF181B6}" destId="{DC48F73A-BD4E-4697-9E50-45BB8B45FE15}" srcOrd="1" destOrd="0" presId="urn:microsoft.com/office/officeart/2005/8/layout/orgChart1"/>
    <dgm:cxn modelId="{0C688A7B-B9C6-4CDE-9399-C132DAC22262}" type="presParOf" srcId="{46D7613C-415E-47E9-B020-95D5280FA46D}" destId="{40E05643-A09F-478C-B645-7B9A72260724}" srcOrd="1" destOrd="0" presId="urn:microsoft.com/office/officeart/2005/8/layout/orgChart1"/>
    <dgm:cxn modelId="{A0693645-51CA-4DF9-8F13-A1F96EC3F32B}" type="presParOf" srcId="{46D7613C-415E-47E9-B020-95D5280FA46D}" destId="{54B9F0C2-6186-4C60-8335-A21072AE3E43}" srcOrd="2" destOrd="0" presId="urn:microsoft.com/office/officeart/2005/8/layout/orgChart1"/>
    <dgm:cxn modelId="{F419403F-4E5D-49DE-9961-88F7F5EF7D15}" type="presParOf" srcId="{DC2F7A5F-BDA3-46D2-885C-52789871E753}" destId="{45D0BF4D-9B36-47D4-84E7-29CDE57FFC41}" srcOrd="2" destOrd="0" presId="urn:microsoft.com/office/officeart/2005/8/layout/orgChar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37116C1-6AB9-4817-AC62-8CA6D92CDA02}" type="doc">
      <dgm:prSet loTypeId="urn:microsoft.com/office/officeart/2005/8/layout/chevron1" loCatId="process" qsTypeId="urn:microsoft.com/office/officeart/2005/8/quickstyle/simple1" qsCatId="simple" csTypeId="urn:microsoft.com/office/officeart/2005/8/colors/accent3_4" csCatId="accent3" phldr="1"/>
      <dgm:spPr/>
    </dgm:pt>
    <dgm:pt modelId="{8A84188E-8D47-4E87-8966-F542CDC4DA18}">
      <dgm:prSet phldrT="[Text]" custT="1"/>
      <dgm:spPr/>
      <dgm:t>
        <a:bodyPr/>
        <a:lstStyle/>
        <a:p>
          <a:r>
            <a:rPr lang="en-US" sz="1200" b="1" dirty="0" smtClean="0"/>
            <a:t>Assess and rate health facilities </a:t>
          </a:r>
          <a:endParaRPr lang="en-MY" sz="1200" b="1" dirty="0"/>
        </a:p>
      </dgm:t>
    </dgm:pt>
    <dgm:pt modelId="{B02D3AE1-106B-4F78-A9B3-5106BE10FA5C}" type="parTrans" cxnId="{2030E7E5-6203-4179-8530-CA2214844233}">
      <dgm:prSet/>
      <dgm:spPr/>
      <dgm:t>
        <a:bodyPr/>
        <a:lstStyle/>
        <a:p>
          <a:endParaRPr lang="en-MY" sz="1200" b="1"/>
        </a:p>
      </dgm:t>
    </dgm:pt>
    <dgm:pt modelId="{3A582C3F-C5A0-402E-B2C1-0570E963D264}" type="sibTrans" cxnId="{2030E7E5-6203-4179-8530-CA2214844233}">
      <dgm:prSet/>
      <dgm:spPr/>
      <dgm:t>
        <a:bodyPr/>
        <a:lstStyle/>
        <a:p>
          <a:endParaRPr lang="en-MY" sz="1200" b="1"/>
        </a:p>
      </dgm:t>
    </dgm:pt>
    <dgm:pt modelId="{B17CB48E-E42A-4440-85CC-D32BD36A0FB0}">
      <dgm:prSet phldrT="[Text]" custT="1"/>
      <dgm:spPr/>
      <dgm:t>
        <a:bodyPr/>
        <a:lstStyle/>
        <a:p>
          <a:r>
            <a:rPr lang="en-US" sz="1200" b="1" dirty="0" smtClean="0"/>
            <a:t>Develop specific intervention program </a:t>
          </a:r>
          <a:endParaRPr lang="en-MY" sz="1200" b="1" dirty="0"/>
        </a:p>
      </dgm:t>
    </dgm:pt>
    <dgm:pt modelId="{36F77F2B-2F50-41CE-8902-973BD5BB785E}" type="parTrans" cxnId="{6E8A1074-5730-46D2-A243-AF7E6C09EF97}">
      <dgm:prSet/>
      <dgm:spPr/>
      <dgm:t>
        <a:bodyPr/>
        <a:lstStyle/>
        <a:p>
          <a:endParaRPr lang="en-MY" sz="1200" b="1"/>
        </a:p>
      </dgm:t>
    </dgm:pt>
    <dgm:pt modelId="{C490D670-C437-4FBA-A8C9-F8D709264D23}" type="sibTrans" cxnId="{6E8A1074-5730-46D2-A243-AF7E6C09EF97}">
      <dgm:prSet/>
      <dgm:spPr/>
      <dgm:t>
        <a:bodyPr/>
        <a:lstStyle/>
        <a:p>
          <a:endParaRPr lang="en-MY" sz="1200" b="1"/>
        </a:p>
      </dgm:t>
    </dgm:pt>
    <dgm:pt modelId="{5B0D4DFE-E0B7-4382-AE5D-D402065D8B89}">
      <dgm:prSet phldrT="[Text]" custT="1"/>
      <dgm:spPr/>
      <dgm:t>
        <a:bodyPr/>
        <a:lstStyle/>
        <a:p>
          <a:r>
            <a:rPr lang="en-US" sz="1200" b="1" dirty="0" smtClean="0"/>
            <a:t>Implement intervention program</a:t>
          </a:r>
          <a:endParaRPr lang="en-MY" sz="1200" b="1" dirty="0"/>
        </a:p>
      </dgm:t>
    </dgm:pt>
    <dgm:pt modelId="{722D67FE-EC0D-432A-86A1-813DC42B59A8}" type="parTrans" cxnId="{DA622E0E-EE5A-4ECE-9C05-69DD57F7DC05}">
      <dgm:prSet/>
      <dgm:spPr/>
      <dgm:t>
        <a:bodyPr/>
        <a:lstStyle/>
        <a:p>
          <a:endParaRPr lang="en-MY" sz="1200" b="1"/>
        </a:p>
      </dgm:t>
    </dgm:pt>
    <dgm:pt modelId="{260134BF-9F5F-458E-8C6B-B5B88BB77CA3}" type="sibTrans" cxnId="{DA622E0E-EE5A-4ECE-9C05-69DD57F7DC05}">
      <dgm:prSet/>
      <dgm:spPr/>
      <dgm:t>
        <a:bodyPr/>
        <a:lstStyle/>
        <a:p>
          <a:endParaRPr lang="en-MY" sz="1200" b="1"/>
        </a:p>
      </dgm:t>
    </dgm:pt>
    <dgm:pt modelId="{8454E818-5B40-471B-A3C4-48F01DA14565}">
      <dgm:prSet phldrT="[Text]" custT="1"/>
      <dgm:spPr/>
      <dgm:t>
        <a:bodyPr/>
        <a:lstStyle/>
        <a:p>
          <a:r>
            <a:rPr lang="en-US" sz="1200" b="1" dirty="0" smtClean="0"/>
            <a:t>Re-assess and rate health facilities</a:t>
          </a:r>
          <a:endParaRPr lang="en-MY" sz="1200" b="1" dirty="0"/>
        </a:p>
      </dgm:t>
    </dgm:pt>
    <dgm:pt modelId="{89D877BA-F7F3-42E0-859D-D6AE263C9C2E}" type="parTrans" cxnId="{FAC01D0B-6FFA-4FFF-AE38-E06F6F574BB9}">
      <dgm:prSet/>
      <dgm:spPr/>
      <dgm:t>
        <a:bodyPr/>
        <a:lstStyle/>
        <a:p>
          <a:endParaRPr lang="en-MY" sz="1200" b="1"/>
        </a:p>
      </dgm:t>
    </dgm:pt>
    <dgm:pt modelId="{FE31EDE0-60EF-496F-80FC-3443526F45AF}" type="sibTrans" cxnId="{FAC01D0B-6FFA-4FFF-AE38-E06F6F574BB9}">
      <dgm:prSet/>
      <dgm:spPr/>
      <dgm:t>
        <a:bodyPr/>
        <a:lstStyle/>
        <a:p>
          <a:endParaRPr lang="en-MY" sz="1200" b="1"/>
        </a:p>
      </dgm:t>
    </dgm:pt>
    <dgm:pt modelId="{3F6FBED1-C6F4-4EBE-9BC7-6A29B3E26E54}" type="pres">
      <dgm:prSet presAssocID="{437116C1-6AB9-4817-AC62-8CA6D92CDA02}" presName="Name0" presStyleCnt="0">
        <dgm:presLayoutVars>
          <dgm:dir/>
          <dgm:animLvl val="lvl"/>
          <dgm:resizeHandles val="exact"/>
        </dgm:presLayoutVars>
      </dgm:prSet>
      <dgm:spPr/>
    </dgm:pt>
    <dgm:pt modelId="{2C70BC54-DC7C-4D87-9B01-8DFBE0C75146}" type="pres">
      <dgm:prSet presAssocID="{8A84188E-8D47-4E87-8966-F542CDC4DA18}" presName="parTxOnly" presStyleLbl="node1" presStyleIdx="0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F5005CDB-4635-419F-A1AF-CF9ABDA5610C}" type="pres">
      <dgm:prSet presAssocID="{3A582C3F-C5A0-402E-B2C1-0570E963D264}" presName="parTxOnlySpace" presStyleCnt="0"/>
      <dgm:spPr/>
    </dgm:pt>
    <dgm:pt modelId="{6D792BBB-CCFD-404C-8A8C-D19FD081A2E1}" type="pres">
      <dgm:prSet presAssocID="{B17CB48E-E42A-4440-85CC-D32BD36A0FB0}" presName="parTxOnly" presStyleLbl="node1" presStyleIdx="1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23483357-F0DB-4D1E-BD35-8A486E1D86AA}" type="pres">
      <dgm:prSet presAssocID="{C490D670-C437-4FBA-A8C9-F8D709264D23}" presName="parTxOnlySpace" presStyleCnt="0"/>
      <dgm:spPr/>
    </dgm:pt>
    <dgm:pt modelId="{C747B8B7-641A-4D42-A6A7-0293E3EEFC5A}" type="pres">
      <dgm:prSet presAssocID="{5B0D4DFE-E0B7-4382-AE5D-D402065D8B89}" presName="parTxOnly" presStyleLbl="node1" presStyleIdx="2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MY"/>
        </a:p>
      </dgm:t>
    </dgm:pt>
    <dgm:pt modelId="{6C749FB3-62EE-40F2-A9E1-DA40BC9F462D}" type="pres">
      <dgm:prSet presAssocID="{260134BF-9F5F-458E-8C6B-B5B88BB77CA3}" presName="parTxOnlySpace" presStyleCnt="0"/>
      <dgm:spPr/>
    </dgm:pt>
    <dgm:pt modelId="{CF1FD8C9-2AD5-4F7C-A347-4D2414B19C91}" type="pres">
      <dgm:prSet presAssocID="{8454E818-5B40-471B-A3C4-48F01DA14565}" presName="parTxOnly" presStyleLbl="node1" presStyleIdx="3" presStyleCnt="4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en-MY"/>
        </a:p>
      </dgm:t>
    </dgm:pt>
  </dgm:ptLst>
  <dgm:cxnLst>
    <dgm:cxn modelId="{6E8A1074-5730-46D2-A243-AF7E6C09EF97}" srcId="{437116C1-6AB9-4817-AC62-8CA6D92CDA02}" destId="{B17CB48E-E42A-4440-85CC-D32BD36A0FB0}" srcOrd="1" destOrd="0" parTransId="{36F77F2B-2F50-41CE-8902-973BD5BB785E}" sibTransId="{C490D670-C437-4FBA-A8C9-F8D709264D23}"/>
    <dgm:cxn modelId="{FAC01D0B-6FFA-4FFF-AE38-E06F6F574BB9}" srcId="{437116C1-6AB9-4817-AC62-8CA6D92CDA02}" destId="{8454E818-5B40-471B-A3C4-48F01DA14565}" srcOrd="3" destOrd="0" parTransId="{89D877BA-F7F3-42E0-859D-D6AE263C9C2E}" sibTransId="{FE31EDE0-60EF-496F-80FC-3443526F45AF}"/>
    <dgm:cxn modelId="{B323DC12-5CA4-41EA-99B2-AD8376D0D52B}" type="presOf" srcId="{5B0D4DFE-E0B7-4382-AE5D-D402065D8B89}" destId="{C747B8B7-641A-4D42-A6A7-0293E3EEFC5A}" srcOrd="0" destOrd="0" presId="urn:microsoft.com/office/officeart/2005/8/layout/chevron1"/>
    <dgm:cxn modelId="{DA622E0E-EE5A-4ECE-9C05-69DD57F7DC05}" srcId="{437116C1-6AB9-4817-AC62-8CA6D92CDA02}" destId="{5B0D4DFE-E0B7-4382-AE5D-D402065D8B89}" srcOrd="2" destOrd="0" parTransId="{722D67FE-EC0D-432A-86A1-813DC42B59A8}" sibTransId="{260134BF-9F5F-458E-8C6B-B5B88BB77CA3}"/>
    <dgm:cxn modelId="{04C83497-D123-46D7-917E-96DA67B7A77D}" type="presOf" srcId="{8A84188E-8D47-4E87-8966-F542CDC4DA18}" destId="{2C70BC54-DC7C-4D87-9B01-8DFBE0C75146}" srcOrd="0" destOrd="0" presId="urn:microsoft.com/office/officeart/2005/8/layout/chevron1"/>
    <dgm:cxn modelId="{2030E7E5-6203-4179-8530-CA2214844233}" srcId="{437116C1-6AB9-4817-AC62-8CA6D92CDA02}" destId="{8A84188E-8D47-4E87-8966-F542CDC4DA18}" srcOrd="0" destOrd="0" parTransId="{B02D3AE1-106B-4F78-A9B3-5106BE10FA5C}" sibTransId="{3A582C3F-C5A0-402E-B2C1-0570E963D264}"/>
    <dgm:cxn modelId="{37002C9F-3F5C-400F-889F-C3CA38D482B8}" type="presOf" srcId="{437116C1-6AB9-4817-AC62-8CA6D92CDA02}" destId="{3F6FBED1-C6F4-4EBE-9BC7-6A29B3E26E54}" srcOrd="0" destOrd="0" presId="urn:microsoft.com/office/officeart/2005/8/layout/chevron1"/>
    <dgm:cxn modelId="{C718E069-9B79-42CA-B63C-35813AD738F0}" type="presOf" srcId="{B17CB48E-E42A-4440-85CC-D32BD36A0FB0}" destId="{6D792BBB-CCFD-404C-8A8C-D19FD081A2E1}" srcOrd="0" destOrd="0" presId="urn:microsoft.com/office/officeart/2005/8/layout/chevron1"/>
    <dgm:cxn modelId="{32840428-163C-4EC7-9A23-680F0A2DA764}" type="presOf" srcId="{8454E818-5B40-471B-A3C4-48F01DA14565}" destId="{CF1FD8C9-2AD5-4F7C-A347-4D2414B19C91}" srcOrd="0" destOrd="0" presId="urn:microsoft.com/office/officeart/2005/8/layout/chevron1"/>
    <dgm:cxn modelId="{21D4B55A-8C93-468D-8481-40C8D9091655}" type="presParOf" srcId="{3F6FBED1-C6F4-4EBE-9BC7-6A29B3E26E54}" destId="{2C70BC54-DC7C-4D87-9B01-8DFBE0C75146}" srcOrd="0" destOrd="0" presId="urn:microsoft.com/office/officeart/2005/8/layout/chevron1"/>
    <dgm:cxn modelId="{DA51F22C-44A5-4A1F-A495-AC4E9B450C23}" type="presParOf" srcId="{3F6FBED1-C6F4-4EBE-9BC7-6A29B3E26E54}" destId="{F5005CDB-4635-419F-A1AF-CF9ABDA5610C}" srcOrd="1" destOrd="0" presId="urn:microsoft.com/office/officeart/2005/8/layout/chevron1"/>
    <dgm:cxn modelId="{B4811D68-7A10-40EE-9AE0-C7671E2EE230}" type="presParOf" srcId="{3F6FBED1-C6F4-4EBE-9BC7-6A29B3E26E54}" destId="{6D792BBB-CCFD-404C-8A8C-D19FD081A2E1}" srcOrd="2" destOrd="0" presId="urn:microsoft.com/office/officeart/2005/8/layout/chevron1"/>
    <dgm:cxn modelId="{3C0F7473-049A-459A-A611-9942663E669C}" type="presParOf" srcId="{3F6FBED1-C6F4-4EBE-9BC7-6A29B3E26E54}" destId="{23483357-F0DB-4D1E-BD35-8A486E1D86AA}" srcOrd="3" destOrd="0" presId="urn:microsoft.com/office/officeart/2005/8/layout/chevron1"/>
    <dgm:cxn modelId="{C1BA02B4-EBC1-44CD-8EC0-60E55955DC81}" type="presParOf" srcId="{3F6FBED1-C6F4-4EBE-9BC7-6A29B3E26E54}" destId="{C747B8B7-641A-4D42-A6A7-0293E3EEFC5A}" srcOrd="4" destOrd="0" presId="urn:microsoft.com/office/officeart/2005/8/layout/chevron1"/>
    <dgm:cxn modelId="{F0FF4E94-2CA9-448C-A671-6DAF13F002A8}" type="presParOf" srcId="{3F6FBED1-C6F4-4EBE-9BC7-6A29B3E26E54}" destId="{6C749FB3-62EE-40F2-A9E1-DA40BC9F462D}" srcOrd="5" destOrd="0" presId="urn:microsoft.com/office/officeart/2005/8/layout/chevron1"/>
    <dgm:cxn modelId="{447B6C0F-D8DA-4D68-9E83-825B4C5B186C}" type="presParOf" srcId="{3F6FBED1-C6F4-4EBE-9BC7-6A29B3E26E54}" destId="{CF1FD8C9-2AD5-4F7C-A347-4D2414B19C91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B2EAB821-278F-874B-B7BB-FB4E7851EB99}" type="doc">
      <dgm:prSet loTypeId="urn:microsoft.com/office/officeart/2005/8/layout/cycle4#1" loCatId="" qsTypeId="urn:microsoft.com/office/officeart/2005/8/quickstyle/simple1" qsCatId="simple" csTypeId="urn:microsoft.com/office/officeart/2005/8/colors/accent0_3" csCatId="mainScheme" phldr="1"/>
      <dgm:spPr/>
    </dgm:pt>
    <dgm:pt modelId="{41E24E1B-77C1-274A-88FD-BAF656D9096C}">
      <dgm:prSet phldrT="[Text]" custT="1"/>
      <dgm:spPr>
        <a:solidFill>
          <a:srgbClr val="00B050"/>
        </a:solidFill>
      </dgm:spPr>
      <dgm:t>
        <a:bodyPr/>
        <a:lstStyle/>
        <a:p>
          <a:r>
            <a:rPr lang="en-US" sz="1400" b="1" dirty="0" smtClean="0"/>
            <a:t>Assessment of facility</a:t>
          </a:r>
          <a:endParaRPr lang="en-US" sz="1400" b="1" dirty="0"/>
        </a:p>
      </dgm:t>
    </dgm:pt>
    <dgm:pt modelId="{E8730969-970E-594A-9D33-7FD71364AEB5}" type="parTrans" cxnId="{045DFDFE-1AC0-C74B-B6C6-35DF53CD23A2}">
      <dgm:prSet/>
      <dgm:spPr/>
      <dgm:t>
        <a:bodyPr/>
        <a:lstStyle/>
        <a:p>
          <a:endParaRPr lang="en-US"/>
        </a:p>
      </dgm:t>
    </dgm:pt>
    <dgm:pt modelId="{BD39841D-F028-154A-B831-196F70C55E40}" type="sibTrans" cxnId="{045DFDFE-1AC0-C74B-B6C6-35DF53CD23A2}">
      <dgm:prSet/>
      <dgm:spPr/>
      <dgm:t>
        <a:bodyPr/>
        <a:lstStyle/>
        <a:p>
          <a:endParaRPr lang="en-US"/>
        </a:p>
      </dgm:t>
    </dgm:pt>
    <dgm:pt modelId="{50BE30BB-EBD5-FA49-AE7A-6B7A36F6ED25}">
      <dgm:prSet phldrT="[Text]" custT="1"/>
      <dgm:spPr>
        <a:solidFill>
          <a:srgbClr val="00B050"/>
        </a:solidFill>
      </dgm:spPr>
      <dgm:t>
        <a:bodyPr anchor="ctr"/>
        <a:lstStyle/>
        <a:p>
          <a:endParaRPr lang="en-US" sz="1400" b="1" dirty="0"/>
        </a:p>
      </dgm:t>
    </dgm:pt>
    <dgm:pt modelId="{613D7755-9BFC-E643-B7F6-D08BC4DF4E72}" type="parTrans" cxnId="{832C6F56-19CD-BA42-B855-B04FAA500056}">
      <dgm:prSet/>
      <dgm:spPr/>
      <dgm:t>
        <a:bodyPr/>
        <a:lstStyle/>
        <a:p>
          <a:endParaRPr lang="en-US"/>
        </a:p>
      </dgm:t>
    </dgm:pt>
    <dgm:pt modelId="{FBB196F7-83F1-DC41-A282-176A62CEFAC8}" type="sibTrans" cxnId="{832C6F56-19CD-BA42-B855-B04FAA500056}">
      <dgm:prSet/>
      <dgm:spPr/>
      <dgm:t>
        <a:bodyPr/>
        <a:lstStyle/>
        <a:p>
          <a:endParaRPr lang="en-US"/>
        </a:p>
      </dgm:t>
    </dgm:pt>
    <dgm:pt modelId="{54F9DBEB-3AB6-BC43-9D61-1368FBA234A1}">
      <dgm:prSet phldrT="[Text]" custT="1"/>
      <dgm:spPr>
        <a:solidFill>
          <a:srgbClr val="00B050"/>
        </a:solidFill>
      </dgm:spPr>
      <dgm:t>
        <a:bodyPr/>
        <a:lstStyle/>
        <a:p>
          <a:pPr algn="ctr"/>
          <a:r>
            <a:rPr lang="en-US" sz="1400" b="1" dirty="0" smtClean="0"/>
            <a:t>Specific Strengthening Activities </a:t>
          </a:r>
          <a:endParaRPr lang="en-US" sz="1400" b="1" dirty="0"/>
        </a:p>
      </dgm:t>
    </dgm:pt>
    <dgm:pt modelId="{24486998-471D-C143-92EE-4FAA0BFF5BEF}" type="parTrans" cxnId="{B7871C88-EA6E-7A43-88E8-FB190E68C10D}">
      <dgm:prSet/>
      <dgm:spPr/>
      <dgm:t>
        <a:bodyPr/>
        <a:lstStyle/>
        <a:p>
          <a:endParaRPr lang="en-US"/>
        </a:p>
      </dgm:t>
    </dgm:pt>
    <dgm:pt modelId="{ADD4CEB5-01D6-3648-8C99-C3B2031FD533}" type="sibTrans" cxnId="{B7871C88-EA6E-7A43-88E8-FB190E68C10D}">
      <dgm:prSet/>
      <dgm:spPr/>
      <dgm:t>
        <a:bodyPr/>
        <a:lstStyle/>
        <a:p>
          <a:endParaRPr lang="en-US"/>
        </a:p>
      </dgm:t>
    </dgm:pt>
    <dgm:pt modelId="{F66BCBCB-04AD-EE4F-AC95-7DA279C08EE0}">
      <dgm:prSet phldrT="[Text]" custT="1"/>
      <dgm:spPr>
        <a:solidFill>
          <a:srgbClr val="FFFF00"/>
        </a:solidFill>
      </dgm:spPr>
      <dgm:t>
        <a:bodyPr/>
        <a:lstStyle/>
        <a:p>
          <a:pPr algn="l"/>
          <a:r>
            <a:rPr lang="en-US" sz="1900" b="1" dirty="0" smtClean="0">
              <a:solidFill>
                <a:srgbClr val="C00000"/>
              </a:solidFill>
            </a:rPr>
            <a:t>New STAR Rating! </a:t>
          </a:r>
          <a:endParaRPr lang="en-US" sz="1900" b="1" dirty="0">
            <a:solidFill>
              <a:srgbClr val="C00000"/>
            </a:solidFill>
          </a:endParaRPr>
        </a:p>
      </dgm:t>
    </dgm:pt>
    <dgm:pt modelId="{C9EB89FD-9140-0A46-8E0D-A6DCB560C5D2}" type="parTrans" cxnId="{EB80AEFD-F15D-2C4F-A511-41413BC2D08E}">
      <dgm:prSet/>
      <dgm:spPr/>
      <dgm:t>
        <a:bodyPr/>
        <a:lstStyle/>
        <a:p>
          <a:endParaRPr lang="en-US"/>
        </a:p>
      </dgm:t>
    </dgm:pt>
    <dgm:pt modelId="{7B13C499-0FAF-9B40-9126-8082FCD9C01F}" type="sibTrans" cxnId="{EB80AEFD-F15D-2C4F-A511-41413BC2D08E}">
      <dgm:prSet/>
      <dgm:spPr/>
      <dgm:t>
        <a:bodyPr/>
        <a:lstStyle/>
        <a:p>
          <a:endParaRPr lang="en-US"/>
        </a:p>
      </dgm:t>
    </dgm:pt>
    <dgm:pt modelId="{08CE4078-0DEE-6A43-B2AF-61EE8DF0D6B5}" type="pres">
      <dgm:prSet presAssocID="{B2EAB821-278F-874B-B7BB-FB4E7851EB99}" presName="cycleMatrixDiagram" presStyleCnt="0">
        <dgm:presLayoutVars>
          <dgm:chMax val="1"/>
          <dgm:dir/>
          <dgm:animLvl val="lvl"/>
          <dgm:resizeHandles val="exact"/>
        </dgm:presLayoutVars>
      </dgm:prSet>
      <dgm:spPr/>
    </dgm:pt>
    <dgm:pt modelId="{C7170D3D-DA16-2F47-8D70-85141E15E62B}" type="pres">
      <dgm:prSet presAssocID="{B2EAB821-278F-874B-B7BB-FB4E7851EB99}" presName="children" presStyleCnt="0"/>
      <dgm:spPr/>
    </dgm:pt>
    <dgm:pt modelId="{C764E86B-F2D0-184F-8253-0BD4FDA159DA}" type="pres">
      <dgm:prSet presAssocID="{B2EAB821-278F-874B-B7BB-FB4E7851EB99}" presName="childPlaceholder" presStyleCnt="0"/>
      <dgm:spPr/>
    </dgm:pt>
    <dgm:pt modelId="{DA64B1D2-3E64-E54A-911B-22053FA5995C}" type="pres">
      <dgm:prSet presAssocID="{B2EAB821-278F-874B-B7BB-FB4E7851EB99}" presName="circle" presStyleCnt="0"/>
      <dgm:spPr/>
    </dgm:pt>
    <dgm:pt modelId="{5C25D8BB-D9A2-3640-A4BB-BCF5D227506F}" type="pres">
      <dgm:prSet presAssocID="{B2EAB821-278F-874B-B7BB-FB4E7851EB99}" presName="quadrant1" presStyleLbl="node1" presStyleIdx="0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5C52F564-D52D-274C-9B24-117AEB3B70AC}" type="pres">
      <dgm:prSet presAssocID="{B2EAB821-278F-874B-B7BB-FB4E7851EB99}" presName="quadrant2" presStyleLbl="node1" presStyleIdx="1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123B77FD-4E2A-7046-82B4-E398505C7A0F}" type="pres">
      <dgm:prSet presAssocID="{B2EAB821-278F-874B-B7BB-FB4E7851EB99}" presName="quadrant3" presStyleLbl="node1" presStyleIdx="2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D59B3E9B-3867-3D46-A814-BE722F903409}" type="pres">
      <dgm:prSet presAssocID="{B2EAB821-278F-874B-B7BB-FB4E7851EB99}" presName="quadrant4" presStyleLbl="node1" presStyleIdx="3" presStyleCnt="4">
        <dgm:presLayoutVars>
          <dgm:chMax val="1"/>
          <dgm:bulletEnabled val="1"/>
        </dgm:presLayoutVars>
      </dgm:prSet>
      <dgm:spPr/>
      <dgm:t>
        <a:bodyPr/>
        <a:lstStyle/>
        <a:p>
          <a:endParaRPr lang="en-US"/>
        </a:p>
      </dgm:t>
    </dgm:pt>
    <dgm:pt modelId="{B2283BDD-580C-2D44-B3F1-C0AE0B3A912B}" type="pres">
      <dgm:prSet presAssocID="{B2EAB821-278F-874B-B7BB-FB4E7851EB99}" presName="quadrantPlaceholder" presStyleCnt="0"/>
      <dgm:spPr/>
    </dgm:pt>
    <dgm:pt modelId="{351AE2F9-DF04-9D4C-BD95-37FEEE70EA29}" type="pres">
      <dgm:prSet presAssocID="{B2EAB821-278F-874B-B7BB-FB4E7851EB99}" presName="center1" presStyleLbl="fgShp" presStyleIdx="0" presStyleCnt="2" custScaleX="114465" custScaleY="119668"/>
      <dgm:spPr>
        <a:solidFill>
          <a:schemeClr val="bg1">
            <a:lumMod val="75000"/>
          </a:schemeClr>
        </a:solidFill>
        <a:ln>
          <a:noFill/>
        </a:ln>
      </dgm:spPr>
      <dgm:t>
        <a:bodyPr/>
        <a:lstStyle/>
        <a:p>
          <a:endParaRPr lang="en-GB"/>
        </a:p>
      </dgm:t>
    </dgm:pt>
    <dgm:pt modelId="{D203CBD6-844D-404F-9CD3-DC7ED6371E5A}" type="pres">
      <dgm:prSet presAssocID="{B2EAB821-278F-874B-B7BB-FB4E7851EB99}" presName="center2" presStyleLbl="fgShp" presStyleIdx="1" presStyleCnt="2" custScaleX="114465" custScaleY="119668"/>
      <dgm:spPr>
        <a:solidFill>
          <a:schemeClr val="bg1">
            <a:lumMod val="75000"/>
          </a:schemeClr>
        </a:solidFill>
        <a:ln>
          <a:noFill/>
        </a:ln>
      </dgm:spPr>
    </dgm:pt>
  </dgm:ptLst>
  <dgm:cxnLst>
    <dgm:cxn modelId="{045DFDFE-1AC0-C74B-B6C6-35DF53CD23A2}" srcId="{B2EAB821-278F-874B-B7BB-FB4E7851EB99}" destId="{41E24E1B-77C1-274A-88FD-BAF656D9096C}" srcOrd="0" destOrd="0" parTransId="{E8730969-970E-594A-9D33-7FD71364AEB5}" sibTransId="{BD39841D-F028-154A-B831-196F70C55E40}"/>
    <dgm:cxn modelId="{F1057683-F93B-4C65-A7EA-76300AA12084}" type="presOf" srcId="{F66BCBCB-04AD-EE4F-AC95-7DA279C08EE0}" destId="{D59B3E9B-3867-3D46-A814-BE722F903409}" srcOrd="0" destOrd="0" presId="urn:microsoft.com/office/officeart/2005/8/layout/cycle4#1"/>
    <dgm:cxn modelId="{B7871C88-EA6E-7A43-88E8-FB190E68C10D}" srcId="{B2EAB821-278F-874B-B7BB-FB4E7851EB99}" destId="{54F9DBEB-3AB6-BC43-9D61-1368FBA234A1}" srcOrd="2" destOrd="0" parTransId="{24486998-471D-C143-92EE-4FAA0BFF5BEF}" sibTransId="{ADD4CEB5-01D6-3648-8C99-C3B2031FD533}"/>
    <dgm:cxn modelId="{76506774-63CE-4408-A800-27B8AE15E675}" type="presOf" srcId="{B2EAB821-278F-874B-B7BB-FB4E7851EB99}" destId="{08CE4078-0DEE-6A43-B2AF-61EE8DF0D6B5}" srcOrd="0" destOrd="0" presId="urn:microsoft.com/office/officeart/2005/8/layout/cycle4#1"/>
    <dgm:cxn modelId="{832C6F56-19CD-BA42-B855-B04FAA500056}" srcId="{B2EAB821-278F-874B-B7BB-FB4E7851EB99}" destId="{50BE30BB-EBD5-FA49-AE7A-6B7A36F6ED25}" srcOrd="1" destOrd="0" parTransId="{613D7755-9BFC-E643-B7F6-D08BC4DF4E72}" sibTransId="{FBB196F7-83F1-DC41-A282-176A62CEFAC8}"/>
    <dgm:cxn modelId="{5E1F29B1-F4A3-4C76-A389-34F064C6CE13}" type="presOf" srcId="{41E24E1B-77C1-274A-88FD-BAF656D9096C}" destId="{5C25D8BB-D9A2-3640-A4BB-BCF5D227506F}" srcOrd="0" destOrd="0" presId="urn:microsoft.com/office/officeart/2005/8/layout/cycle4#1"/>
    <dgm:cxn modelId="{05318CC4-52B5-4B88-BBAA-DB771044967F}" type="presOf" srcId="{50BE30BB-EBD5-FA49-AE7A-6B7A36F6ED25}" destId="{5C52F564-D52D-274C-9B24-117AEB3B70AC}" srcOrd="0" destOrd="0" presId="urn:microsoft.com/office/officeart/2005/8/layout/cycle4#1"/>
    <dgm:cxn modelId="{2BB85E30-584A-45D8-9861-6F86A96CE0E6}" type="presOf" srcId="{54F9DBEB-3AB6-BC43-9D61-1368FBA234A1}" destId="{123B77FD-4E2A-7046-82B4-E398505C7A0F}" srcOrd="0" destOrd="0" presId="urn:microsoft.com/office/officeart/2005/8/layout/cycle4#1"/>
    <dgm:cxn modelId="{EB80AEFD-F15D-2C4F-A511-41413BC2D08E}" srcId="{B2EAB821-278F-874B-B7BB-FB4E7851EB99}" destId="{F66BCBCB-04AD-EE4F-AC95-7DA279C08EE0}" srcOrd="3" destOrd="0" parTransId="{C9EB89FD-9140-0A46-8E0D-A6DCB560C5D2}" sibTransId="{7B13C499-0FAF-9B40-9126-8082FCD9C01F}"/>
    <dgm:cxn modelId="{47FAC435-F241-441A-8EE2-7C0596215F95}" type="presParOf" srcId="{08CE4078-0DEE-6A43-B2AF-61EE8DF0D6B5}" destId="{C7170D3D-DA16-2F47-8D70-85141E15E62B}" srcOrd="0" destOrd="0" presId="urn:microsoft.com/office/officeart/2005/8/layout/cycle4#1"/>
    <dgm:cxn modelId="{17F6833A-6451-44EF-8481-B743DE77BD41}" type="presParOf" srcId="{C7170D3D-DA16-2F47-8D70-85141E15E62B}" destId="{C764E86B-F2D0-184F-8253-0BD4FDA159DA}" srcOrd="0" destOrd="0" presId="urn:microsoft.com/office/officeart/2005/8/layout/cycle4#1"/>
    <dgm:cxn modelId="{CFC8345B-36E6-47F8-87F3-EF147BB48664}" type="presParOf" srcId="{08CE4078-0DEE-6A43-B2AF-61EE8DF0D6B5}" destId="{DA64B1D2-3E64-E54A-911B-22053FA5995C}" srcOrd="1" destOrd="0" presId="urn:microsoft.com/office/officeart/2005/8/layout/cycle4#1"/>
    <dgm:cxn modelId="{BB298BF5-0CED-43CA-A09B-B1A1AD62C7AE}" type="presParOf" srcId="{DA64B1D2-3E64-E54A-911B-22053FA5995C}" destId="{5C25D8BB-D9A2-3640-A4BB-BCF5D227506F}" srcOrd="0" destOrd="0" presId="urn:microsoft.com/office/officeart/2005/8/layout/cycle4#1"/>
    <dgm:cxn modelId="{0A6F550F-5503-492F-8EC6-5D0868BE2B95}" type="presParOf" srcId="{DA64B1D2-3E64-E54A-911B-22053FA5995C}" destId="{5C52F564-D52D-274C-9B24-117AEB3B70AC}" srcOrd="1" destOrd="0" presId="urn:microsoft.com/office/officeart/2005/8/layout/cycle4#1"/>
    <dgm:cxn modelId="{39B72B1A-AE67-4E87-BB17-8FBCBB3D4B02}" type="presParOf" srcId="{DA64B1D2-3E64-E54A-911B-22053FA5995C}" destId="{123B77FD-4E2A-7046-82B4-E398505C7A0F}" srcOrd="2" destOrd="0" presId="urn:microsoft.com/office/officeart/2005/8/layout/cycle4#1"/>
    <dgm:cxn modelId="{98ADD962-CBD8-4107-B9A2-9D4BB0DB9C54}" type="presParOf" srcId="{DA64B1D2-3E64-E54A-911B-22053FA5995C}" destId="{D59B3E9B-3867-3D46-A814-BE722F903409}" srcOrd="3" destOrd="0" presId="urn:microsoft.com/office/officeart/2005/8/layout/cycle4#1"/>
    <dgm:cxn modelId="{620E92DC-FA71-4A5F-87A8-385C1A8367F3}" type="presParOf" srcId="{DA64B1D2-3E64-E54A-911B-22053FA5995C}" destId="{B2283BDD-580C-2D44-B3F1-C0AE0B3A912B}" srcOrd="4" destOrd="0" presId="urn:microsoft.com/office/officeart/2005/8/layout/cycle4#1"/>
    <dgm:cxn modelId="{ADCA2A69-580A-4DA8-84A1-5DECA7449BDF}" type="presParOf" srcId="{08CE4078-0DEE-6A43-B2AF-61EE8DF0D6B5}" destId="{351AE2F9-DF04-9D4C-BD95-37FEEE70EA29}" srcOrd="2" destOrd="0" presId="urn:microsoft.com/office/officeart/2005/8/layout/cycle4#1"/>
    <dgm:cxn modelId="{6BFB2EF8-57E9-4437-BBDB-A6C6662E0D64}" type="presParOf" srcId="{08CE4078-0DEE-6A43-B2AF-61EE8DF0D6B5}" destId="{D203CBD6-844D-404F-9CD3-DC7ED6371E5A}" srcOrd="3" destOrd="0" presId="urn:microsoft.com/office/officeart/2005/8/layout/cycle4#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orgChart1">
  <dgm:title val=""/>
  <dgm:desc val=""/>
  <dgm:catLst>
    <dgm:cat type="hierarchy" pri="1000"/>
    <dgm:cat type="convert" pri="6000"/>
  </dgm:catLst>
  <dgm:sampData>
    <dgm:dataModel>
      <dgm:ptLst>
        <dgm:pt modelId="0" type="doc"/>
        <dgm:pt modelId="1">
          <dgm:prSet phldr="1"/>
        </dgm:pt>
        <dgm:pt modelId="2" type="asst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5" srcId="0" destId="1" srcOrd="0" destOrd="0"/>
        <dgm:cxn modelId="6" srcId="1" destId="2" srcOrd="0" destOrd="0"/>
        <dgm:cxn modelId="7" srcId="1" destId="3" srcOrd="1" destOrd="0"/>
        <dgm:cxn modelId="8" srcId="1" destId="4" srcOrd="2" destOrd="0"/>
        <dgm:cxn modelId="9" srcId="1" destId="5" srcOrd="3" destOrd="0"/>
      </dgm:cxnLst>
      <dgm:bg/>
      <dgm:whole/>
    </dgm:dataModel>
  </dgm:sampData>
  <dgm:styleData>
    <dgm:dataModel>
      <dgm:ptLst>
        <dgm:pt modelId="0" type="doc"/>
        <dgm:pt modelId="1"/>
        <dgm:pt modelId="12"/>
        <dgm:pt modelId="13"/>
      </dgm:ptLst>
      <dgm:cxnLst>
        <dgm:cxn modelId="2" srcId="0" destId="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 type="asst"/>
        <dgm:pt modelId="12"/>
        <dgm:pt modelId="13"/>
        <dgm:pt modelId="14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  <dgm:cxn modelId="18" srcId="1" destId="14" srcOrd="2" destOrd="0"/>
      </dgm:cxnLst>
      <dgm:bg/>
      <dgm:whole/>
    </dgm:dataModel>
  </dgm:clrData>
  <dgm:layoutNode name="hierChild1">
    <dgm:varLst>
      <dgm:orgChart val="1"/>
      <dgm:chPref val="1"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des" forName="rootComposite1" refType="w" fact="10"/>
      <dgm:constr type="h" for="des" forName="rootComposite1" refType="w" refFor="des" refForName="rootComposite1" fact="0.5"/>
      <dgm:constr type="w" for="des" forName="rootComposite" refType="w" fact="10"/>
      <dgm:constr type="h" for="des" forName="rootComposite" refType="w" refFor="des" refForName="rootComposite1" fact="0.5"/>
      <dgm:constr type="w" for="des" forName="rootComposite3" refType="w" fact="10"/>
      <dgm:constr type="h" for="des" forName="rootComposite3" refType="w" refFor="des" refForName="rootComposite1" fact="0.5"/>
      <dgm:constr type="primFontSz" for="des" ptType="node" op="equ"/>
      <dgm:constr type="sp" for="des" op="equ"/>
      <dgm:constr type="sp" for="des" forName="hierRoot1" refType="w" refFor="des" refForName="rootComposite1" fact="0.21"/>
      <dgm:constr type="sp" for="des" forName="hierRoot2" refType="sp" refFor="des" refForName="hierRoot1"/>
      <dgm:constr type="sp" for="des" forName="hierRoot3" refType="sp" refFor="des" refForName="hierRoot1"/>
      <dgm:constr type="sibSp" refType="w" refFor="des" refForName="rootComposite1" fact="0.21"/>
      <dgm:constr type="sibSp" for="des" forName="hierChild2" refType="sibSp"/>
      <dgm:constr type="sibSp" for="des" forName="hierChild3" refType="sibSp"/>
      <dgm:constr type="sibSp" for="des" forName="hierChild4" refType="sibSp"/>
      <dgm:constr type="sibSp" for="des" forName="hierChild5" refType="sibSp"/>
      <dgm:constr type="sibSp" for="des" forName="hierChild6" refType="sibSp"/>
      <dgm:constr type="sibSp" for="des" forName="hierChild7" refType="sibSp"/>
      <dgm:constr type="secSibSp" refType="w" refFor="des" refForName="rootComposite1" fact="0.21"/>
      <dgm:constr type="secSibSp" for="des" forName="hierChild2" refType="secSibSp"/>
      <dgm:constr type="secSibSp" for="des" forName="hierChild3" refType="secSibSp"/>
      <dgm:constr type="secSibSp" for="des" forName="hierChild4" refType="secSibSp"/>
      <dgm:constr type="secSibSp" for="des" forName="hierChild5" refType="secSibSp"/>
      <dgm:constr type="secSibSp" for="des" forName="hierChild6" refType="secSibSp"/>
      <dgm:constr type="secSibSp" for="des" forName="hierChild7" refType="secSibSp"/>
    </dgm:constrLst>
    <dgm:ruleLst/>
    <dgm:forEach name="Name3" axis="ch">
      <dgm:forEach name="Name4" axis="self" ptType="node">
        <dgm:layoutNode name="hierRoot1">
          <dgm:varLst>
            <dgm:hierBranch val="init"/>
          </dgm:varLst>
          <dgm:choose name="Name5">
            <dgm:if name="Name6" func="var" arg="hierBranch" op="equ" val="l">
              <dgm:choose name="Name7">
                <dgm:if name="Name8" axis="ch" ptType="asst" func="cnt" op="gte" val="1">
                  <dgm:alg type="hierRoot">
                    <dgm:param type="hierAlign" val="tR"/>
                  </dgm:alg>
                  <dgm:constrLst>
                    <dgm:constr type="alignOff" val="0.65"/>
                  </dgm:constrLst>
                </dgm:if>
                <dgm:else name="Name9">
                  <dgm:alg type="hierRoot">
                    <dgm:param type="hierAlign" val="tR"/>
                  </dgm:alg>
                  <dgm:constrLst>
                    <dgm:constr type="alignOff" val="0.25"/>
                  </dgm:constrLst>
                </dgm:else>
              </dgm:choose>
            </dgm:if>
            <dgm:if name="Name10" func="var" arg="hierBranch" op="equ" val="r">
              <dgm:choose name="Name11">
                <dgm:if name="Name12" axis="ch" ptType="asst" func="cnt" op="gte" val="1">
                  <dgm:alg type="hierRoot">
                    <dgm:param type="hierAlign" val="tL"/>
                  </dgm:alg>
                  <dgm:constrLst>
                    <dgm:constr type="alignOff" val="0.65"/>
                  </dgm:constrLst>
                </dgm:if>
                <dgm:else name="Name13">
                  <dgm:alg type="hierRoot">
                    <dgm:param type="hierAlign" val="tL"/>
                  </dgm:alg>
                  <dgm:constrLst>
                    <dgm:constr type="alignOff" val="0.25"/>
                  </dgm:constrLst>
                </dgm:else>
              </dgm:choose>
            </dgm:if>
            <dgm:if name="Name14" func="var" arg="hierBranch" op="equ" val="hang">
              <dgm:alg type="hierRoot"/>
              <dgm:constrLst>
                <dgm:constr type="alignOff" val="0.65"/>
              </dgm:constrLst>
            </dgm:if>
            <dgm:else name="Name15">
              <dgm:alg type="hierRoot"/>
              <dgm:constrLst>
                <dgm:constr type="alignOff"/>
                <dgm:constr type="bendDist" for="des" ptType="parTrans" refType="sp" fact="0.5"/>
              </dgm:constrLst>
            </dgm:else>
          </dgm:choose>
          <dgm:shape xmlns:r="http://schemas.openxmlformats.org/officeDocument/2006/relationships" r:blip="">
            <dgm:adjLst/>
          </dgm:shape>
          <dgm:presOf/>
          <dgm:ruleLst/>
          <dgm:layoutNode name="rootComposite1"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hoose name="Name16">
              <dgm:if name="Name17" func="var" arg="hierBranch" op="equ" val="init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8" func="var" arg="hierBranch" op="equ" val="l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if name="Name19" func="var" arg="hierBranch" op="equ" val="r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l" for="ch" forName="rootConnector1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if>
              <dgm:else name="Name20">
                <dgm:constrLst>
                  <dgm:constr type="l" for="ch" forName="rootText1"/>
                  <dgm:constr type="t" for="ch" forName="rootText1"/>
                  <dgm:constr type="w" for="ch" forName="rootText1" refType="w"/>
                  <dgm:constr type="h" for="ch" forName="rootText1" refType="h"/>
                  <dgm:constr type="r" for="ch" forName="rootConnector1" refType="w"/>
                  <dgm:constr type="t" for="ch" forName="rootConnector1"/>
                  <dgm:constr type="w" for="ch" forName="rootConnector1" refType="w" refFor="ch" refForName="rootText1" fact="0.2"/>
                  <dgm:constr type="h" for="ch" forName="rootConnector1" refType="h" refFor="ch" refForName="rootText1"/>
                </dgm:constrLst>
              </dgm:else>
            </dgm:choose>
            <dgm:ruleLst/>
            <dgm:layoutNode name="rootText1" styleLbl="node0">
              <dgm:varLst>
                <dgm:chPref val="3"/>
              </dgm:varLst>
              <dgm:alg type="tx"/>
              <dgm:shape xmlns:r="http://schemas.openxmlformats.org/officeDocument/2006/relationships" type="rect" r:blip="">
                <dgm:adjLst/>
              </dgm:shape>
              <dgm:presOf axis="self" ptType="node" cnt="1"/>
              <dgm:constrLst>
                <dgm:constr type="primFontSz" val="65"/>
                <dgm:constr type="lMarg" refType="primFontSz" fact="0.05"/>
                <dgm:constr type="rMarg" refType="primFontSz" fact="0.05"/>
                <dgm:constr type="tMarg" refType="primFontSz" fact="0.05"/>
                <dgm:constr type="bMarg" refType="primFontSz" fact="0.05"/>
              </dgm:constrLst>
              <dgm:ruleLst>
                <dgm:rule type="primFontSz" val="5" fact="NaN" max="NaN"/>
              </dgm:ruleLst>
            </dgm:layoutNode>
            <dgm:layoutNode name="rootConnector1" moveWith="rootText1">
              <dgm:alg type="sp"/>
              <dgm:shape xmlns:r="http://schemas.openxmlformats.org/officeDocument/2006/relationships" type="rect" r:blip="" hideGeom="1">
                <dgm:adjLst/>
              </dgm:shape>
              <dgm:presOf axis="self" ptType="node" cnt="1"/>
              <dgm:constrLst/>
              <dgm:ruleLst/>
            </dgm:layoutNode>
          </dgm:layoutNode>
          <dgm:layoutNode name="hierChild2">
            <dgm:choose name="Name21">
              <dgm:if name="Name22" func="var" arg="hierBranch" op="equ" val="l">
                <dgm:alg type="hierChild">
                  <dgm:param type="chAlign" val="r"/>
                  <dgm:param type="linDir" val="fromT"/>
                </dgm:alg>
              </dgm:if>
              <dgm:if name="Name23" func="var" arg="hierBranch" op="equ" val="r">
                <dgm:alg type="hierChild">
                  <dgm:param type="chAlign" val="l"/>
                  <dgm:param type="linDir" val="fromT"/>
                </dgm:alg>
              </dgm:if>
              <dgm:if name="Name24" func="var" arg="hierBranch" op="equ" val="hang">
                <dgm:choose name="Name25">
                  <dgm:if name="Name26" func="var" arg="dir" op="equ" val="norm">
                    <dgm:alg type="hierChild">
                      <dgm:param type="chAlign" val="l"/>
                      <dgm:param type="linDir" val="fromL"/>
                      <dgm:param type="secChAlign" val="t"/>
                      <dgm:param type="secLinDir" val="fromT"/>
                    </dgm:alg>
                  </dgm:if>
                  <dgm:else name="Name27">
                    <dgm:alg type="hierChild">
                      <dgm:param type="chAlign" val="l"/>
                      <dgm:param type="linDir" val="fromR"/>
                      <dgm:param type="secChAlign" val="t"/>
                      <dgm:param type="secLinDir" val="fromT"/>
                    </dgm:alg>
                  </dgm:else>
                </dgm:choose>
              </dgm:if>
              <dgm:else name="Name28">
                <dgm:choose name="Name29">
                  <dgm:if name="Name30" func="var" arg="dir" op="equ" val="norm">
                    <dgm:alg type="hierChild"/>
                  </dgm:if>
                  <dgm:else name="Name31">
                    <dgm:alg type="hierChild">
                      <dgm:param type="linDir" val="fromR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a" axis="ch" ptType="nonAsst">
              <dgm:forEach name="Name32" axis="precedSib" ptType="parTrans" st="-1" cnt="1">
                <dgm:choose name="Name33">
                  <dgm:if name="Name34" func="var" arg="hierBranch" op="equ" val="std">
                    <dgm:layoutNode name="Name35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tCtr"/>
                        <dgm:param type="bendPt" val="end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36" func="var" arg="hierBranch" op="equ" val="init">
                    <dgm:layoutNode name="Name37">
                      <dgm:choose name="Name38">
                        <dgm:if name="Name39" axis="self" func="depth" op="lte" val="2">
                          <dgm:alg type="conn">
                            <dgm:param type="connRout" val="bend"/>
                            <dgm:param type="dim" val="1D"/>
                            <dgm:param type="endSty" val="noArr"/>
                            <dgm:param type="begPts" val="bCtr"/>
                            <dgm:param type="endPts" val="tCtr"/>
                            <dgm:param type="bendPt" val="end"/>
                          </dgm:alg>
                        </dgm:if>
                        <dgm:else name="Name40">
                          <dgm:choose name="Name41">
                            <dgm:if name="Name42" axis="par des" func="maxDepth" op="lte" val="1">
                              <dgm:choose name="Name43">
                                <dgm:if name="Name44" axis="par ch" ptType="node asst" func="cnt" op="gte" val="1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</dgm:alg>
                                </dgm:if>
                                <dgm:else name="Name45">
                                  <dgm:alg type="conn">
                                    <dgm:param type="connRout" val="bend"/>
                                    <dgm:param type="dim" val="1D"/>
                                    <dgm:param type="endSty" val="noArr"/>
                                    <dgm:param type="begPts" val="bCtr"/>
                                    <dgm:param type="endPts" val="midL midR"/>
                                    <dgm:param type="srcNode" val="rootConnector"/>
                                  </dgm:alg>
                                </dgm:else>
                              </dgm:choose>
                            </dgm:if>
                            <dgm:else name="Name46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tCtr"/>
                                <dgm:param type="bendPt" val="end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if name="Name47" func="var" arg="hierBranch" op="equ" val="hang">
                    <dgm:layoutNode name="Name48">
                      <dgm:alg type="conn">
                        <dgm:param type="connRout" val="bend"/>
                        <dgm:param type="dim" val="1D"/>
                        <dgm:param type="endSty" val="noArr"/>
                        <dgm:param type="begPts" val="bCtr"/>
                        <dgm:param type="endPts" val="midL midR"/>
                      </dgm:alg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if>
                  <dgm:else name="Name49">
                    <dgm:layoutNode name="Name50">
                      <dgm:choose name="Name51">
                        <dgm:if name="Name52" axis="self" func="depth" op="lte" val="2">
                          <dgm:choose name="Name53">
                            <dgm:if name="Name54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5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1"/>
                              </dgm:alg>
                            </dgm:else>
                          </dgm:choose>
                        </dgm:if>
                        <dgm:else name="Name56">
                          <dgm:choose name="Name57">
                            <dgm:if name="Name58" axis="par ch" ptType="node asst" func="cnt" op="gte" val="1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</dgm:alg>
                            </dgm:if>
                            <dgm:else name="Name59">
                              <dgm:alg type="conn">
                                <dgm:param type="connRout" val="bend"/>
                                <dgm:param type="dim" val="1D"/>
                                <dgm:param type="endSty" val="noArr"/>
                                <dgm:param type="begPts" val="bCtr"/>
                                <dgm:param type="endPts" val="midL midR"/>
                                <dgm:param type="srcNode" val="rootConnector"/>
                              </dgm:alg>
                            </dgm:else>
                          </dgm:choose>
                        </dgm:else>
                      </dgm:choose>
                      <dgm:shape xmlns:r="http://schemas.openxmlformats.org/officeDocument/2006/relationships" type="conn" r:blip="" zOrderOff="-99999">
                        <dgm:adjLst/>
                      </dgm:shape>
                      <dgm:presOf axis="self"/>
                      <dgm:constrLst>
                        <dgm:constr type="begPad"/>
                        <dgm:constr type="endPad"/>
                      </dgm:constrLst>
                      <dgm:ruleLst/>
                    </dgm:layoutNode>
                  </dgm:else>
                </dgm:choose>
              </dgm:forEach>
              <dgm:layoutNode name="hierRoot2">
                <dgm:varLst>
                  <dgm:hierBranch val="init"/>
                </dgm:varLst>
                <dgm:choose name="Name60">
                  <dgm:if name="Name61" func="var" arg="hierBranch" op="equ" val="l">
                    <dgm:choose name="Name62">
                      <dgm:if name="Name63" axis="ch" ptType="asst" func="cnt" op="gte" val="1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4">
                        <dgm:alg type="hierRoot">
                          <dgm:param type="hierAlign" val="tR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5" func="var" arg="hierBranch" op="equ" val="r">
                    <dgm:choose name="Name66">
                      <dgm:if name="Name67" axis="ch" ptType="asst" func="cnt" op="g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68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25"/>
                        </dgm:constrLst>
                      </dgm:else>
                    </dgm:choose>
                  </dgm:if>
                  <dgm:if name="Name69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70" func="var" arg="hierBranch" op="equ" val="init">
                    <dgm:choose name="Name71">
                      <dgm:if name="Name72" axis="des" func="maxDepth" op="lte" val="1">
                        <dgm:choose name="Name73">
                          <dgm:if name="Name74" axis="ch" ptType="asst" func="cnt" op="gte" val="1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65"/>
                            </dgm:constrLst>
                          </dgm:if>
                          <dgm:else name="Name75">
                            <dgm:alg type="hierRoot">
                              <dgm:param type="hierAlign" val="tL"/>
                            </dgm:alg>
                            <dgm:shape xmlns:r="http://schemas.openxmlformats.org/officeDocument/2006/relationships" r:blip="">
                              <dgm:adjLst/>
                            </dgm:shape>
                            <dgm:presOf/>
                            <dgm:constrLst>
                              <dgm:constr type="alignOff" val="0.25"/>
                            </dgm:constrLst>
                          </dgm:else>
                        </dgm:choose>
                      </dgm:if>
                      <dgm:else name="Name76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77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else>
                </dgm:choose>
                <dgm:ruleLst/>
                <dgm:layoutNode name="rootComposite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78">
                    <dgm:if name="Name79" func="var" arg="hierBranch" op="equ" val="init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0" func="var" arg="hierBranch" op="equ" val="l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if name="Name81" func="var" arg="hierBranch" op="equ" val="r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l" for="ch" forName="rootConnector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if>
                    <dgm:else name="Name82">
                      <dgm:constrLst>
                        <dgm:constr type="l" for="ch" forName="rootText"/>
                        <dgm:constr type="t" for="ch" forName="rootText"/>
                        <dgm:constr type="w" for="ch" forName="rootText" refType="w"/>
                        <dgm:constr type="h" for="ch" forName="rootText" refType="h"/>
                        <dgm:constr type="r" for="ch" forName="rootConnector" refType="w"/>
                        <dgm:constr type="t" for="ch" forName="rootConnector"/>
                        <dgm:constr type="w" for="ch" forName="rootConnector" refType="w" refFor="ch" refForName="rootText" fact="0.2"/>
                        <dgm:constr type="h" for="ch" forName="rootConnector" refType="h" refFor="ch" refForName="rootText"/>
                      </dgm:constrLst>
                    </dgm:else>
                  </dgm:choose>
                  <dgm:ruleLst/>
                  <dgm:layoutNode name="rootText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" moveWith="rootText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4">
                  <dgm:choose name="Name83">
                    <dgm:if name="Name84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85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86" func="var" arg="hierBranch" op="equ" val="hang">
                      <dgm:choose name="Name87">
                        <dgm:if name="Name88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89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90" func="var" arg="hierBranch" op="equ" val="std">
                      <dgm:choose name="Name91">
                        <dgm:if name="Name92" func="var" arg="dir" op="equ" val="norm">
                          <dgm:alg type="hierChild"/>
                        </dgm:if>
                        <dgm:else name="Name93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94" func="var" arg="hierBranch" op="equ" val="init">
                      <dgm:choose name="Name95">
                        <dgm:if name="Name96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97">
                          <dgm:choose name="Name98">
                            <dgm:if name="Name99" func="var" arg="dir" op="equ" val="norm">
                              <dgm:alg type="hierChild"/>
                            </dgm:if>
                            <dgm:else name="Name100">
                              <dgm:alg type="hierChild">
                                <dgm:param type="linDir" val="fromR"/>
                              </dgm:alg>
                            </dgm:else>
                          </dgm:choose>
                        </dgm:else>
                      </dgm:choose>
                    </dgm:if>
                    <dgm:else name="Name101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2" ref="rep2a"/>
                </dgm:layoutNode>
                <dgm:layoutNode name="hierChild5">
                  <dgm:choose name="Name103">
                    <dgm:if name="Name104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05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06" ref="rep2b"/>
                </dgm:layoutNode>
              </dgm:layoutNode>
            </dgm:forEach>
          </dgm:layoutNode>
          <dgm:layoutNode name="hierChild3">
            <dgm:choose name="Name107">
              <dgm:if name="Name108" func="var" arg="dir" op="equ" val="norm">
                <dgm:alg type="hierChild">
                  <dgm:param type="chAlign" val="l"/>
                  <dgm:param type="linDir" val="fromL"/>
                  <dgm:param type="secChAlign" val="t"/>
                  <dgm:param type="secLinDir" val="fromT"/>
                </dgm:alg>
              </dgm:if>
              <dgm:else name="Name109">
                <dgm:alg type="hierChild">
                  <dgm:param type="chAlign" val="l"/>
                  <dgm:param type="linDir" val="fromR"/>
                  <dgm:param type="secChAlign" val="t"/>
                  <dgm:param type="secLinDir" val="fromT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2b" axis="ch" ptType="asst">
              <dgm:forEach name="Name110" axis="precedSib" ptType="parTrans" st="-1" cnt="1">
                <dgm:layoutNode name="Name111">
                  <dgm:alg type="conn">
                    <dgm:param type="connRout" val="bend"/>
                    <dgm:param type="dim" val="1D"/>
                    <dgm:param type="endSty" val="noArr"/>
                    <dgm:param type="begPts" val="bCtr"/>
                    <dgm:param type="endPts" val="midL midR"/>
                  </dgm:alg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  <dgm:ruleLst/>
                </dgm:layoutNode>
              </dgm:forEach>
              <dgm:layoutNode name="hierRoot3">
                <dgm:varLst>
                  <dgm:hierBranch val="init"/>
                </dgm:varLst>
                <dgm:choose name="Name112">
                  <dgm:if name="Name113" func="var" arg="hierBranch" op="equ" val="l">
                    <dgm:alg type="hierRoot">
                      <dgm:param type="hierAlign" val="tR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4" func="var" arg="hierBranch" op="equ" val="r">
                    <dgm:alg type="hierRoot">
                      <dgm:param type="hierAlign" val="tL"/>
                    </dgm:alg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5" func="var" arg="hierBranch" op="equ" val="hang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 val="0.65"/>
                    </dgm:constrLst>
                  </dgm:if>
                  <dgm:if name="Name116" func="var" arg="hierBranch" op="equ" val="std">
                    <dgm:alg type="hierRoot"/>
                    <dgm:shape xmlns:r="http://schemas.openxmlformats.org/officeDocument/2006/relationships" r:blip="">
                      <dgm:adjLst/>
                    </dgm:shape>
                    <dgm:presOf/>
                    <dgm:constrLst>
                      <dgm:constr type="alignOff"/>
                      <dgm:constr type="bendDist" for="des" ptType="parTrans" refType="sp" fact="0.5"/>
                    </dgm:constrLst>
                  </dgm:if>
                  <dgm:if name="Name117" func="var" arg="hierBranch" op="equ" val="init">
                    <dgm:choose name="Name118">
                      <dgm:if name="Name119" axis="des" func="maxDepth" op="lte" val="1">
                        <dgm:alg type="hierRoot">
                          <dgm:param type="hierAlign" val="tL"/>
                        </dgm:alg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 val="0.65"/>
                        </dgm:constrLst>
                      </dgm:if>
                      <dgm:else name="Name120">
                        <dgm:alg type="hierRoot"/>
                        <dgm:shape xmlns:r="http://schemas.openxmlformats.org/officeDocument/2006/relationships" r:blip="">
                          <dgm:adjLst/>
                        </dgm:shape>
                        <dgm:presOf/>
                        <dgm:constrLst>
                          <dgm:constr type="alignOff"/>
                          <dgm:constr type="bendDist" for="des" ptType="parTrans" refType="sp" fact="0.5"/>
                        </dgm:constrLst>
                      </dgm:else>
                    </dgm:choose>
                  </dgm:if>
                  <dgm:else name="Name121"/>
                </dgm:choose>
                <dgm:ruleLst/>
                <dgm:layoutNode name="rootComposite3">
                  <dgm:alg type="composite"/>
                  <dgm:shape xmlns:r="http://schemas.openxmlformats.org/officeDocument/2006/relationships" r:blip="">
                    <dgm:adjLst/>
                  </dgm:shape>
                  <dgm:presOf axis="self" ptType="node" cnt="1"/>
                  <dgm:choose name="Name122">
                    <dgm:if name="Name123" func="var" arg="hierBranch" op="equ" val="init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4" func="var" arg="hierBranch" op="equ" val="l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if name="Name125" func="var" arg="hierBranch" op="equ" val="r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l" for="ch" forName="rootConnector3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if>
                    <dgm:else name="Name126">
                      <dgm:constrLst>
                        <dgm:constr type="l" for="ch" forName="rootText3"/>
                        <dgm:constr type="t" for="ch" forName="rootText3"/>
                        <dgm:constr type="w" for="ch" forName="rootText3" refType="w"/>
                        <dgm:constr type="h" for="ch" forName="rootText3" refType="h"/>
                        <dgm:constr type="r" for="ch" forName="rootConnector3" refType="w"/>
                        <dgm:constr type="t" for="ch" forName="rootConnector3"/>
                        <dgm:constr type="w" for="ch" forName="rootConnector3" refType="w" refFor="ch" refForName="rootText3" fact="0.2"/>
                        <dgm:constr type="h" for="ch" forName="rootConnector3" refType="h" refFor="ch" refForName="rootText3"/>
                      </dgm:constrLst>
                    </dgm:else>
                  </dgm:choose>
                  <dgm:ruleLst/>
                  <dgm:layoutNode name="rootText3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 ptType="node" cnt="1"/>
                    <dgm:constrLst>
                      <dgm:constr type="primFontSz" val="65"/>
                      <dgm:constr type="lMarg" refType="primFontSz" fact="0.05"/>
                      <dgm:constr type="rMarg" refType="primFontSz" fact="0.05"/>
                      <dgm:constr type="tMarg" refType="primFontSz" fact="0.05"/>
                      <dgm:constr type="b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rootConnector3" moveWith="rootText1">
                    <dgm:alg type="sp"/>
                    <dgm:shape xmlns:r="http://schemas.openxmlformats.org/officeDocument/2006/relationships" type="rect" r:blip="" hideGeom="1">
                      <dgm:adjLst/>
                    </dgm:shape>
                    <dgm:presOf axis="self" ptType="node" cnt="1"/>
                    <dgm:constrLst/>
                    <dgm:ruleLst/>
                  </dgm:layoutNode>
                </dgm:layoutNode>
                <dgm:layoutNode name="hierChild6">
                  <dgm:choose name="Name127">
                    <dgm:if name="Name128" func="var" arg="hierBranch" op="equ" val="l">
                      <dgm:alg type="hierChild">
                        <dgm:param type="chAlign" val="r"/>
                        <dgm:param type="linDir" val="fromT"/>
                      </dgm:alg>
                    </dgm:if>
                    <dgm:if name="Name129" func="var" arg="hierBranch" op="equ" val="r">
                      <dgm:alg type="hierChild">
                        <dgm:param type="chAlign" val="l"/>
                        <dgm:param type="linDir" val="fromT"/>
                      </dgm:alg>
                    </dgm:if>
                    <dgm:if name="Name130" func="var" arg="hierBranch" op="equ" val="hang">
                      <dgm:choose name="Name131">
                        <dgm:if name="Name132" func="var" arg="dir" op="equ" val="norm">
                          <dgm:alg type="hierChild">
                            <dgm:param type="chAlign" val="l"/>
                            <dgm:param type="linDir" val="fromL"/>
                            <dgm:param type="secChAlign" val="t"/>
                            <dgm:param type="secLinDir" val="fromT"/>
                          </dgm:alg>
                        </dgm:if>
                        <dgm:else name="Name133">
                          <dgm:alg type="hierChild">
                            <dgm:param type="chAlign" val="l"/>
                            <dgm:param type="linDir" val="fromR"/>
                            <dgm:param type="secChAlign" val="t"/>
                            <dgm:param type="secLinDir" val="fromT"/>
                          </dgm:alg>
                        </dgm:else>
                      </dgm:choose>
                    </dgm:if>
                    <dgm:if name="Name134" func="var" arg="hierBranch" op="equ" val="std">
                      <dgm:choose name="Name135">
                        <dgm:if name="Name136" func="var" arg="dir" op="equ" val="norm">
                          <dgm:alg type="hierChild"/>
                        </dgm:if>
                        <dgm:else name="Name137">
                          <dgm:alg type="hierChild">
                            <dgm:param type="linDir" val="fromR"/>
                          </dgm:alg>
                        </dgm:else>
                      </dgm:choose>
                    </dgm:if>
                    <dgm:if name="Name138" func="var" arg="hierBranch" op="equ" val="init">
                      <dgm:choose name="Name139">
                        <dgm:if name="Name140" axis="des" func="maxDepth" op="lte" val="1">
                          <dgm:alg type="hierChild">
                            <dgm:param type="chAlign" val="l"/>
                            <dgm:param type="linDir" val="fromT"/>
                          </dgm:alg>
                        </dgm:if>
                        <dgm:else name="Name141">
                          <dgm:alg type="hierChild"/>
                        </dgm:else>
                      </dgm:choose>
                    </dgm:if>
                    <dgm:else name="Name142"/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3" ref="rep2a"/>
                </dgm:layoutNode>
                <dgm:layoutNode name="hierChild7">
                  <dgm:choose name="Name144">
                    <dgm:if name="Name145" func="var" arg="dir" op="equ" val="norm">
                      <dgm:alg type="hierChild">
                        <dgm:param type="chAlign" val="l"/>
                        <dgm:param type="linDir" val="fromL"/>
                        <dgm:param type="secChAlign" val="t"/>
                        <dgm:param type="secLinDir" val="fromT"/>
                      </dgm:alg>
                    </dgm:if>
                    <dgm:else name="Name146">
                      <dgm:alg type="hierChild">
                        <dgm:param type="chAlign" val="l"/>
                        <dgm:param type="linDir" val="fromR"/>
                        <dgm:param type="secChAlign" val="t"/>
                        <dgm:param type="secLinDir" val="fromT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forEach name="Name147" ref="rep2b"/>
                </dgm:layoutNode>
              </dgm:layoutNode>
            </dgm:forEach>
          </dgm:layoutNode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cycle4#1">
  <dgm:title val=""/>
  <dgm:desc val=""/>
  <dgm:catLst>
    <dgm:cat type="relationship" pri="26000"/>
    <dgm:cat type="cycle" pri="13000"/>
    <dgm:cat type="matrix" pri="4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  <dgm:pt modelId="3">
          <dgm:prSet phldr="1"/>
        </dgm:pt>
        <dgm:pt modelId="31">
          <dgm:prSet phldr="1"/>
        </dgm:pt>
        <dgm:pt modelId="4">
          <dgm:prSet phldr="1"/>
        </dgm:pt>
        <dgm:pt modelId="41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cycleMatrixDiagram">
    <dgm:varLst>
      <dgm:chMax val="1"/>
      <dgm:dir/>
      <dgm:animLvl val="lvl"/>
      <dgm:resizeHandles val="exact"/>
    </dgm:varLst>
    <dgm:alg type="composite">
      <dgm:param type="ar" val="1.3"/>
    </dgm:alg>
    <dgm:shape xmlns:r="http://schemas.openxmlformats.org/officeDocument/2006/relationships" r:blip="">
      <dgm:adjLst/>
    </dgm:shape>
    <dgm:presOf/>
    <dgm:constrLst>
      <dgm:constr type="w" for="ch" forName="children" refType="w"/>
      <dgm:constr type="h" for="ch" forName="children" refType="w" refFor="ch" refForName="children" fact="0.77"/>
      <dgm:constr type="ctrX" for="ch" forName="children" refType="w" fact="0.5"/>
      <dgm:constr type="ctrY" for="ch" forName="children" refType="h" fact="0.5"/>
      <dgm:constr type="w" for="ch" forName="circle" refType="w"/>
      <dgm:constr type="h" for="ch" forName="circle" refType="h"/>
      <dgm:constr type="ctrX" for="ch" forName="circle" refType="w" fact="0.5"/>
      <dgm:constr type="ctrY" for="ch" forName="circle" refType="h" fact="0.5"/>
      <dgm:constr type="w" for="ch" forName="center1" refType="w" fact="0.115"/>
      <dgm:constr type="h" for="ch" forName="center1" refType="w" fact="0.1"/>
      <dgm:constr type="ctrX" for="ch" forName="center1" refType="w" fact="0.5"/>
      <dgm:constr type="ctrY" for="ch" forName="center1" refType="h" fact="0.475"/>
      <dgm:constr type="w" for="ch" forName="center2" refType="w" fact="0.115"/>
      <dgm:constr type="h" for="ch" forName="center2" refType="w" fact="0.1"/>
      <dgm:constr type="ctrX" for="ch" forName="center2" refType="w" fact="0.5"/>
      <dgm:constr type="ctrY" for="ch" forName="center2" refType="h" fact="0.525"/>
    </dgm:constrLst>
    <dgm:ruleLst/>
    <dgm:choose name="Name0">
      <dgm:if name="Name1" axis="ch" ptType="node" func="cnt" op="gte" val="1">
        <dgm:layoutNode name="children">
          <dgm:alg type="composite">
            <dgm:param type="ar" val="1.3"/>
          </dgm:alg>
          <dgm:shape xmlns:r="http://schemas.openxmlformats.org/officeDocument/2006/relationships" r:blip="">
            <dgm:adjLst/>
          </dgm:shape>
          <dgm:presOf/>
          <dgm:choose name="Name2">
            <dgm:if name="Name3" func="var" arg="dir" op="equ" val="norm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l" for="ch" forName="child1group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r" for="ch" forName="child2group" refType="w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r" for="ch" forName="child3group" refType="w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l" for="ch" forName="child4group"/>
              </dgm:constrLst>
            </dgm:if>
            <dgm:else name="Name4">
              <dgm:constrLst>
                <dgm:constr type="primFontSz" for="des" ptType="node" op="equ" val="65"/>
                <dgm:constr type="w" for="ch" forName="child1group" refType="w" fact="0.38"/>
                <dgm:constr type="h" for="ch" forName="child1group" refType="h" fact="0.32"/>
                <dgm:constr type="t" for="ch" forName="child1group"/>
                <dgm:constr type="r" for="ch" forName="child1group" refType="w"/>
                <dgm:constr type="w" for="ch" forName="child2group" refType="w" fact="0.38"/>
                <dgm:constr type="h" for="ch" forName="child2group" refType="h" fact="0.32"/>
                <dgm:constr type="t" for="ch" forName="child2group"/>
                <dgm:constr type="l" for="ch" forName="child2group"/>
                <dgm:constr type="w" for="ch" forName="child3group" refType="w" fact="0.38"/>
                <dgm:constr type="h" for="ch" forName="child3group" refType="h" fact="0.32"/>
                <dgm:constr type="b" for="ch" forName="child3group" refType="h"/>
                <dgm:constr type="l" for="ch" forName="child3group"/>
                <dgm:constr type="w" for="ch" forName="child4group" refType="w" fact="0.38"/>
                <dgm:constr type="h" for="ch" forName="child4group" refType="h" fact="0.32"/>
                <dgm:constr type="b" for="ch" forName="child4group" refType="h"/>
                <dgm:constr type="r" for="ch" forName="child4group" refType="w"/>
              </dgm:constrLst>
            </dgm:else>
          </dgm:choose>
          <dgm:ruleLst/>
          <dgm:choose name="Name5">
            <dgm:if name="Name6" axis="ch ch" ptType="node node" st="1 1" cnt="1 0" func="cnt" op="gte" val="1">
              <dgm:layoutNode name="child1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7">
                  <dgm:if name="Name8" func="var" arg="dir" op="equ" val="norm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l" for="ch" forName="child1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l" for="ch" forName="child1Text"/>
                    </dgm:constrLst>
                  </dgm:if>
                  <dgm:else name="Name9">
                    <dgm:constrLst>
                      <dgm:constr type="w" for="ch" forName="child1" refType="w"/>
                      <dgm:constr type="h" for="ch" forName="child1" refType="h"/>
                      <dgm:constr type="t" for="ch" forName="child1"/>
                      <dgm:constr type="r" for="ch" forName="child1" refType="w"/>
                      <dgm:constr type="w" for="ch" forName="child1Text" refType="w" fact="0.7"/>
                      <dgm:constr type="h" for="ch" forName="child1Text" refType="h" fact="0.75"/>
                      <dgm:constr type="t" for="ch" forName="child1Text"/>
                      <dgm:constr type="r" for="ch" forName="child1Text" refType="w"/>
                    </dgm:constrLst>
                  </dgm:else>
                </dgm:choose>
                <dgm:ruleLst/>
                <dgm:layoutNode name="child1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1 1" cnt="1 0"/>
                  <dgm:constrLst/>
                  <dgm:ruleLst/>
                </dgm:layoutNode>
                <dgm:layoutNode name="child1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1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0"/>
          </dgm:choose>
          <dgm:choose name="Name11">
            <dgm:if name="Name12" axis="ch ch" ptType="node node" st="2 1" cnt="1 0" func="cnt" op="gte" val="1">
              <dgm:layoutNode name="child2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choose name="Name13">
                  <dgm:if name="Name14" func="var" arg="dir" op="equ" val="norm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r" for="ch" forName="child2" refType="w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r" for="ch" forName="child2Text" refType="w"/>
                    </dgm:constrLst>
                  </dgm:if>
                  <dgm:else name="Name15">
                    <dgm:constrLst>
                      <dgm:constr type="w" for="ch" forName="child2" refType="w"/>
                      <dgm:constr type="h" for="ch" forName="child2" refType="h"/>
                      <dgm:constr type="t" for="ch" forName="child2"/>
                      <dgm:constr type="l" for="ch" forName="child2"/>
                      <dgm:constr type="w" for="ch" forName="child2Text" refType="w" fact="0.7"/>
                      <dgm:constr type="h" for="ch" forName="child2Text" refType="h" fact="0.75"/>
                      <dgm:constr type="t" for="ch" forName="child2Text"/>
                      <dgm:constr type="l" for="ch" forName="child2Text"/>
                    </dgm:constrLst>
                  </dgm:else>
                </dgm:choose>
                <dgm:ruleLst/>
                <dgm:layoutNode name="child2" styleLbl="bgAcc1">
                  <dgm:alg type="sp"/>
                  <dgm:shape xmlns:r="http://schemas.openxmlformats.org/officeDocument/2006/relationships" type="roundRect" r:blip="" zOrderOff="-2">
                    <dgm:adjLst>
                      <dgm:adj idx="1" val="0.1"/>
                    </dgm:adjLst>
                  </dgm:shape>
                  <dgm:presOf axis="ch des" ptType="node node" st="2 1" cnt="1 0"/>
                  <dgm:constrLst/>
                  <dgm:ruleLst/>
                </dgm:layoutNode>
                <dgm:layoutNode name="child2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2" hideGeom="1">
                    <dgm:adjLst>
                      <dgm:adj idx="1" val="0.1"/>
                    </dgm:adjLst>
                  </dgm:shape>
                  <dgm:presOf axis="ch des" ptType="node node" st="2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16"/>
          </dgm:choose>
          <dgm:choose name="Name17">
            <dgm:if name="Name18" axis="ch ch" ptType="node node" st="3 1" cnt="1 0" func="cnt" op="gte" val="1">
              <dgm:layoutNode name="child3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19">
                  <dgm:if name="Name20" func="var" arg="dir" op="equ" val="norm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r" for="ch" forName="child3" refType="w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r" for="ch" forName="child3Text" refType="w"/>
                    </dgm:constrLst>
                  </dgm:if>
                  <dgm:else name="Name21">
                    <dgm:constrLst>
                      <dgm:constr type="w" for="ch" forName="child3" refType="w"/>
                      <dgm:constr type="h" for="ch" forName="child3" refType="h"/>
                      <dgm:constr type="b" for="ch" forName="child3" refType="h"/>
                      <dgm:constr type="l" for="ch" forName="child3"/>
                      <dgm:constr type="w" for="ch" forName="child3Text" refType="w" fact="0.7"/>
                      <dgm:constr type="h" for="ch" forName="child3Text" refType="h" fact="0.75"/>
                      <dgm:constr type="b" for="ch" forName="child3Text" refType="h"/>
                      <dgm:constr type="l" for="ch" forName="child3Text"/>
                    </dgm:constrLst>
                  </dgm:else>
                </dgm:choose>
                <dgm:ruleLst/>
                <dgm:layoutNode name="child3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3 1" cnt="1 0"/>
                  <dgm:constrLst/>
                  <dgm:ruleLst/>
                </dgm:layoutNode>
                <dgm:layoutNode name="child3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3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2"/>
          </dgm:choose>
          <dgm:choose name="Name23">
            <dgm:if name="Name24" axis="ch ch" ptType="node node" st="4 1" cnt="1 0" func="cnt" op="gte" val="1">
              <dgm:layoutNode name="child4group">
                <dgm:alg type="composite">
                  <dgm:param type="horzAlign" val="none"/>
                  <dgm:param type="vertAlign" val="none"/>
                </dgm:alg>
                <dgm:shape xmlns:r="http://schemas.openxmlformats.org/officeDocument/2006/relationships" r:blip="">
                  <dgm:adjLst/>
                </dgm:shape>
                <dgm:presOf/>
                <dgm:choose name="Name25">
                  <dgm:if name="Name26" func="var" arg="dir" op="equ" val="norm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l" for="ch" forName="child4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l" for="ch" forName="child4Text"/>
                    </dgm:constrLst>
                  </dgm:if>
                  <dgm:else name="Name27">
                    <dgm:constrLst>
                      <dgm:constr type="w" for="ch" forName="child4" refType="w"/>
                      <dgm:constr type="h" for="ch" forName="child4" refType="h"/>
                      <dgm:constr type="b" for="ch" forName="child4" refType="h"/>
                      <dgm:constr type="r" for="ch" forName="child4" refType="w"/>
                      <dgm:constr type="w" for="ch" forName="child4Text" refType="w" fact="0.7"/>
                      <dgm:constr type="h" for="ch" forName="child4Text" refType="h" fact="0.75"/>
                      <dgm:constr type="b" for="ch" forName="child4Text" refType="h"/>
                      <dgm:constr type="r" for="ch" forName="child4Text" refType="w"/>
                    </dgm:constrLst>
                  </dgm:else>
                </dgm:choose>
                <dgm:ruleLst/>
                <dgm:layoutNode name="child4" styleLbl="bgAcc1">
                  <dgm:alg type="sp"/>
                  <dgm:shape xmlns:r="http://schemas.openxmlformats.org/officeDocument/2006/relationships" type="roundRect" r:blip="" zOrderOff="-4">
                    <dgm:adjLst>
                      <dgm:adj idx="1" val="0.1"/>
                    </dgm:adjLst>
                  </dgm:shape>
                  <dgm:presOf axis="ch des" ptType="node node" st="4 1" cnt="1 0"/>
                  <dgm:constrLst/>
                  <dgm:ruleLst/>
                </dgm:layoutNode>
                <dgm:layoutNode name="child4Text" styleLbl="bgAcc1">
                  <dgm:varLst>
                    <dgm:bulletEnabled val="1"/>
                  </dgm:varLst>
                  <dgm:alg type="tx">
                    <dgm:param type="stBulletLvl" val="1"/>
                  </dgm:alg>
                  <dgm:shape xmlns:r="http://schemas.openxmlformats.org/officeDocument/2006/relationships" type="roundRect" r:blip="" zOrderOff="-4" hideGeom="1">
                    <dgm:adjLst>
                      <dgm:adj idx="1" val="0.1"/>
                    </dgm:adjLst>
                  </dgm:shape>
                  <dgm:presOf axis="ch des" ptType="node node" st="4 1" cnt="1 0"/>
                  <dgm:constrLst>
                    <dgm:constr type="tMarg" refType="primFontSz" fact="0.3"/>
                    <dgm:constr type="bMarg" refType="primFontSz" fact="0.3"/>
                    <dgm:constr type="lMarg" refType="primFontSz" fact="0.3"/>
                    <dgm:constr type="rMarg" refType="primFontSz" fact="0.3"/>
                  </dgm:constrLst>
                  <dgm:ruleLst>
                    <dgm:rule type="primFontSz" val="5" fact="NaN" max="NaN"/>
                  </dgm:ruleLst>
                </dgm:layoutNode>
              </dgm:layoutNode>
            </dgm:if>
            <dgm:else name="Name28"/>
          </dgm:choose>
          <dgm:layoutNode name="child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ircle">
          <dgm:alg type="composite">
            <dgm:param type="ar" val="1"/>
          </dgm:alg>
          <dgm:shape xmlns:r="http://schemas.openxmlformats.org/officeDocument/2006/relationships" r:blip="">
            <dgm:adjLst/>
          </dgm:shape>
          <dgm:presOf/>
          <dgm:choose name="Name29">
            <dgm:if name="Name30" func="var" arg="dir" op="equ" val="norm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r" for="ch" forName="quadrant1" refType="w" fact="0.5"/>
                <dgm:constr type="rOff" for="ch" forName="quadrant1" refType="w" fact="-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l" for="ch" forName="quadrant2" refType="w" fact="0.5"/>
                <dgm:constr type="lOff" for="ch" forName="quadrant2" refType="w" fact="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l" for="ch" forName="quadrant3" refType="w" fact="0.5"/>
                <dgm:constr type="lOff" for="ch" forName="quadrant3" refType="w" fact="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r" for="ch" forName="quadrant4" refType="w" fact="0.5"/>
                <dgm:constr type="rOff" for="ch" forName="quadrant4" refType="w" fact="-0.01"/>
              </dgm:constrLst>
            </dgm:if>
            <dgm:else name="Name31">
              <dgm:constrLst>
                <dgm:constr type="primFontSz" for="ch" ptType="node" op="equ" val="65"/>
                <dgm:constr type="w" for="ch" forName="quadrant1" refType="w" fact="0.433"/>
                <dgm:constr type="h" for="ch" forName="quadrant1" refType="h" fact="0.433"/>
                <dgm:constr type="b" for="ch" forName="quadrant1" refType="h" fact="0.5"/>
                <dgm:constr type="bOff" for="ch" forName="quadrant1" refType="h" fact="-0.01"/>
                <dgm:constr type="l" for="ch" forName="quadrant1" refType="w" fact="0.5"/>
                <dgm:constr type="lOff" for="ch" forName="quadrant1" refType="w" fact="0.01"/>
                <dgm:constr type="w" for="ch" forName="quadrant2" refType="w" fact="0.433"/>
                <dgm:constr type="h" for="ch" forName="quadrant2" refType="h" fact="0.433"/>
                <dgm:constr type="b" for="ch" forName="quadrant2" refType="h" fact="0.5"/>
                <dgm:constr type="bOff" for="ch" forName="quadrant2" refType="h" fact="-0.01"/>
                <dgm:constr type="r" for="ch" forName="quadrant2" refType="w" fact="0.5"/>
                <dgm:constr type="rOff" for="ch" forName="quadrant2" refType="w" fact="-0.01"/>
                <dgm:constr type="w" for="ch" forName="quadrant3" refType="w" fact="0.433"/>
                <dgm:constr type="h" for="ch" forName="quadrant3" refType="h" fact="0.433"/>
                <dgm:constr type="t" for="ch" forName="quadrant3" refType="h" fact="0.5"/>
                <dgm:constr type="tOff" for="ch" forName="quadrant3" refType="h" fact="0.01"/>
                <dgm:constr type="r" for="ch" forName="quadrant3" refType="w" fact="0.5"/>
                <dgm:constr type="rOff" for="ch" forName="quadrant3" refType="w" fact="-0.01"/>
                <dgm:constr type="w" for="ch" forName="quadrant4" refType="w" fact="0.433"/>
                <dgm:constr type="h" for="ch" forName="quadrant4" refType="h" fact="0.433"/>
                <dgm:constr type="t" for="ch" forName="quadrant4" refType="h" fact="0.5"/>
                <dgm:constr type="tOff" for="ch" forName="quadrant4" refType="h" fact="0.01"/>
                <dgm:constr type="l" for="ch" forName="quadrant4" refType="w" fact="0.5"/>
                <dgm:constr type="lOff" for="ch" forName="quadrant4" refType="w" fact="0.01"/>
              </dgm:constrLst>
            </dgm:else>
          </dgm:choose>
          <dgm:ruleLst/>
          <dgm:layoutNode name="quadrant1" styleLbl="node1">
            <dgm:varLst>
              <dgm:chMax val="1"/>
              <dgm:bulletEnabled val="1"/>
            </dgm:varLst>
            <dgm:alg type="tx"/>
            <dgm:choose name="Name32">
              <dgm:if name="Name33" func="var" arg="dir" op="equ" val="norm">
                <dgm:shape xmlns:r="http://schemas.openxmlformats.org/officeDocument/2006/relationships" type="pieWedge" r:blip="">
                  <dgm:adjLst/>
                </dgm:shape>
              </dgm:if>
              <dgm:else name="Name34">
                <dgm:shape xmlns:r="http://schemas.openxmlformats.org/officeDocument/2006/relationships" rot="90" type="pieWedge" r:blip="">
                  <dgm:adjLst/>
                </dgm:shape>
              </dgm:else>
            </dgm:choose>
            <dgm:presOf axis="ch" ptType="node" cnt="1"/>
            <dgm:constrLst/>
            <dgm:ruleLst>
              <dgm:rule type="primFontSz" val="5" fact="NaN" max="NaN"/>
            </dgm:ruleLst>
          </dgm:layoutNode>
          <dgm:layoutNode name="quadrant2" styleLbl="node1">
            <dgm:varLst>
              <dgm:chMax val="1"/>
              <dgm:bulletEnabled val="1"/>
            </dgm:varLst>
            <dgm:alg type="tx"/>
            <dgm:choose name="Name35">
              <dgm:if name="Name36" func="var" arg="dir" op="equ" val="norm">
                <dgm:shape xmlns:r="http://schemas.openxmlformats.org/officeDocument/2006/relationships" rot="90" type="pieWedge" r:blip="">
                  <dgm:adjLst/>
                </dgm:shape>
              </dgm:if>
              <dgm:else name="Name37">
                <dgm:shape xmlns:r="http://schemas.openxmlformats.org/officeDocument/2006/relationships" type="pieWedge" r:blip="">
                  <dgm:adjLst/>
                </dgm:shape>
              </dgm:else>
            </dgm:choose>
            <dgm:presOf axis="ch" ptType="node" st="2" cnt="1"/>
            <dgm:constrLst/>
            <dgm:ruleLst>
              <dgm:rule type="primFontSz" val="5" fact="NaN" max="NaN"/>
            </dgm:ruleLst>
          </dgm:layoutNode>
          <dgm:layoutNode name="quadrant3" styleLbl="node1">
            <dgm:varLst>
              <dgm:chMax val="1"/>
              <dgm:bulletEnabled val="1"/>
            </dgm:varLst>
            <dgm:alg type="tx"/>
            <dgm:choose name="Name38">
              <dgm:if name="Name39" func="var" arg="dir" op="equ" val="norm">
                <dgm:shape xmlns:r="http://schemas.openxmlformats.org/officeDocument/2006/relationships" rot="180" type="pieWedge" r:blip="">
                  <dgm:adjLst/>
                </dgm:shape>
              </dgm:if>
              <dgm:else name="Name40">
                <dgm:shape xmlns:r="http://schemas.openxmlformats.org/officeDocument/2006/relationships" rot="270" type="pieWedge" r:blip="">
                  <dgm:adjLst/>
                </dgm:shape>
              </dgm:else>
            </dgm:choose>
            <dgm:presOf axis="ch" ptType="node" st="3" cnt="1"/>
            <dgm:constrLst/>
            <dgm:ruleLst>
              <dgm:rule type="primFontSz" val="5" fact="NaN" max="NaN"/>
            </dgm:ruleLst>
          </dgm:layoutNode>
          <dgm:layoutNode name="quadrant4" styleLbl="node1">
            <dgm:varLst>
              <dgm:chMax val="1"/>
              <dgm:bulletEnabled val="1"/>
            </dgm:varLst>
            <dgm:alg type="tx"/>
            <dgm:choose name="Name41">
              <dgm:if name="Name42" func="var" arg="dir" op="equ" val="norm">
                <dgm:shape xmlns:r="http://schemas.openxmlformats.org/officeDocument/2006/relationships" rot="270" type="pieWedge" r:blip="">
                  <dgm:adjLst/>
                </dgm:shape>
              </dgm:if>
              <dgm:else name="Name43">
                <dgm:shape xmlns:r="http://schemas.openxmlformats.org/officeDocument/2006/relationships" rot="180" type="pieWedge" r:blip="">
                  <dgm:adjLst/>
                </dgm:shape>
              </dgm:else>
            </dgm:choose>
            <dgm:presOf axis="ch" ptType="node" st="4" cnt="1"/>
            <dgm:constrLst/>
            <dgm:ruleLst>
              <dgm:rule type="primFontSz" val="5" fact="NaN" max="NaN"/>
            </dgm:ruleLst>
          </dgm:layoutNode>
          <dgm:layoutNode name="quadrantPlaceholder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layoutNode>
        <dgm:layoutNode name="center1" styleLbl="fgShp">
          <dgm:alg type="sp"/>
          <dgm:choose name="Name44">
            <dgm:if name="Name45" func="var" arg="dir" op="equ" val="norm">
              <dgm:shape xmlns:r="http://schemas.openxmlformats.org/officeDocument/2006/relationships" type="circularArrow" r:blip="" zOrderOff="16">
                <dgm:adjLst/>
              </dgm:shape>
            </dgm:if>
            <dgm:else name="Name46">
              <dgm:shape xmlns:r="http://schemas.openxmlformats.org/officeDocument/2006/relationships" rot="180" type="leftCircularArrow" r:blip="" zOrderOff="16">
                <dgm:adjLst/>
              </dgm:shape>
            </dgm:else>
          </dgm:choose>
          <dgm:presOf/>
          <dgm:constrLst/>
          <dgm:ruleLst/>
        </dgm:layoutNode>
        <dgm:layoutNode name="center2" styleLbl="fgShp">
          <dgm:alg type="sp"/>
          <dgm:choose name="Name47">
            <dgm:if name="Name48" func="var" arg="dir" op="equ" val="norm">
              <dgm:shape xmlns:r="http://schemas.openxmlformats.org/officeDocument/2006/relationships" rot="180" type="circularArrow" r:blip="" zOrderOff="16">
                <dgm:adjLst/>
              </dgm:shape>
            </dgm:if>
            <dgm:else name="Name49">
              <dgm:shape xmlns:r="http://schemas.openxmlformats.org/officeDocument/2006/relationships" type="leftCircularArrow" r:blip="" zOrderOff="16">
                <dgm:adjLst/>
              </dgm:shape>
            </dgm:else>
          </dgm:choose>
          <dgm:presOf/>
          <dgm:constrLst/>
          <dgm:ruleLst/>
        </dgm:layoutNode>
      </dgm:if>
      <dgm:else name="Name50"/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w-K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74B155D-EE65-4962-BAF5-A1750FFC8217}" type="datetimeFigureOut">
              <a:rPr lang="sw-KE" smtClean="0"/>
              <a:t>2/5/2015</a:t>
            </a:fld>
            <a:endParaRPr lang="sw-K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w-K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sw-K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w-K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FC47773-38AE-46A9-BC6C-1A3F17CCA1D9}" type="slidenum">
              <a:rPr lang="sw-KE" smtClean="0"/>
              <a:t>‹#›</a:t>
            </a:fld>
            <a:endParaRPr lang="sw-KE"/>
          </a:p>
        </p:txBody>
      </p:sp>
    </p:spTree>
    <p:extLst>
      <p:ext uri="{BB962C8B-B14F-4D97-AF65-F5344CB8AC3E}">
        <p14:creationId xmlns:p14="http://schemas.microsoft.com/office/powerpoint/2010/main" val="233997982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w-K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FC47773-38AE-46A9-BC6C-1A3F17CCA1D9}" type="slidenum">
              <a:rPr lang="sw-KE" smtClean="0"/>
              <a:t>7</a:t>
            </a:fld>
            <a:endParaRPr lang="sw-KE"/>
          </a:p>
        </p:txBody>
      </p:sp>
    </p:spTree>
    <p:extLst>
      <p:ext uri="{BB962C8B-B14F-4D97-AF65-F5344CB8AC3E}">
        <p14:creationId xmlns:p14="http://schemas.microsoft.com/office/powerpoint/2010/main" val="16641633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57.xml"/><Relationship Id="rId13" Type="http://schemas.openxmlformats.org/officeDocument/2006/relationships/tags" Target="../tags/tag62.xml"/><Relationship Id="rId18" Type="http://schemas.openxmlformats.org/officeDocument/2006/relationships/slideMaster" Target="../slideMasters/slideMaster2.xml"/><Relationship Id="rId3" Type="http://schemas.openxmlformats.org/officeDocument/2006/relationships/tags" Target="../tags/tag52.xml"/><Relationship Id="rId7" Type="http://schemas.openxmlformats.org/officeDocument/2006/relationships/tags" Target="../tags/tag56.xml"/><Relationship Id="rId12" Type="http://schemas.openxmlformats.org/officeDocument/2006/relationships/tags" Target="../tags/tag61.xml"/><Relationship Id="rId17" Type="http://schemas.openxmlformats.org/officeDocument/2006/relationships/tags" Target="../tags/tag66.xml"/><Relationship Id="rId2" Type="http://schemas.openxmlformats.org/officeDocument/2006/relationships/tags" Target="../tags/tag51.xml"/><Relationship Id="rId16" Type="http://schemas.openxmlformats.org/officeDocument/2006/relationships/tags" Target="../tags/tag65.xml"/><Relationship Id="rId20" Type="http://schemas.openxmlformats.org/officeDocument/2006/relationships/image" Target="NULL"/><Relationship Id="rId1" Type="http://schemas.openxmlformats.org/officeDocument/2006/relationships/vmlDrawing" Target="../drawings/vmlDrawing6.vml"/><Relationship Id="rId6" Type="http://schemas.openxmlformats.org/officeDocument/2006/relationships/tags" Target="../tags/tag55.xml"/><Relationship Id="rId11" Type="http://schemas.openxmlformats.org/officeDocument/2006/relationships/tags" Target="../tags/tag60.xml"/><Relationship Id="rId5" Type="http://schemas.openxmlformats.org/officeDocument/2006/relationships/tags" Target="../tags/tag54.xml"/><Relationship Id="rId15" Type="http://schemas.openxmlformats.org/officeDocument/2006/relationships/tags" Target="../tags/tag64.xml"/><Relationship Id="rId10" Type="http://schemas.openxmlformats.org/officeDocument/2006/relationships/tags" Target="../tags/tag59.xml"/><Relationship Id="rId19" Type="http://schemas.openxmlformats.org/officeDocument/2006/relationships/oleObject" Target="../embeddings/oleObject6.bin"/><Relationship Id="rId4" Type="http://schemas.openxmlformats.org/officeDocument/2006/relationships/tags" Target="../tags/tag53.xml"/><Relationship Id="rId9" Type="http://schemas.openxmlformats.org/officeDocument/2006/relationships/tags" Target="../tags/tag58.xml"/><Relationship Id="rId14" Type="http://schemas.openxmlformats.org/officeDocument/2006/relationships/tags" Target="../tags/tag6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8.bin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13" Type="http://schemas.openxmlformats.org/officeDocument/2006/relationships/tags" Target="../tags/tag95.xml"/><Relationship Id="rId18" Type="http://schemas.openxmlformats.org/officeDocument/2006/relationships/slideMaster" Target="../slideMasters/slideMaster3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tags" Target="../tags/tag94.xml"/><Relationship Id="rId17" Type="http://schemas.openxmlformats.org/officeDocument/2006/relationships/tags" Target="../tags/tag99.xml"/><Relationship Id="rId2" Type="http://schemas.openxmlformats.org/officeDocument/2006/relationships/tags" Target="../tags/tag84.xml"/><Relationship Id="rId16" Type="http://schemas.openxmlformats.org/officeDocument/2006/relationships/tags" Target="../tags/tag98.xml"/><Relationship Id="rId20" Type="http://schemas.openxmlformats.org/officeDocument/2006/relationships/image" Target="NULL"/><Relationship Id="rId1" Type="http://schemas.openxmlformats.org/officeDocument/2006/relationships/vmlDrawing" Target="../drawings/vmlDrawing9.vml"/><Relationship Id="rId6" Type="http://schemas.openxmlformats.org/officeDocument/2006/relationships/tags" Target="../tags/tag88.xml"/><Relationship Id="rId11" Type="http://schemas.openxmlformats.org/officeDocument/2006/relationships/tags" Target="../tags/tag93.xml"/><Relationship Id="rId5" Type="http://schemas.openxmlformats.org/officeDocument/2006/relationships/tags" Target="../tags/tag87.xml"/><Relationship Id="rId15" Type="http://schemas.openxmlformats.org/officeDocument/2006/relationships/tags" Target="../tags/tag97.xml"/><Relationship Id="rId10" Type="http://schemas.openxmlformats.org/officeDocument/2006/relationships/tags" Target="../tags/tag92.xml"/><Relationship Id="rId19" Type="http://schemas.openxmlformats.org/officeDocument/2006/relationships/oleObject" Target="../embeddings/oleObject9.bin"/><Relationship Id="rId4" Type="http://schemas.openxmlformats.org/officeDocument/2006/relationships/tags" Target="../tags/tag86.xml"/><Relationship Id="rId9" Type="http://schemas.openxmlformats.org/officeDocument/2006/relationships/tags" Target="../tags/tag91.xml"/><Relationship Id="rId14" Type="http://schemas.openxmlformats.org/officeDocument/2006/relationships/tags" Target="../tags/tag9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23.xml"/><Relationship Id="rId13" Type="http://schemas.openxmlformats.org/officeDocument/2006/relationships/tags" Target="../tags/tag128.xml"/><Relationship Id="rId18" Type="http://schemas.openxmlformats.org/officeDocument/2006/relationships/slideMaster" Target="../slideMasters/slideMaster4.xml"/><Relationship Id="rId3" Type="http://schemas.openxmlformats.org/officeDocument/2006/relationships/tags" Target="../tags/tag118.xml"/><Relationship Id="rId7" Type="http://schemas.openxmlformats.org/officeDocument/2006/relationships/tags" Target="../tags/tag122.xml"/><Relationship Id="rId12" Type="http://schemas.openxmlformats.org/officeDocument/2006/relationships/tags" Target="../tags/tag127.xml"/><Relationship Id="rId17" Type="http://schemas.openxmlformats.org/officeDocument/2006/relationships/tags" Target="../tags/tag132.xml"/><Relationship Id="rId2" Type="http://schemas.openxmlformats.org/officeDocument/2006/relationships/tags" Target="../tags/tag117.xml"/><Relationship Id="rId16" Type="http://schemas.openxmlformats.org/officeDocument/2006/relationships/tags" Target="../tags/tag131.xml"/><Relationship Id="rId20" Type="http://schemas.openxmlformats.org/officeDocument/2006/relationships/image" Target="NULL"/><Relationship Id="rId1" Type="http://schemas.openxmlformats.org/officeDocument/2006/relationships/vmlDrawing" Target="../drawings/vmlDrawing12.vml"/><Relationship Id="rId6" Type="http://schemas.openxmlformats.org/officeDocument/2006/relationships/tags" Target="../tags/tag121.xml"/><Relationship Id="rId11" Type="http://schemas.openxmlformats.org/officeDocument/2006/relationships/tags" Target="../tags/tag126.xml"/><Relationship Id="rId5" Type="http://schemas.openxmlformats.org/officeDocument/2006/relationships/tags" Target="../tags/tag120.xml"/><Relationship Id="rId15" Type="http://schemas.openxmlformats.org/officeDocument/2006/relationships/tags" Target="../tags/tag130.xml"/><Relationship Id="rId10" Type="http://schemas.openxmlformats.org/officeDocument/2006/relationships/tags" Target="../tags/tag125.xml"/><Relationship Id="rId19" Type="http://schemas.openxmlformats.org/officeDocument/2006/relationships/oleObject" Target="../embeddings/oleObject12.bin"/><Relationship Id="rId4" Type="http://schemas.openxmlformats.org/officeDocument/2006/relationships/tags" Target="../tags/tag119.xml"/><Relationship Id="rId9" Type="http://schemas.openxmlformats.org/officeDocument/2006/relationships/tags" Target="../tags/tag124.xml"/><Relationship Id="rId14" Type="http://schemas.openxmlformats.org/officeDocument/2006/relationships/tags" Target="../tags/tag129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14.bin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156.xml"/><Relationship Id="rId13" Type="http://schemas.openxmlformats.org/officeDocument/2006/relationships/tags" Target="../tags/tag161.xml"/><Relationship Id="rId18" Type="http://schemas.openxmlformats.org/officeDocument/2006/relationships/slideMaster" Target="../slideMasters/slideMaster5.xml"/><Relationship Id="rId3" Type="http://schemas.openxmlformats.org/officeDocument/2006/relationships/tags" Target="../tags/tag151.xml"/><Relationship Id="rId7" Type="http://schemas.openxmlformats.org/officeDocument/2006/relationships/tags" Target="../tags/tag155.xml"/><Relationship Id="rId12" Type="http://schemas.openxmlformats.org/officeDocument/2006/relationships/tags" Target="../tags/tag160.xml"/><Relationship Id="rId17" Type="http://schemas.openxmlformats.org/officeDocument/2006/relationships/tags" Target="../tags/tag165.xml"/><Relationship Id="rId2" Type="http://schemas.openxmlformats.org/officeDocument/2006/relationships/tags" Target="../tags/tag150.xml"/><Relationship Id="rId16" Type="http://schemas.openxmlformats.org/officeDocument/2006/relationships/tags" Target="../tags/tag164.xml"/><Relationship Id="rId20" Type="http://schemas.openxmlformats.org/officeDocument/2006/relationships/image" Target="NULL"/><Relationship Id="rId1" Type="http://schemas.openxmlformats.org/officeDocument/2006/relationships/vmlDrawing" Target="../drawings/vmlDrawing15.vml"/><Relationship Id="rId6" Type="http://schemas.openxmlformats.org/officeDocument/2006/relationships/tags" Target="../tags/tag154.xml"/><Relationship Id="rId11" Type="http://schemas.openxmlformats.org/officeDocument/2006/relationships/tags" Target="../tags/tag159.xml"/><Relationship Id="rId5" Type="http://schemas.openxmlformats.org/officeDocument/2006/relationships/tags" Target="../tags/tag153.xml"/><Relationship Id="rId15" Type="http://schemas.openxmlformats.org/officeDocument/2006/relationships/tags" Target="../tags/tag163.xml"/><Relationship Id="rId10" Type="http://schemas.openxmlformats.org/officeDocument/2006/relationships/tags" Target="../tags/tag158.xml"/><Relationship Id="rId19" Type="http://schemas.openxmlformats.org/officeDocument/2006/relationships/oleObject" Target="../embeddings/oleObject15.bin"/><Relationship Id="rId4" Type="http://schemas.openxmlformats.org/officeDocument/2006/relationships/tags" Target="../tags/tag152.xml"/><Relationship Id="rId9" Type="http://schemas.openxmlformats.org/officeDocument/2006/relationships/tags" Target="../tags/tag157.xml"/><Relationship Id="rId14" Type="http://schemas.openxmlformats.org/officeDocument/2006/relationships/tags" Target="../tags/tag16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tags" Target="../tags/tag24.xml"/><Relationship Id="rId13" Type="http://schemas.openxmlformats.org/officeDocument/2006/relationships/tags" Target="../tags/tag29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19.xml"/><Relationship Id="rId7" Type="http://schemas.openxmlformats.org/officeDocument/2006/relationships/tags" Target="../tags/tag23.xml"/><Relationship Id="rId12" Type="http://schemas.openxmlformats.org/officeDocument/2006/relationships/tags" Target="../tags/tag28.xml"/><Relationship Id="rId17" Type="http://schemas.openxmlformats.org/officeDocument/2006/relationships/tags" Target="../tags/tag33.xml"/><Relationship Id="rId2" Type="http://schemas.openxmlformats.org/officeDocument/2006/relationships/tags" Target="../tags/tag18.xml"/><Relationship Id="rId16" Type="http://schemas.openxmlformats.org/officeDocument/2006/relationships/tags" Target="../tags/tag32.xml"/><Relationship Id="rId20" Type="http://schemas.openxmlformats.org/officeDocument/2006/relationships/image" Target="NULL"/><Relationship Id="rId1" Type="http://schemas.openxmlformats.org/officeDocument/2006/relationships/vmlDrawing" Target="../drawings/vmlDrawing3.vml"/><Relationship Id="rId6" Type="http://schemas.openxmlformats.org/officeDocument/2006/relationships/tags" Target="../tags/tag22.xml"/><Relationship Id="rId11" Type="http://schemas.openxmlformats.org/officeDocument/2006/relationships/tags" Target="../tags/tag27.xml"/><Relationship Id="rId5" Type="http://schemas.openxmlformats.org/officeDocument/2006/relationships/tags" Target="../tags/tag21.xml"/><Relationship Id="rId15" Type="http://schemas.openxmlformats.org/officeDocument/2006/relationships/tags" Target="../tags/tag31.xml"/><Relationship Id="rId10" Type="http://schemas.openxmlformats.org/officeDocument/2006/relationships/tags" Target="../tags/tag26.xml"/><Relationship Id="rId19" Type="http://schemas.openxmlformats.org/officeDocument/2006/relationships/oleObject" Target="../embeddings/oleObject3.bin"/><Relationship Id="rId4" Type="http://schemas.openxmlformats.org/officeDocument/2006/relationships/tags" Target="../tags/tag20.xml"/><Relationship Id="rId9" Type="http://schemas.openxmlformats.org/officeDocument/2006/relationships/tags" Target="../tags/tag25.xml"/><Relationship Id="rId14" Type="http://schemas.openxmlformats.org/officeDocument/2006/relationships/tags" Target="../tags/tag30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jpeg"/><Relationship Id="rId5" Type="http://schemas.openxmlformats.org/officeDocument/2006/relationships/image" Target="../media/image3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8740517"/>
              </p:ext>
            </p:extLst>
          </p:nvPr>
        </p:nvGraphicFramePr>
        <p:xfrm>
          <a:off x="2186" y="1639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86" y="1639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McK Title Elements" hidden="1"/>
          <p:cNvGrpSpPr/>
          <p:nvPr/>
        </p:nvGrpSpPr>
        <p:grpSpPr bwMode="gray">
          <a:xfrm>
            <a:off x="4318583" y="4553083"/>
            <a:ext cx="6714780" cy="494023"/>
            <a:chOff x="3174269" y="4462409"/>
            <a:chExt cx="4935538" cy="48418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3174269" y="4462409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3174269" y="4730697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grpSp>
        <p:nvGrpSpPr>
          <p:cNvPr id="13" name="Group 12"/>
          <p:cNvGrpSpPr/>
          <p:nvPr userDrawn="1"/>
        </p:nvGrpSpPr>
        <p:grpSpPr bwMode="gray">
          <a:xfrm>
            <a:off x="3" y="1508460"/>
            <a:ext cx="11948584" cy="2598571"/>
            <a:chOff x="1" y="1508446"/>
            <a:chExt cx="8961438" cy="2598571"/>
          </a:xfrm>
        </p:grpSpPr>
        <p:sp>
          <p:nvSpPr>
            <p:cNvPr id="14" name="Rectangle 13"/>
            <p:cNvSpPr/>
            <p:nvPr userDrawn="1"/>
          </p:nvSpPr>
          <p:spPr bwMode="gray">
            <a:xfrm>
              <a:off x="2963486" y="1631413"/>
              <a:ext cx="5997953" cy="2352639"/>
            </a:xfrm>
            <a:prstGeom prst="rect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 smtClean="0">
                <a:solidFill>
                  <a:srgbClr val="FFC000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 flipH="1">
              <a:off x="1" y="1508446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 flipH="1">
              <a:off x="1" y="3984051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</p:grpSp>
      <p:sp>
        <p:nvSpPr>
          <p:cNvPr id="17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4232382" y="1800621"/>
            <a:ext cx="741777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9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232359" y="3320681"/>
            <a:ext cx="6580716" cy="312145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 sz="1400" baseline="0">
                <a:solidFill>
                  <a:srgbClr val="FFC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1831" y="2062297"/>
            <a:ext cx="3856672" cy="1473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6501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14"/>
            <a:ext cx="10972800" cy="1348429"/>
          </a:xfrm>
          <a:prstGeom prst="rect">
            <a:avLst/>
          </a:prstGeom>
        </p:spPr>
        <p:txBody>
          <a:bodyPr lIns="89592" tIns="44797" rIns="89592" bIns="44797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81"/>
            <a:ext cx="2844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fld id="{3913B2CF-A3CF-4CDA-BD1A-851054A31260}" type="datetimeFigureOut">
              <a:rPr lang="en-MY" smtClean="0">
                <a:solidFill>
                  <a:srgbClr val="000000"/>
                </a:solidFill>
              </a:rPr>
              <a:pPr defTabSz="914303"/>
              <a:t>5/2/2015</a:t>
            </a:fld>
            <a:endParaRPr lang="en-MY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81"/>
            <a:ext cx="3860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endParaRPr lang="en-MY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81"/>
            <a:ext cx="2844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fld id="{87FBAF53-89DE-4D0C-844D-9520A50E3665}" type="slidenum">
              <a:rPr lang="en-MY" smtClean="0">
                <a:solidFill>
                  <a:srgbClr val="000000"/>
                </a:solidFill>
              </a:rPr>
              <a:pPr defTabSz="914303"/>
              <a:t>‹#›</a:t>
            </a:fld>
            <a:endParaRPr lang="en-MY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384767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61" y="1392497"/>
            <a:ext cx="11725483" cy="1256112"/>
          </a:xfrm>
          <a:prstGeom prst="rect">
            <a:avLst/>
          </a:prstGeom>
        </p:spPr>
        <p:txBody>
          <a:bodyPr lIns="93286" tIns="46643" rIns="93286" bIns="46643"/>
          <a:lstStyle>
            <a:lvl2pPr marL="186230" indent="-184609">
              <a:buClrTx/>
              <a:buSzPct val="120000"/>
              <a:buFont typeface="Arial" pitchFamily="34" charset="0"/>
              <a:buChar char="•"/>
              <a:defRPr/>
            </a:lvl2pPr>
            <a:lvl3pPr marL="365981" indent="-179752">
              <a:buClrTx/>
              <a:buSzPct val="100000"/>
              <a:buFont typeface="Calibri" pitchFamily="34" charset="0"/>
              <a:buChar char="–"/>
              <a:defRPr/>
            </a:lvl3pPr>
            <a:lvl4pPr marL="552210" indent="-186230">
              <a:buClrTx/>
              <a:buSzPct val="90000"/>
              <a:buFont typeface="Arial" pitchFamily="34" charset="0"/>
              <a:buChar char="•"/>
              <a:defRPr/>
            </a:lvl4pPr>
            <a:lvl5pPr marL="730343" indent="-178133">
              <a:buClrTx/>
              <a:buSzPct val="85000"/>
              <a:buFont typeface="Calibri" pitchFamily="34" charset="0"/>
              <a:buChar char="–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33263" y="234864"/>
            <a:ext cx="11725484" cy="31402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3263" y="6619401"/>
            <a:ext cx="9511700" cy="157014"/>
          </a:xfrm>
          <a:prstGeom prst="rect">
            <a:avLst/>
          </a:prstGeom>
        </p:spPr>
        <p:txBody>
          <a:bodyPr lIns="93286" tIns="46643" rIns="93286" bIns="46643" anchor="b"/>
          <a:lstStyle>
            <a:lvl1pPr marL="550591" indent="-550591">
              <a:tabLst>
                <a:tab pos="456667" algn="r"/>
              </a:tabLs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86613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82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58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gray">
          <a:xfrm>
            <a:off x="162009" y="27536"/>
            <a:ext cx="876843" cy="21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428" smtClean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gray">
          <a:xfrm>
            <a:off x="161988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32" dirty="0" smtClean="0">
                <a:solidFill>
                  <a:srgbClr val="808080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61992" y="6296149"/>
            <a:ext cx="10336743" cy="428122"/>
            <a:chOff x="119063" y="6170809"/>
            <a:chExt cx="7598505" cy="419599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gray">
            <a:xfrm>
              <a:off x="119063" y="6170809"/>
              <a:ext cx="7598505" cy="1569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0" dirty="0" smtClean="0"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gray">
            <a:xfrm>
              <a:off x="119063" y="6433442"/>
              <a:ext cx="7598505" cy="156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20" smtClean="0"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76208" y="1137061"/>
            <a:ext cx="5801189" cy="531276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632" b="1" smtClean="0">
                  <a:cs typeface="Arial" panose="020B06040202020202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sz="1632" smtClean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pic>
        <p:nvPicPr>
          <p:cNvPr id="14" name="Picture 2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98750" y="6169644"/>
            <a:ext cx="1691113" cy="690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gray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16" smtClean="0">
                <a:solidFill>
                  <a:srgbClr val="000000"/>
                </a:solidFill>
                <a:cs typeface="Arial" panose="020B0604020202020204" pitchFamily="34" charset="0"/>
              </a:rPr>
              <a:t>Doc ID</a:t>
            </a: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10859342" y="278610"/>
            <a:ext cx="863914" cy="1017201"/>
            <a:chOff x="4936" y="176"/>
            <a:chExt cx="400" cy="628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10440387" y="285090"/>
            <a:ext cx="1282914" cy="745083"/>
            <a:chOff x="4750" y="176"/>
            <a:chExt cx="594" cy="460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10440432" y="291555"/>
            <a:ext cx="1451377" cy="217046"/>
            <a:chOff x="7673881" y="285750"/>
            <a:chExt cx="1066894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gray">
            <a:xfrm>
              <a:off x="7941239" y="285750"/>
              <a:ext cx="799536" cy="2114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10768765" y="255921"/>
            <a:ext cx="955651" cy="1333051"/>
            <a:chOff x="7769225" y="2105025"/>
            <a:chExt cx="702569" cy="1306516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6" name="Arc 39" hidden="1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defRPr/>
                </a:pPr>
                <a:endParaRPr lang="en-US" altLang="en-US" sz="1632" smtClean="0">
                  <a:cs typeface="Arial" panose="020B0604020202020204" pitchFamily="34" charset="0"/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gray">
            <a:xfrm>
              <a:off x="8089965" y="211772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gray">
            <a:xfrm>
              <a:off x="8089965" y="2392364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gray">
            <a:xfrm>
              <a:off x="8089965" y="266700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gray">
            <a:xfrm>
              <a:off x="8089965" y="293846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gray">
            <a:xfrm>
              <a:off x="8089965" y="321469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19" y="152417"/>
            <a:ext cx="11785599" cy="468693"/>
          </a:xfrm>
          <a:prstGeom prst="rect">
            <a:avLst/>
          </a:prstGeom>
        </p:spPr>
        <p:txBody>
          <a:bodyPr lIns="89147" tIns="44575" rIns="89147" bIns="44575"/>
          <a:lstStyle>
            <a:lvl1pPr algn="l">
              <a:defRPr sz="2449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1600" y="6537361"/>
            <a:ext cx="7823200" cy="280277"/>
          </a:xfrm>
          <a:prstGeom prst="rect">
            <a:avLst/>
          </a:prstGeom>
        </p:spPr>
        <p:txBody>
          <a:bodyPr lIns="89147" tIns="44575" rIns="89147" bIns="44575"/>
          <a:lstStyle>
            <a:lvl1pPr marL="0" indent="0">
              <a:buNone/>
              <a:defRPr sz="1224"/>
            </a:lvl1pPr>
            <a:lvl2pPr>
              <a:defRPr sz="1224"/>
            </a:lvl2pPr>
            <a:lvl3pPr>
              <a:defRPr sz="1122"/>
            </a:lvl3pPr>
            <a:lvl4pPr>
              <a:defRPr sz="1020"/>
            </a:lvl4pPr>
            <a:lvl5pPr>
              <a:defRPr sz="102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7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347582" y="6477361"/>
            <a:ext cx="2844441" cy="364442"/>
          </a:xfrm>
          <a:prstGeom prst="rect">
            <a:avLst/>
          </a:prstGeom>
        </p:spPr>
        <p:txBody>
          <a:bodyPr vert="horz" wrap="square" lIns="89147" tIns="44575" rIns="89147" bIns="4457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24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FD3C619-EE2F-49A5-AE39-B2248B06A4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830350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0148045"/>
              </p:ext>
            </p:extLst>
          </p:nvPr>
        </p:nvGraphicFramePr>
        <p:xfrm>
          <a:off x="2179" y="1639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79" y="1639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McK Title Elements" hidden="1"/>
          <p:cNvGrpSpPr/>
          <p:nvPr/>
        </p:nvGrpSpPr>
        <p:grpSpPr bwMode="gray">
          <a:xfrm>
            <a:off x="4318583" y="4553073"/>
            <a:ext cx="6714780" cy="494023"/>
            <a:chOff x="3174269" y="4462409"/>
            <a:chExt cx="4935538" cy="48418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3174269" y="4462409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3174269" y="4730697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grpSp>
        <p:nvGrpSpPr>
          <p:cNvPr id="13" name="Group 12"/>
          <p:cNvGrpSpPr/>
          <p:nvPr userDrawn="1"/>
        </p:nvGrpSpPr>
        <p:grpSpPr bwMode="gray">
          <a:xfrm>
            <a:off x="3" y="1508460"/>
            <a:ext cx="11948584" cy="2598571"/>
            <a:chOff x="1" y="1508446"/>
            <a:chExt cx="8961438" cy="2598571"/>
          </a:xfrm>
        </p:grpSpPr>
        <p:sp>
          <p:nvSpPr>
            <p:cNvPr id="14" name="Rectangle 13"/>
            <p:cNvSpPr/>
            <p:nvPr userDrawn="1"/>
          </p:nvSpPr>
          <p:spPr bwMode="gray">
            <a:xfrm>
              <a:off x="2963486" y="1631413"/>
              <a:ext cx="5997953" cy="2352639"/>
            </a:xfrm>
            <a:prstGeom prst="rect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 smtClean="0">
                <a:solidFill>
                  <a:srgbClr val="FFC000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 flipH="1">
              <a:off x="1" y="1508446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 flipH="1">
              <a:off x="1" y="3984051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</p:grpSp>
      <p:sp>
        <p:nvSpPr>
          <p:cNvPr id="17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4232375" y="1800621"/>
            <a:ext cx="741777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9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232359" y="3320681"/>
            <a:ext cx="6580716" cy="312145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 sz="1400" baseline="0">
                <a:solidFill>
                  <a:srgbClr val="FFC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1831" y="2062297"/>
            <a:ext cx="3856672" cy="1473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78222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132564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266645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14"/>
            <a:ext cx="10972800" cy="1348429"/>
          </a:xfrm>
          <a:prstGeom prst="rect">
            <a:avLst/>
          </a:prstGeom>
        </p:spPr>
        <p:txBody>
          <a:bodyPr lIns="89592" tIns="44797" rIns="89592" bIns="44797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75"/>
            <a:ext cx="2844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fld id="{3913B2CF-A3CF-4CDA-BD1A-851054A31260}" type="datetimeFigureOut">
              <a:rPr lang="en-MY" smtClean="0">
                <a:solidFill>
                  <a:srgbClr val="000000"/>
                </a:solidFill>
              </a:rPr>
              <a:pPr defTabSz="914303"/>
              <a:t>5/2/2015</a:t>
            </a:fld>
            <a:endParaRPr lang="en-MY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75"/>
            <a:ext cx="3860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endParaRPr lang="en-MY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75"/>
            <a:ext cx="2844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fld id="{87FBAF53-89DE-4D0C-844D-9520A50E3665}" type="slidenum">
              <a:rPr lang="en-MY" smtClean="0">
                <a:solidFill>
                  <a:srgbClr val="000000"/>
                </a:solidFill>
              </a:rPr>
              <a:pPr defTabSz="914303"/>
              <a:t>‹#›</a:t>
            </a:fld>
            <a:endParaRPr lang="en-MY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7863710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61" y="1392497"/>
            <a:ext cx="11725483" cy="1256112"/>
          </a:xfrm>
          <a:prstGeom prst="rect">
            <a:avLst/>
          </a:prstGeom>
        </p:spPr>
        <p:txBody>
          <a:bodyPr lIns="93286" tIns="46643" rIns="93286" bIns="46643"/>
          <a:lstStyle>
            <a:lvl2pPr marL="186230" indent="-184609">
              <a:buClrTx/>
              <a:buSzPct val="120000"/>
              <a:buFont typeface="Arial" pitchFamily="34" charset="0"/>
              <a:buChar char="•"/>
              <a:defRPr/>
            </a:lvl2pPr>
            <a:lvl3pPr marL="365981" indent="-179752">
              <a:buClrTx/>
              <a:buSzPct val="100000"/>
              <a:buFont typeface="Calibri" pitchFamily="34" charset="0"/>
              <a:buChar char="–"/>
              <a:defRPr/>
            </a:lvl3pPr>
            <a:lvl4pPr marL="552210" indent="-186230">
              <a:buClrTx/>
              <a:buSzPct val="90000"/>
              <a:buFont typeface="Arial" pitchFamily="34" charset="0"/>
              <a:buChar char="•"/>
              <a:defRPr/>
            </a:lvl4pPr>
            <a:lvl5pPr marL="730343" indent="-178133">
              <a:buClrTx/>
              <a:buSzPct val="85000"/>
              <a:buFont typeface="Calibri" pitchFamily="34" charset="0"/>
              <a:buChar char="–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33263" y="234864"/>
            <a:ext cx="11725484" cy="31402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3263" y="6619401"/>
            <a:ext cx="9511700" cy="157014"/>
          </a:xfrm>
          <a:prstGeom prst="rect">
            <a:avLst/>
          </a:prstGeom>
        </p:spPr>
        <p:txBody>
          <a:bodyPr lIns="93286" tIns="46643" rIns="93286" bIns="46643" anchor="b"/>
          <a:lstStyle>
            <a:lvl1pPr marL="550591" indent="-550591">
              <a:tabLst>
                <a:tab pos="456667" algn="r"/>
              </a:tabLs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8846423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82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2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gray">
          <a:xfrm>
            <a:off x="162009" y="27536"/>
            <a:ext cx="876843" cy="21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428" smtClean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gray">
          <a:xfrm>
            <a:off x="161988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32" dirty="0" smtClean="0">
                <a:solidFill>
                  <a:srgbClr val="808080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61992" y="6296149"/>
            <a:ext cx="10336743" cy="428122"/>
            <a:chOff x="119063" y="6170809"/>
            <a:chExt cx="7598505" cy="419599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gray">
            <a:xfrm>
              <a:off x="119063" y="6170809"/>
              <a:ext cx="7598505" cy="1569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0" dirty="0" smtClean="0"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gray">
            <a:xfrm>
              <a:off x="119063" y="6433442"/>
              <a:ext cx="7598505" cy="156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20" smtClean="0"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76208" y="1137061"/>
            <a:ext cx="5801189" cy="531276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632" b="1" smtClean="0">
                  <a:cs typeface="Arial" panose="020B06040202020202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sz="1632" smtClean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pic>
        <p:nvPicPr>
          <p:cNvPr id="14" name="Picture 2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98750" y="6169644"/>
            <a:ext cx="1691113" cy="690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gray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16" smtClean="0">
                <a:solidFill>
                  <a:srgbClr val="000000"/>
                </a:solidFill>
                <a:cs typeface="Arial" panose="020B0604020202020204" pitchFamily="34" charset="0"/>
              </a:rPr>
              <a:t>Doc ID</a:t>
            </a: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10859342" y="278610"/>
            <a:ext cx="863914" cy="1017201"/>
            <a:chOff x="4936" y="176"/>
            <a:chExt cx="400" cy="628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10440387" y="285090"/>
            <a:ext cx="1282914" cy="745083"/>
            <a:chOff x="4750" y="176"/>
            <a:chExt cx="594" cy="460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10440432" y="291555"/>
            <a:ext cx="1451377" cy="217046"/>
            <a:chOff x="7673881" y="285750"/>
            <a:chExt cx="1066894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gray">
            <a:xfrm>
              <a:off x="7941239" y="285750"/>
              <a:ext cx="799536" cy="2114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10768765" y="255921"/>
            <a:ext cx="955651" cy="1333051"/>
            <a:chOff x="7769225" y="2105025"/>
            <a:chExt cx="702569" cy="1306516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6" name="Arc 39" hidden="1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defRPr/>
                </a:pPr>
                <a:endParaRPr lang="en-US" altLang="en-US" sz="1632" smtClean="0">
                  <a:cs typeface="Arial" panose="020B0604020202020204" pitchFamily="34" charset="0"/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gray">
            <a:xfrm>
              <a:off x="8089965" y="211772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gray">
            <a:xfrm>
              <a:off x="8089965" y="2392364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gray">
            <a:xfrm>
              <a:off x="8089965" y="266700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gray">
            <a:xfrm>
              <a:off x="8089965" y="293846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gray">
            <a:xfrm>
              <a:off x="8089965" y="321469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19" y="152417"/>
            <a:ext cx="11785599" cy="468693"/>
          </a:xfrm>
          <a:prstGeom prst="rect">
            <a:avLst/>
          </a:prstGeom>
        </p:spPr>
        <p:txBody>
          <a:bodyPr lIns="89147" tIns="44575" rIns="89147" bIns="44575"/>
          <a:lstStyle>
            <a:lvl1pPr algn="l">
              <a:defRPr sz="2449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1600" y="6537361"/>
            <a:ext cx="7823200" cy="280277"/>
          </a:xfrm>
          <a:prstGeom prst="rect">
            <a:avLst/>
          </a:prstGeom>
        </p:spPr>
        <p:txBody>
          <a:bodyPr lIns="89147" tIns="44575" rIns="89147" bIns="44575"/>
          <a:lstStyle>
            <a:lvl1pPr marL="0" indent="0">
              <a:buNone/>
              <a:defRPr sz="1224"/>
            </a:lvl1pPr>
            <a:lvl2pPr>
              <a:defRPr sz="1224"/>
            </a:lvl2pPr>
            <a:lvl3pPr>
              <a:defRPr sz="1122"/>
            </a:lvl3pPr>
            <a:lvl4pPr>
              <a:defRPr sz="1020"/>
            </a:lvl4pPr>
            <a:lvl5pPr>
              <a:defRPr sz="102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7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347582" y="6477361"/>
            <a:ext cx="2844441" cy="364442"/>
          </a:xfrm>
          <a:prstGeom prst="rect">
            <a:avLst/>
          </a:prstGeom>
        </p:spPr>
        <p:txBody>
          <a:bodyPr vert="horz" wrap="square" lIns="89147" tIns="44575" rIns="89147" bIns="4457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24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FD3C619-EE2F-49A5-AE39-B2248B06A4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8303509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1926125"/>
              </p:ext>
            </p:extLst>
          </p:nvPr>
        </p:nvGraphicFramePr>
        <p:xfrm>
          <a:off x="2174" y="1639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74" y="1639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McK Title Elements" hidden="1"/>
          <p:cNvGrpSpPr/>
          <p:nvPr/>
        </p:nvGrpSpPr>
        <p:grpSpPr bwMode="gray">
          <a:xfrm>
            <a:off x="4318583" y="4553065"/>
            <a:ext cx="6714780" cy="494023"/>
            <a:chOff x="3174269" y="4462409"/>
            <a:chExt cx="4935538" cy="48418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3174269" y="4462409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3174269" y="4730697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grpSp>
        <p:nvGrpSpPr>
          <p:cNvPr id="13" name="Group 12"/>
          <p:cNvGrpSpPr/>
          <p:nvPr userDrawn="1"/>
        </p:nvGrpSpPr>
        <p:grpSpPr bwMode="gray">
          <a:xfrm>
            <a:off x="3" y="1508460"/>
            <a:ext cx="11948584" cy="2598571"/>
            <a:chOff x="1" y="1508446"/>
            <a:chExt cx="8961438" cy="2598571"/>
          </a:xfrm>
        </p:grpSpPr>
        <p:sp>
          <p:nvSpPr>
            <p:cNvPr id="14" name="Rectangle 13"/>
            <p:cNvSpPr/>
            <p:nvPr userDrawn="1"/>
          </p:nvSpPr>
          <p:spPr bwMode="gray">
            <a:xfrm>
              <a:off x="2963486" y="1631413"/>
              <a:ext cx="5997953" cy="2352639"/>
            </a:xfrm>
            <a:prstGeom prst="rect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 smtClean="0">
                <a:solidFill>
                  <a:srgbClr val="FFC000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 flipH="1">
              <a:off x="1" y="1508446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 flipH="1">
              <a:off x="1" y="3984051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</p:grpSp>
      <p:sp>
        <p:nvSpPr>
          <p:cNvPr id="17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4232370" y="1800621"/>
            <a:ext cx="741777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9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232359" y="3320681"/>
            <a:ext cx="6580716" cy="312145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 sz="1400" baseline="0">
                <a:solidFill>
                  <a:srgbClr val="FFC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1831" y="2062297"/>
            <a:ext cx="3856672" cy="1473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90635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4199332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6488112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625361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14"/>
            <a:ext cx="10972800" cy="1348429"/>
          </a:xfrm>
          <a:prstGeom prst="rect">
            <a:avLst/>
          </a:prstGeom>
        </p:spPr>
        <p:txBody>
          <a:bodyPr lIns="89592" tIns="44797" rIns="89592" bIns="44797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67"/>
            <a:ext cx="2844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fld id="{3913B2CF-A3CF-4CDA-BD1A-851054A31260}" type="datetimeFigureOut">
              <a:rPr lang="en-MY" smtClean="0">
                <a:solidFill>
                  <a:srgbClr val="000000"/>
                </a:solidFill>
              </a:rPr>
              <a:pPr defTabSz="914303"/>
              <a:t>5/2/2015</a:t>
            </a:fld>
            <a:endParaRPr lang="en-MY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67"/>
            <a:ext cx="3860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endParaRPr lang="en-MY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67"/>
            <a:ext cx="2844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fld id="{87FBAF53-89DE-4D0C-844D-9520A50E3665}" type="slidenum">
              <a:rPr lang="en-MY" smtClean="0">
                <a:solidFill>
                  <a:srgbClr val="000000"/>
                </a:solidFill>
              </a:rPr>
              <a:pPr defTabSz="914303"/>
              <a:t>‹#›</a:t>
            </a:fld>
            <a:endParaRPr lang="en-MY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2969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61" y="1392497"/>
            <a:ext cx="11725483" cy="1256112"/>
          </a:xfrm>
          <a:prstGeom prst="rect">
            <a:avLst/>
          </a:prstGeom>
        </p:spPr>
        <p:txBody>
          <a:bodyPr lIns="93286" tIns="46643" rIns="93286" bIns="46643"/>
          <a:lstStyle>
            <a:lvl2pPr marL="186230" indent="-184609">
              <a:buClrTx/>
              <a:buSzPct val="120000"/>
              <a:buFont typeface="Arial" pitchFamily="34" charset="0"/>
              <a:buChar char="•"/>
              <a:defRPr/>
            </a:lvl2pPr>
            <a:lvl3pPr marL="365981" indent="-179752">
              <a:buClrTx/>
              <a:buSzPct val="100000"/>
              <a:buFont typeface="Calibri" pitchFamily="34" charset="0"/>
              <a:buChar char="–"/>
              <a:defRPr/>
            </a:lvl3pPr>
            <a:lvl4pPr marL="552210" indent="-186230">
              <a:buClrTx/>
              <a:buSzPct val="90000"/>
              <a:buFont typeface="Arial" pitchFamily="34" charset="0"/>
              <a:buChar char="•"/>
              <a:defRPr/>
            </a:lvl4pPr>
            <a:lvl5pPr marL="730343" indent="-178133">
              <a:buClrTx/>
              <a:buSzPct val="85000"/>
              <a:buFont typeface="Calibri" pitchFamily="34" charset="0"/>
              <a:buChar char="–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33263" y="234864"/>
            <a:ext cx="11725484" cy="31402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3263" y="6619401"/>
            <a:ext cx="9511700" cy="157014"/>
          </a:xfrm>
          <a:prstGeom prst="rect">
            <a:avLst/>
          </a:prstGeom>
        </p:spPr>
        <p:txBody>
          <a:bodyPr lIns="93286" tIns="46643" rIns="93286" bIns="46643" anchor="b"/>
          <a:lstStyle>
            <a:lvl1pPr marL="550591" indent="-550591">
              <a:tabLst>
                <a:tab pos="456667" algn="r"/>
              </a:tabLs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1968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82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gray">
          <a:xfrm>
            <a:off x="162009" y="27536"/>
            <a:ext cx="876843" cy="21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428" smtClean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gray">
          <a:xfrm>
            <a:off x="161988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32" dirty="0" smtClean="0">
                <a:solidFill>
                  <a:srgbClr val="808080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61992" y="6296149"/>
            <a:ext cx="10336743" cy="428122"/>
            <a:chOff x="119063" y="6170809"/>
            <a:chExt cx="7598505" cy="419599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gray">
            <a:xfrm>
              <a:off x="119063" y="6170809"/>
              <a:ext cx="7598505" cy="1569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0" dirty="0" smtClean="0"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gray">
            <a:xfrm>
              <a:off x="119063" y="6433442"/>
              <a:ext cx="7598505" cy="156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20" smtClean="0"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76208" y="1137061"/>
            <a:ext cx="5801189" cy="531276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632" b="1" smtClean="0">
                  <a:cs typeface="Arial" panose="020B06040202020202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sz="1632" smtClean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pic>
        <p:nvPicPr>
          <p:cNvPr id="14" name="Picture 2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98750" y="6169644"/>
            <a:ext cx="1691113" cy="690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gray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16" smtClean="0">
                <a:solidFill>
                  <a:srgbClr val="000000"/>
                </a:solidFill>
                <a:cs typeface="Arial" panose="020B0604020202020204" pitchFamily="34" charset="0"/>
              </a:rPr>
              <a:t>Doc ID</a:t>
            </a: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10859342" y="278610"/>
            <a:ext cx="863914" cy="1017201"/>
            <a:chOff x="4936" y="176"/>
            <a:chExt cx="400" cy="628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10440387" y="285090"/>
            <a:ext cx="1282914" cy="745083"/>
            <a:chOff x="4750" y="176"/>
            <a:chExt cx="594" cy="460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10440432" y="291555"/>
            <a:ext cx="1451377" cy="217046"/>
            <a:chOff x="7673881" y="285750"/>
            <a:chExt cx="1066894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gray">
            <a:xfrm>
              <a:off x="7941239" y="285750"/>
              <a:ext cx="799536" cy="2114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10768765" y="255921"/>
            <a:ext cx="955651" cy="1333051"/>
            <a:chOff x="7769225" y="2105025"/>
            <a:chExt cx="702569" cy="1306516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6" name="Arc 39" hidden="1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defRPr/>
                </a:pPr>
                <a:endParaRPr lang="en-US" altLang="en-US" sz="1632" smtClean="0">
                  <a:cs typeface="Arial" panose="020B0604020202020204" pitchFamily="34" charset="0"/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gray">
            <a:xfrm>
              <a:off x="8089965" y="211772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gray">
            <a:xfrm>
              <a:off x="8089965" y="2392364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gray">
            <a:xfrm>
              <a:off x="8089965" y="266700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gray">
            <a:xfrm>
              <a:off x="8089965" y="293846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gray">
            <a:xfrm>
              <a:off x="8089965" y="321469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19" y="152417"/>
            <a:ext cx="11785599" cy="468693"/>
          </a:xfrm>
          <a:prstGeom prst="rect">
            <a:avLst/>
          </a:prstGeom>
        </p:spPr>
        <p:txBody>
          <a:bodyPr lIns="89147" tIns="44575" rIns="89147" bIns="44575"/>
          <a:lstStyle>
            <a:lvl1pPr algn="l">
              <a:defRPr sz="2449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1600" y="6537361"/>
            <a:ext cx="7823200" cy="280277"/>
          </a:xfrm>
          <a:prstGeom prst="rect">
            <a:avLst/>
          </a:prstGeom>
        </p:spPr>
        <p:txBody>
          <a:bodyPr lIns="89147" tIns="44575" rIns="89147" bIns="44575"/>
          <a:lstStyle>
            <a:lvl1pPr marL="0" indent="0">
              <a:buNone/>
              <a:defRPr sz="1224"/>
            </a:lvl1pPr>
            <a:lvl2pPr>
              <a:defRPr sz="1224"/>
            </a:lvl2pPr>
            <a:lvl3pPr>
              <a:defRPr sz="1122"/>
            </a:lvl3pPr>
            <a:lvl4pPr>
              <a:defRPr sz="1020"/>
            </a:lvl4pPr>
            <a:lvl5pPr>
              <a:defRPr sz="102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7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347582" y="6477361"/>
            <a:ext cx="2844441" cy="364442"/>
          </a:xfrm>
          <a:prstGeom prst="rect">
            <a:avLst/>
          </a:prstGeom>
        </p:spPr>
        <p:txBody>
          <a:bodyPr vert="horz" wrap="square" lIns="89147" tIns="44575" rIns="89147" bIns="4457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24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FD3C619-EE2F-49A5-AE39-B2248B06A4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830350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8354319"/>
              </p:ext>
            </p:extLst>
          </p:nvPr>
        </p:nvGraphicFramePr>
        <p:xfrm>
          <a:off x="2167" y="1625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8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67" y="1625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McK Title Elements" hidden="1"/>
          <p:cNvGrpSpPr/>
          <p:nvPr/>
        </p:nvGrpSpPr>
        <p:grpSpPr bwMode="gray">
          <a:xfrm>
            <a:off x="4318582" y="4553055"/>
            <a:ext cx="6714780" cy="494023"/>
            <a:chOff x="3174269" y="4462409"/>
            <a:chExt cx="4935538" cy="48418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3174269" y="4462409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3174269" y="4730697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grpSp>
        <p:nvGrpSpPr>
          <p:cNvPr id="13" name="Group 12"/>
          <p:cNvGrpSpPr/>
          <p:nvPr userDrawn="1"/>
        </p:nvGrpSpPr>
        <p:grpSpPr bwMode="gray">
          <a:xfrm>
            <a:off x="3" y="1508450"/>
            <a:ext cx="11948584" cy="2598571"/>
            <a:chOff x="1" y="1508446"/>
            <a:chExt cx="8961438" cy="2598571"/>
          </a:xfrm>
        </p:grpSpPr>
        <p:sp>
          <p:nvSpPr>
            <p:cNvPr id="14" name="Rectangle 13"/>
            <p:cNvSpPr/>
            <p:nvPr userDrawn="1"/>
          </p:nvSpPr>
          <p:spPr bwMode="gray">
            <a:xfrm>
              <a:off x="2963486" y="1631413"/>
              <a:ext cx="5997953" cy="2352639"/>
            </a:xfrm>
            <a:prstGeom prst="rect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 smtClean="0">
                <a:solidFill>
                  <a:srgbClr val="FFC000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 flipH="1">
              <a:off x="1" y="1508446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 flipH="1">
              <a:off x="1" y="3984051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</p:grpSp>
      <p:sp>
        <p:nvSpPr>
          <p:cNvPr id="17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4232363" y="1800621"/>
            <a:ext cx="741777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9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232359" y="3320681"/>
            <a:ext cx="6580716" cy="312145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 sz="1400" baseline="0">
                <a:solidFill>
                  <a:srgbClr val="FFC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1831" y="2062292"/>
            <a:ext cx="3856672" cy="1473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4707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6154381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4110224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61" y="1392497"/>
            <a:ext cx="11725483" cy="1256112"/>
          </a:xfrm>
          <a:prstGeom prst="rect">
            <a:avLst/>
          </a:prstGeom>
        </p:spPr>
        <p:txBody>
          <a:bodyPr lIns="93286" tIns="46643" rIns="93286" bIns="46643"/>
          <a:lstStyle>
            <a:lvl2pPr marL="186230" indent="-184609">
              <a:buClrTx/>
              <a:buSzPct val="120000"/>
              <a:buFont typeface="Arial" pitchFamily="34" charset="0"/>
              <a:buChar char="•"/>
              <a:defRPr/>
            </a:lvl2pPr>
            <a:lvl3pPr marL="365981" indent="-179752">
              <a:buClrTx/>
              <a:buSzPct val="100000"/>
              <a:buFont typeface="Calibri" pitchFamily="34" charset="0"/>
              <a:buChar char="–"/>
              <a:defRPr/>
            </a:lvl3pPr>
            <a:lvl4pPr marL="552210" indent="-186230">
              <a:buClrTx/>
              <a:buSzPct val="90000"/>
              <a:buFont typeface="Arial" pitchFamily="34" charset="0"/>
              <a:buChar char="•"/>
              <a:defRPr/>
            </a:lvl4pPr>
            <a:lvl5pPr marL="730343" indent="-178133">
              <a:buClrTx/>
              <a:buSzPct val="85000"/>
              <a:buFont typeface="Calibri" pitchFamily="34" charset="0"/>
              <a:buChar char="–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33263" y="234864"/>
            <a:ext cx="11725484" cy="31402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3263" y="6619401"/>
            <a:ext cx="9511700" cy="157014"/>
          </a:xfrm>
          <a:prstGeom prst="rect">
            <a:avLst/>
          </a:prstGeom>
        </p:spPr>
        <p:txBody>
          <a:bodyPr lIns="93286" tIns="46643" rIns="93286" bIns="46643" anchor="b"/>
          <a:lstStyle>
            <a:lvl1pPr marL="550591" indent="-550591">
              <a:tabLst>
                <a:tab pos="456667" algn="r"/>
              </a:tabLs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1352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82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3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gray">
          <a:xfrm>
            <a:off x="162009" y="27536"/>
            <a:ext cx="876843" cy="21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428" smtClean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gray">
          <a:xfrm>
            <a:off x="161988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32" dirty="0" smtClean="0">
                <a:solidFill>
                  <a:srgbClr val="808080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61992" y="6296149"/>
            <a:ext cx="10336743" cy="428122"/>
            <a:chOff x="119063" y="6170809"/>
            <a:chExt cx="7598505" cy="419599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gray">
            <a:xfrm>
              <a:off x="119063" y="6170809"/>
              <a:ext cx="7598505" cy="1569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0" dirty="0" smtClean="0"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gray">
            <a:xfrm>
              <a:off x="119063" y="6433442"/>
              <a:ext cx="7598505" cy="156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20" smtClean="0"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76208" y="1137061"/>
            <a:ext cx="5801189" cy="531276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632" b="1" smtClean="0">
                  <a:cs typeface="Arial" panose="020B06040202020202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sz="1632" smtClean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pic>
        <p:nvPicPr>
          <p:cNvPr id="14" name="Picture 2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98750" y="6169644"/>
            <a:ext cx="1691113" cy="690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gray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16" smtClean="0">
                <a:solidFill>
                  <a:srgbClr val="000000"/>
                </a:solidFill>
                <a:cs typeface="Arial" panose="020B0604020202020204" pitchFamily="34" charset="0"/>
              </a:rPr>
              <a:t>Doc ID</a:t>
            </a: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10859342" y="278610"/>
            <a:ext cx="863914" cy="1017201"/>
            <a:chOff x="4936" y="176"/>
            <a:chExt cx="400" cy="628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10440387" y="285090"/>
            <a:ext cx="1282914" cy="745083"/>
            <a:chOff x="4750" y="176"/>
            <a:chExt cx="594" cy="460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10440432" y="291555"/>
            <a:ext cx="1451377" cy="217046"/>
            <a:chOff x="7673881" y="285750"/>
            <a:chExt cx="1066894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gray">
            <a:xfrm>
              <a:off x="7941239" y="285750"/>
              <a:ext cx="799536" cy="2114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10768765" y="255921"/>
            <a:ext cx="955651" cy="1333051"/>
            <a:chOff x="7769225" y="2105025"/>
            <a:chExt cx="702569" cy="1306516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6" name="Arc 39" hidden="1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defRPr/>
                </a:pPr>
                <a:endParaRPr lang="en-US" altLang="en-US" sz="1632" smtClean="0">
                  <a:cs typeface="Arial" panose="020B0604020202020204" pitchFamily="34" charset="0"/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gray">
            <a:xfrm>
              <a:off x="8089965" y="211772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gray">
            <a:xfrm>
              <a:off x="8089965" y="2392364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gray">
            <a:xfrm>
              <a:off x="8089965" y="266700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gray">
            <a:xfrm>
              <a:off x="8089965" y="293846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gray">
            <a:xfrm>
              <a:off x="8089965" y="321469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19" y="152417"/>
            <a:ext cx="11785599" cy="468693"/>
          </a:xfrm>
          <a:prstGeom prst="rect">
            <a:avLst/>
          </a:prstGeom>
        </p:spPr>
        <p:txBody>
          <a:bodyPr lIns="89147" tIns="44575" rIns="89147" bIns="44575"/>
          <a:lstStyle>
            <a:lvl1pPr algn="l">
              <a:defRPr sz="2449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1600" y="6537361"/>
            <a:ext cx="7823200" cy="280277"/>
          </a:xfrm>
          <a:prstGeom prst="rect">
            <a:avLst/>
          </a:prstGeom>
        </p:spPr>
        <p:txBody>
          <a:bodyPr lIns="89147" tIns="44575" rIns="89147" bIns="44575"/>
          <a:lstStyle>
            <a:lvl1pPr marL="0" indent="0">
              <a:buNone/>
              <a:defRPr sz="1224"/>
            </a:lvl1pPr>
            <a:lvl2pPr>
              <a:defRPr sz="1224"/>
            </a:lvl2pPr>
            <a:lvl3pPr>
              <a:defRPr sz="1122"/>
            </a:lvl3pPr>
            <a:lvl4pPr>
              <a:defRPr sz="1020"/>
            </a:lvl4pPr>
            <a:lvl5pPr>
              <a:defRPr sz="102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7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347582" y="6477361"/>
            <a:ext cx="2844441" cy="364442"/>
          </a:xfrm>
          <a:prstGeom prst="rect">
            <a:avLst/>
          </a:prstGeom>
        </p:spPr>
        <p:txBody>
          <a:bodyPr vert="horz" wrap="square" lIns="89147" tIns="44575" rIns="89147" bIns="4457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24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FD3C619-EE2F-49A5-AE39-B2248B06A4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830350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24380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" y="1600214"/>
            <a:ext cx="10972800" cy="1348429"/>
          </a:xfrm>
          <a:prstGeom prst="rect">
            <a:avLst/>
          </a:prstGeom>
        </p:spPr>
        <p:txBody>
          <a:bodyPr lIns="89592" tIns="44797" rIns="89592" bIns="44797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85"/>
            <a:ext cx="2844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fld id="{3913B2CF-A3CF-4CDA-BD1A-851054A31260}" type="datetimeFigureOut">
              <a:rPr lang="en-MY" smtClean="0">
                <a:solidFill>
                  <a:srgbClr val="000000"/>
                </a:solidFill>
              </a:rPr>
              <a:pPr defTabSz="914303"/>
              <a:t>5/2/2015</a:t>
            </a:fld>
            <a:endParaRPr lang="en-MY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1" y="6356385"/>
            <a:ext cx="3860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endParaRPr lang="en-MY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85"/>
            <a:ext cx="2844800" cy="365125"/>
          </a:xfrm>
          <a:prstGeom prst="rect">
            <a:avLst/>
          </a:prstGeom>
        </p:spPr>
        <p:txBody>
          <a:bodyPr lIns="89592" tIns="44797" rIns="89592" bIns="44797"/>
          <a:lstStyle/>
          <a:p>
            <a:pPr defTabSz="914303"/>
            <a:fld id="{87FBAF53-89DE-4D0C-844D-9520A50E3665}" type="slidenum">
              <a:rPr lang="en-MY" smtClean="0">
                <a:solidFill>
                  <a:srgbClr val="000000"/>
                </a:solidFill>
              </a:rPr>
              <a:pPr defTabSz="914303"/>
              <a:t>‹#›</a:t>
            </a:fld>
            <a:endParaRPr lang="en-MY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813041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233261" y="1392497"/>
            <a:ext cx="11725483" cy="1256112"/>
          </a:xfrm>
          <a:prstGeom prst="rect">
            <a:avLst/>
          </a:prstGeom>
        </p:spPr>
        <p:txBody>
          <a:bodyPr lIns="93286" tIns="46643" rIns="93286" bIns="46643"/>
          <a:lstStyle>
            <a:lvl2pPr marL="186230" indent="-184609">
              <a:buClrTx/>
              <a:buSzPct val="120000"/>
              <a:buFont typeface="Arial" pitchFamily="34" charset="0"/>
              <a:buChar char="•"/>
              <a:defRPr/>
            </a:lvl2pPr>
            <a:lvl3pPr marL="365981" indent="-179752">
              <a:buClrTx/>
              <a:buSzPct val="100000"/>
              <a:buFont typeface="Calibri" pitchFamily="34" charset="0"/>
              <a:buChar char="–"/>
              <a:defRPr/>
            </a:lvl3pPr>
            <a:lvl4pPr marL="552210" indent="-186230">
              <a:buClrTx/>
              <a:buSzPct val="90000"/>
              <a:buFont typeface="Arial" pitchFamily="34" charset="0"/>
              <a:buChar char="•"/>
              <a:defRPr/>
            </a:lvl4pPr>
            <a:lvl5pPr marL="730343" indent="-178133">
              <a:buClrTx/>
              <a:buSzPct val="85000"/>
              <a:buFont typeface="Calibri" pitchFamily="34" charset="0"/>
              <a:buChar char="–"/>
              <a:defRPr/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MY" dirty="0"/>
          </a:p>
        </p:txBody>
      </p:sp>
      <p:sp>
        <p:nvSpPr>
          <p:cNvPr id="10" name="Title 9"/>
          <p:cNvSpPr>
            <a:spLocks noGrp="1"/>
          </p:cNvSpPr>
          <p:nvPr>
            <p:ph type="title"/>
          </p:nvPr>
        </p:nvSpPr>
        <p:spPr>
          <a:xfrm>
            <a:off x="233263" y="234864"/>
            <a:ext cx="11725484" cy="31402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MY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233263" y="6619401"/>
            <a:ext cx="9511700" cy="157014"/>
          </a:xfrm>
          <a:prstGeom prst="rect">
            <a:avLst/>
          </a:prstGeom>
        </p:spPr>
        <p:txBody>
          <a:bodyPr lIns="93286" tIns="46643" rIns="93286" bIns="46643" anchor="b"/>
          <a:lstStyle>
            <a:lvl1pPr marL="550591" indent="-550591">
              <a:tabLst>
                <a:tab pos="456667" algn="r"/>
              </a:tabLst>
              <a:defRPr sz="1000"/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69019260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825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think-cell Slide" r:id="rId19" imgW="360" imgH="360" progId="">
                  <p:embed/>
                </p:oleObj>
              </mc:Choice>
              <mc:Fallback>
                <p:oleObj name="think-cell Slide" r:id="rId19" imgW="360" imgH="360" progId="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gray">
          <a:xfrm>
            <a:off x="162009" y="27536"/>
            <a:ext cx="876843" cy="219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eaLnBrk="1" hangingPunct="1">
              <a:defRPr/>
            </a:pPr>
            <a:r>
              <a:rPr lang="en-US" altLang="en-US" sz="1428" smtClean="0">
                <a:solidFill>
                  <a:srgbClr val="808080"/>
                </a:solidFill>
                <a:cs typeface="Arial" panose="020B0604020202020204" pitchFamily="34" charset="0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gray">
          <a:xfrm>
            <a:off x="161988" y="542616"/>
            <a:ext cx="11725485" cy="25626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632" dirty="0" smtClean="0">
                <a:solidFill>
                  <a:srgbClr val="808080"/>
                </a:solidFill>
                <a:latin typeface="+mn-lt"/>
                <a:ea typeface="+mn-ea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61992" y="6296149"/>
            <a:ext cx="10336743" cy="428122"/>
            <a:chOff x="119063" y="6170809"/>
            <a:chExt cx="7598505" cy="419599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gray">
            <a:xfrm>
              <a:off x="119063" y="6170809"/>
              <a:ext cx="7598505" cy="1569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020" dirty="0" smtClean="0">
                  <a:latin typeface="+mn-lt"/>
                  <a:ea typeface="+mn-ea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gray">
            <a:xfrm>
              <a:off x="119063" y="6433442"/>
              <a:ext cx="7598505" cy="1569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609600" indent="-609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612775" algn="l"/>
                </a:tabLs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020" smtClean="0">
                  <a:cs typeface="Arial" panose="020B0604020202020204" pitchFamily="34" charset="0"/>
                </a:rPr>
                <a:t>SOURCE: Source</a:t>
              </a:r>
            </a:p>
          </p:txBody>
        </p:sp>
      </p:grp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976208" y="1137061"/>
            <a:ext cx="5801189" cy="531276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gray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r>
                <a:rPr lang="en-US" altLang="en-US" sz="1632" b="1" smtClean="0">
                  <a:cs typeface="Arial" panose="020B0604020202020204" pitchFamily="34" charset="0"/>
                </a:rPr>
                <a:t>Title</a:t>
              </a:r>
            </a:p>
            <a:p>
              <a:pPr eaLnBrk="1" hangingPunct="1">
                <a:defRPr/>
              </a:pPr>
              <a:r>
                <a:rPr lang="en-US" altLang="en-US" sz="1632" smtClean="0">
                  <a:solidFill>
                    <a:srgbClr val="808080"/>
                  </a:solidFill>
                  <a:cs typeface="Arial" panose="020B0604020202020204" pitchFamily="34" charset="0"/>
                </a:rPr>
                <a:t>Unit of measure</a:t>
              </a:r>
            </a:p>
          </p:txBody>
        </p:sp>
      </p:grpSp>
      <p:pic>
        <p:nvPicPr>
          <p:cNvPr id="14" name="Picture 21"/>
          <p:cNvPicPr>
            <a:picLocks noChangeAspect="1"/>
          </p:cNvPicPr>
          <p:nvPr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10498750" y="6169644"/>
            <a:ext cx="1691113" cy="6900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doc id"/>
          <p:cNvSpPr>
            <a:spLocks noChangeArrowheads="1"/>
          </p:cNvSpPr>
          <p:nvPr/>
        </p:nvSpPr>
        <p:spPr bwMode="gray">
          <a:xfrm>
            <a:off x="10995479" y="37255"/>
            <a:ext cx="894152" cy="1247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algn="r" eaLnBrk="1" hangingPunct="1">
              <a:defRPr/>
            </a:pPr>
            <a:r>
              <a:rPr lang="en-US" altLang="en-US" sz="816" smtClean="0">
                <a:solidFill>
                  <a:srgbClr val="000000"/>
                </a:solidFill>
                <a:cs typeface="Arial" panose="020B0604020202020204" pitchFamily="34" charset="0"/>
              </a:rPr>
              <a:t>Doc ID</a:t>
            </a: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10859342" y="278610"/>
            <a:ext cx="863914" cy="1017201"/>
            <a:chOff x="4936" y="176"/>
            <a:chExt cx="400" cy="628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defRPr/>
              </a:pPr>
              <a:endParaRPr lang="en-US" altLang="en-US" sz="1632" smtClean="0">
                <a:cs typeface="Arial" panose="020B0604020202020204" pitchFamily="34" charset="0"/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10440387" y="285090"/>
            <a:ext cx="1282914" cy="745083"/>
            <a:chOff x="4750" y="176"/>
            <a:chExt cx="594" cy="460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eaLnBrk="1" hangingPunct="1">
                <a:defRPr/>
              </a:pPr>
              <a:endParaRPr lang="en-US" sz="1837">
                <a:latin typeface="+mn-lt"/>
                <a:ea typeface="+mn-ea"/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40" cy="1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10440432" y="291555"/>
            <a:ext cx="1451377" cy="217046"/>
            <a:chOff x="7673881" y="285750"/>
            <a:chExt cx="1066894" cy="212366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gray">
            <a:xfrm>
              <a:off x="7941239" y="285750"/>
              <a:ext cx="799536" cy="21142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algn="r"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solidFill>
                    <a:srgbClr val="808080"/>
                  </a:solidFill>
                  <a:cs typeface="Arial" panose="020B0604020202020204" pitchFamily="34" charset="0"/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gray">
            <a:xfrm>
              <a:off x="7673881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gray">
            <a:xfrm>
              <a:off x="7673881" y="498116"/>
              <a:ext cx="106689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10768765" y="255921"/>
            <a:ext cx="955651" cy="1333051"/>
            <a:chOff x="7769225" y="2105025"/>
            <a:chExt cx="702569" cy="1306516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3"/>
              </p:custDataLst>
            </p:nvPr>
          </p:nvGrpSpPr>
          <p:grpSpPr bwMode="auto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6" name="Arc 39" hidden="1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0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</p:spPr>
            <p:txBody>
              <a:bodyPr wrap="none" anchor="ctr"/>
              <a:lstStyle>
                <a:lvl1pPr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1pPr>
                <a:lvl2pPr marL="742950" indent="-28575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2pPr>
                <a:lvl3pPr marL="11430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3pPr>
                <a:lvl4pPr marL="16002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4pPr>
                <a:lvl5pPr marL="2057400" indent="-228600"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5pPr>
                <a:lvl6pPr marL="25146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6pPr>
                <a:lvl7pPr marL="29718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7pPr>
                <a:lvl8pPr marL="34290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8pPr>
                <a:lvl9pPr marL="3886200" indent="-228600" eaLnBrk="0" fontAlgn="base" hangingPunct="0">
                  <a:spcBef>
                    <a:spcPct val="0"/>
                  </a:spcBef>
                  <a:spcAft>
                    <a:spcPct val="0"/>
                  </a:spcAft>
                  <a:defRPr sz="1600">
                    <a:solidFill>
                      <a:schemeClr val="tx1"/>
                    </a:solidFill>
                    <a:latin typeface="Arial" panose="020B0604020202020204" pitchFamily="34" charset="0"/>
                    <a:ea typeface="ＭＳ Ｐゴシック" panose="020B0600070205080204" pitchFamily="34" charset="-128"/>
                  </a:defRPr>
                </a:lvl9pPr>
              </a:lstStyle>
              <a:p>
                <a:pPr eaLnBrk="1" hangingPunct="1">
                  <a:defRPr/>
                </a:pPr>
                <a:endParaRPr lang="en-US" altLang="en-US" sz="1632" smtClean="0">
                  <a:cs typeface="Arial" panose="020B0604020202020204" pitchFamily="34" charset="0"/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gray">
            <a:xfrm>
              <a:off x="8089965" y="211772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gray">
            <a:xfrm>
              <a:off x="8089965" y="2392364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gray">
            <a:xfrm>
              <a:off x="8089965" y="266700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gray">
            <a:xfrm>
              <a:off x="8089965" y="2938465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gray">
            <a:xfrm>
              <a:off x="8089965" y="3214691"/>
              <a:ext cx="381829" cy="1846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1pPr>
              <a:lvl2pPr marL="742950" indent="-28575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2pPr>
              <a:lvl3pPr marL="11430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3pPr>
              <a:lvl4pPr marL="16002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4pPr>
              <a:lvl5pPr marL="2057400" indent="-228600" defTabSz="895350"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5pPr>
              <a:lvl6pPr marL="25146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6pPr>
              <a:lvl7pPr marL="29718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7pPr>
              <a:lvl8pPr marL="34290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8pPr>
              <a:lvl9pPr marL="3886200" indent="-228600" defTabSz="89535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panose="020B0604020202020204" pitchFamily="34" charset="0"/>
                  <a:ea typeface="ＭＳ Ｐゴシック" panose="020B0600070205080204" pitchFamily="34" charset="-128"/>
                </a:defRPr>
              </a:lvl9pPr>
            </a:lstStyle>
            <a:p>
              <a:pPr eaLnBrk="1" hangingPunct="1">
                <a:buClr>
                  <a:schemeClr val="tx2"/>
                </a:buClr>
                <a:defRPr/>
              </a:pPr>
              <a:r>
                <a:rPr lang="en-US" altLang="en-US" sz="1224" smtClean="0">
                  <a:cs typeface="Arial" panose="020B0604020202020204" pitchFamily="34" charset="0"/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8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altLang="en-US" sz="1837">
                  <a:latin typeface="Arial" charset="0"/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9"/>
                </p:custDataLst>
              </p:nvPr>
            </p:nvSpPr>
            <p:spPr bwMode="gray">
              <a:xfrm>
                <a:off x="4495" y="119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eaLnBrk="1" hangingPunct="1">
                  <a:defRPr/>
                </a:pPr>
                <a:endParaRPr lang="en-US" sz="1837">
                  <a:latin typeface="Arial" charset="0"/>
                  <a:ea typeface="+mn-ea"/>
                </a:endParaRPr>
              </a:p>
            </p:txBody>
          </p:sp>
        </p:grp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19" y="152417"/>
            <a:ext cx="11785599" cy="468693"/>
          </a:xfrm>
          <a:prstGeom prst="rect">
            <a:avLst/>
          </a:prstGeom>
        </p:spPr>
        <p:txBody>
          <a:bodyPr lIns="89147" tIns="44575" rIns="89147" bIns="44575"/>
          <a:lstStyle>
            <a:lvl1pPr algn="l">
              <a:defRPr sz="2449" b="1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/>
          </p:nvPr>
        </p:nvSpPr>
        <p:spPr>
          <a:xfrm>
            <a:off x="101600" y="6537361"/>
            <a:ext cx="7823200" cy="280277"/>
          </a:xfrm>
          <a:prstGeom prst="rect">
            <a:avLst/>
          </a:prstGeom>
        </p:spPr>
        <p:txBody>
          <a:bodyPr lIns="89147" tIns="44575" rIns="89147" bIns="44575"/>
          <a:lstStyle>
            <a:lvl1pPr marL="0" indent="0">
              <a:buNone/>
              <a:defRPr sz="1224"/>
            </a:lvl1pPr>
            <a:lvl2pPr>
              <a:defRPr sz="1224"/>
            </a:lvl2pPr>
            <a:lvl3pPr>
              <a:defRPr sz="1122"/>
            </a:lvl3pPr>
            <a:lvl4pPr>
              <a:defRPr sz="1020"/>
            </a:lvl4pPr>
            <a:lvl5pPr>
              <a:defRPr sz="1020"/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7" name="Slide Number Placeholder 4"/>
          <p:cNvSpPr>
            <a:spLocks noGrp="1"/>
          </p:cNvSpPr>
          <p:nvPr>
            <p:ph type="sldNum" sz="quarter" idx="14"/>
          </p:nvPr>
        </p:nvSpPr>
        <p:spPr>
          <a:xfrm>
            <a:off x="9347582" y="6477361"/>
            <a:ext cx="2844441" cy="364442"/>
          </a:xfrm>
          <a:prstGeom prst="rect">
            <a:avLst/>
          </a:prstGeom>
        </p:spPr>
        <p:txBody>
          <a:bodyPr vert="horz" wrap="square" lIns="89147" tIns="44575" rIns="89147" bIns="44575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24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FD3C619-EE2F-49A5-AE39-B2248B06A46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830350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7336042"/>
              </p:ext>
            </p:extLst>
          </p:nvPr>
        </p:nvGraphicFramePr>
        <p:xfrm>
          <a:off x="2183" y="1639"/>
          <a:ext cx="2159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7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83" y="1639"/>
                        <a:ext cx="2159" cy="1619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5" name="McK Title Elements" hidden="1"/>
          <p:cNvGrpSpPr/>
          <p:nvPr/>
        </p:nvGrpSpPr>
        <p:grpSpPr bwMode="gray">
          <a:xfrm>
            <a:off x="4318583" y="4553079"/>
            <a:ext cx="6714780" cy="494023"/>
            <a:chOff x="3174269" y="4462409"/>
            <a:chExt cx="4935538" cy="484188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3174269" y="4462409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3174269" y="4730697"/>
              <a:ext cx="4935538" cy="2159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303"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</p:grpSp>
      <p:grpSp>
        <p:nvGrpSpPr>
          <p:cNvPr id="13" name="Group 12"/>
          <p:cNvGrpSpPr/>
          <p:nvPr userDrawn="1"/>
        </p:nvGrpSpPr>
        <p:grpSpPr bwMode="gray">
          <a:xfrm>
            <a:off x="3" y="1508460"/>
            <a:ext cx="11948584" cy="2598571"/>
            <a:chOff x="1" y="1508446"/>
            <a:chExt cx="8961438" cy="2598571"/>
          </a:xfrm>
        </p:grpSpPr>
        <p:sp>
          <p:nvSpPr>
            <p:cNvPr id="14" name="Rectangle 13"/>
            <p:cNvSpPr/>
            <p:nvPr userDrawn="1"/>
          </p:nvSpPr>
          <p:spPr bwMode="gray">
            <a:xfrm>
              <a:off x="2963486" y="1631413"/>
              <a:ext cx="5997953" cy="2352639"/>
            </a:xfrm>
            <a:prstGeom prst="rect">
              <a:avLst/>
            </a:prstGeom>
            <a:solidFill>
              <a:srgbClr val="00206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 smtClean="0">
                <a:solidFill>
                  <a:srgbClr val="FFC000"/>
                </a:solidFill>
              </a:endParaRPr>
            </a:p>
          </p:txBody>
        </p:sp>
        <p:sp>
          <p:nvSpPr>
            <p:cNvPr id="15" name="Rectangle 14"/>
            <p:cNvSpPr/>
            <p:nvPr userDrawn="1"/>
          </p:nvSpPr>
          <p:spPr bwMode="gray">
            <a:xfrm flipH="1">
              <a:off x="1" y="1508446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  <p:sp>
          <p:nvSpPr>
            <p:cNvPr id="16" name="Rectangle 15"/>
            <p:cNvSpPr/>
            <p:nvPr userDrawn="1"/>
          </p:nvSpPr>
          <p:spPr bwMode="gray">
            <a:xfrm flipH="1">
              <a:off x="1" y="3984051"/>
              <a:ext cx="8961437" cy="122966"/>
            </a:xfrm>
            <a:prstGeom prst="rect">
              <a:avLst/>
            </a:prstGeom>
            <a:gradFill>
              <a:gsLst>
                <a:gs pos="85000">
                  <a:schemeClr val="bg1"/>
                </a:gs>
                <a:gs pos="17000">
                  <a:srgbClr val="002060"/>
                </a:gs>
                <a:gs pos="50000">
                  <a:srgbClr val="FFC000"/>
                </a:gs>
              </a:gsLst>
              <a:lin ang="21594000" scaled="0"/>
            </a:gra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89611" tIns="44806" rIns="89611" bIns="44806" rtlCol="0" anchor="ctr"/>
            <a:lstStyle/>
            <a:p>
              <a:pPr algn="ctr" defTabSz="914303"/>
              <a:endParaRPr lang="en-US" dirty="0" err="1">
                <a:solidFill>
                  <a:srgbClr val="FFC000"/>
                </a:solidFill>
              </a:endParaRPr>
            </a:p>
          </p:txBody>
        </p:sp>
      </p:grpSp>
      <p:sp>
        <p:nvSpPr>
          <p:cNvPr id="17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4232379" y="1800621"/>
            <a:ext cx="7417775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bg1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9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4232359" y="3320681"/>
            <a:ext cx="6580716" cy="312145"/>
          </a:xfrm>
          <a:prstGeom prst="rect">
            <a:avLst/>
          </a:prstGeom>
        </p:spPr>
        <p:txBody>
          <a:bodyPr lIns="91430" tIns="45716" rIns="91430" bIns="45716">
            <a:spAutoFit/>
          </a:bodyPr>
          <a:lstStyle>
            <a:lvl1pPr>
              <a:defRPr sz="1400" baseline="0">
                <a:solidFill>
                  <a:srgbClr val="FFC000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20" name="Picture 19"/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gray">
          <a:xfrm>
            <a:off x="11831" y="2062297"/>
            <a:ext cx="3856672" cy="147383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90301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38397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434216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tags" Target="../tags/tag5.xml"/><Relationship Id="rId18" Type="http://schemas.openxmlformats.org/officeDocument/2006/relationships/tags" Target="../tags/tag10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3.xml"/><Relationship Id="rId7" Type="http://schemas.openxmlformats.org/officeDocument/2006/relationships/theme" Target="../theme/theme1.xml"/><Relationship Id="rId12" Type="http://schemas.openxmlformats.org/officeDocument/2006/relationships/tags" Target="../tags/tag4.xml"/><Relationship Id="rId17" Type="http://schemas.openxmlformats.org/officeDocument/2006/relationships/tags" Target="../tags/tag9.xml"/><Relationship Id="rId25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8.xml"/><Relationship Id="rId20" Type="http://schemas.openxmlformats.org/officeDocument/2006/relationships/tags" Target="../tags/tag1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24" Type="http://schemas.openxmlformats.org/officeDocument/2006/relationships/tags" Target="../tags/tag16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7.xml"/><Relationship Id="rId23" Type="http://schemas.openxmlformats.org/officeDocument/2006/relationships/tags" Target="../tags/tag15.xml"/><Relationship Id="rId10" Type="http://schemas.openxmlformats.org/officeDocument/2006/relationships/tags" Target="../tags/tag2.xml"/><Relationship Id="rId19" Type="http://schemas.openxmlformats.org/officeDocument/2006/relationships/tags" Target="../tags/tag11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1.xml"/><Relationship Id="rId14" Type="http://schemas.openxmlformats.org/officeDocument/2006/relationships/tags" Target="../tags/tag6.xml"/><Relationship Id="rId22" Type="http://schemas.openxmlformats.org/officeDocument/2006/relationships/tags" Target="../tags/tag14.xml"/><Relationship Id="rId27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4.vml"/><Relationship Id="rId13" Type="http://schemas.openxmlformats.org/officeDocument/2006/relationships/tags" Target="../tags/tag38.xml"/><Relationship Id="rId18" Type="http://schemas.openxmlformats.org/officeDocument/2006/relationships/tags" Target="../tags/tag43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9.xml"/><Relationship Id="rId21" Type="http://schemas.openxmlformats.org/officeDocument/2006/relationships/tags" Target="../tags/tag46.xml"/><Relationship Id="rId7" Type="http://schemas.openxmlformats.org/officeDocument/2006/relationships/theme" Target="../theme/theme2.xml"/><Relationship Id="rId12" Type="http://schemas.openxmlformats.org/officeDocument/2006/relationships/tags" Target="../tags/tag37.xml"/><Relationship Id="rId17" Type="http://schemas.openxmlformats.org/officeDocument/2006/relationships/tags" Target="../tags/tag42.xml"/><Relationship Id="rId25" Type="http://schemas.openxmlformats.org/officeDocument/2006/relationships/oleObject" Target="../embeddings/oleObject4.bin"/><Relationship Id="rId2" Type="http://schemas.openxmlformats.org/officeDocument/2006/relationships/slideLayout" Target="../slideLayouts/slideLayout8.xml"/><Relationship Id="rId16" Type="http://schemas.openxmlformats.org/officeDocument/2006/relationships/tags" Target="../tags/tag41.xml"/><Relationship Id="rId20" Type="http://schemas.openxmlformats.org/officeDocument/2006/relationships/tags" Target="../tags/tag45.xml"/><Relationship Id="rId1" Type="http://schemas.openxmlformats.org/officeDocument/2006/relationships/slideLayout" Target="../slideLayouts/slideLayout7.xml"/><Relationship Id="rId6" Type="http://schemas.openxmlformats.org/officeDocument/2006/relationships/slideLayout" Target="../slideLayouts/slideLayout12.xml"/><Relationship Id="rId11" Type="http://schemas.openxmlformats.org/officeDocument/2006/relationships/tags" Target="../tags/tag36.xml"/><Relationship Id="rId24" Type="http://schemas.openxmlformats.org/officeDocument/2006/relationships/tags" Target="../tags/tag49.xml"/><Relationship Id="rId5" Type="http://schemas.openxmlformats.org/officeDocument/2006/relationships/slideLayout" Target="../slideLayouts/slideLayout11.xml"/><Relationship Id="rId15" Type="http://schemas.openxmlformats.org/officeDocument/2006/relationships/tags" Target="../tags/tag40.xml"/><Relationship Id="rId23" Type="http://schemas.openxmlformats.org/officeDocument/2006/relationships/tags" Target="../tags/tag48.xml"/><Relationship Id="rId10" Type="http://schemas.openxmlformats.org/officeDocument/2006/relationships/tags" Target="../tags/tag35.xml"/><Relationship Id="rId19" Type="http://schemas.openxmlformats.org/officeDocument/2006/relationships/tags" Target="../tags/tag44.xml"/><Relationship Id="rId4" Type="http://schemas.openxmlformats.org/officeDocument/2006/relationships/slideLayout" Target="../slideLayouts/slideLayout10.xml"/><Relationship Id="rId9" Type="http://schemas.openxmlformats.org/officeDocument/2006/relationships/tags" Target="../tags/tag34.xml"/><Relationship Id="rId14" Type="http://schemas.openxmlformats.org/officeDocument/2006/relationships/tags" Target="../tags/tag39.xml"/><Relationship Id="rId22" Type="http://schemas.openxmlformats.org/officeDocument/2006/relationships/tags" Target="../tags/tag47.xml"/><Relationship Id="rId27" Type="http://schemas.openxmlformats.org/officeDocument/2006/relationships/image" Target="../media/image2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7.vml"/><Relationship Id="rId13" Type="http://schemas.openxmlformats.org/officeDocument/2006/relationships/tags" Target="../tags/tag71.xml"/><Relationship Id="rId18" Type="http://schemas.openxmlformats.org/officeDocument/2006/relationships/tags" Target="../tags/tag76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15.xml"/><Relationship Id="rId21" Type="http://schemas.openxmlformats.org/officeDocument/2006/relationships/tags" Target="../tags/tag79.xml"/><Relationship Id="rId7" Type="http://schemas.openxmlformats.org/officeDocument/2006/relationships/theme" Target="../theme/theme3.xml"/><Relationship Id="rId12" Type="http://schemas.openxmlformats.org/officeDocument/2006/relationships/tags" Target="../tags/tag70.xml"/><Relationship Id="rId17" Type="http://schemas.openxmlformats.org/officeDocument/2006/relationships/tags" Target="../tags/tag75.xml"/><Relationship Id="rId25" Type="http://schemas.openxmlformats.org/officeDocument/2006/relationships/oleObject" Target="../embeddings/oleObject7.bin"/><Relationship Id="rId2" Type="http://schemas.openxmlformats.org/officeDocument/2006/relationships/slideLayout" Target="../slideLayouts/slideLayout14.xml"/><Relationship Id="rId16" Type="http://schemas.openxmlformats.org/officeDocument/2006/relationships/tags" Target="../tags/tag74.xml"/><Relationship Id="rId20" Type="http://schemas.openxmlformats.org/officeDocument/2006/relationships/tags" Target="../tags/tag7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tags" Target="../tags/tag69.xml"/><Relationship Id="rId24" Type="http://schemas.openxmlformats.org/officeDocument/2006/relationships/tags" Target="../tags/tag82.xml"/><Relationship Id="rId5" Type="http://schemas.openxmlformats.org/officeDocument/2006/relationships/slideLayout" Target="../slideLayouts/slideLayout17.xml"/><Relationship Id="rId15" Type="http://schemas.openxmlformats.org/officeDocument/2006/relationships/tags" Target="../tags/tag73.xml"/><Relationship Id="rId23" Type="http://schemas.openxmlformats.org/officeDocument/2006/relationships/tags" Target="../tags/tag81.xml"/><Relationship Id="rId10" Type="http://schemas.openxmlformats.org/officeDocument/2006/relationships/tags" Target="../tags/tag68.xml"/><Relationship Id="rId19" Type="http://schemas.openxmlformats.org/officeDocument/2006/relationships/tags" Target="../tags/tag77.xml"/><Relationship Id="rId4" Type="http://schemas.openxmlformats.org/officeDocument/2006/relationships/slideLayout" Target="../slideLayouts/slideLayout16.xml"/><Relationship Id="rId9" Type="http://schemas.openxmlformats.org/officeDocument/2006/relationships/tags" Target="../tags/tag67.xml"/><Relationship Id="rId14" Type="http://schemas.openxmlformats.org/officeDocument/2006/relationships/tags" Target="../tags/tag72.xml"/><Relationship Id="rId22" Type="http://schemas.openxmlformats.org/officeDocument/2006/relationships/tags" Target="../tags/tag80.xml"/><Relationship Id="rId27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0.vml"/><Relationship Id="rId13" Type="http://schemas.openxmlformats.org/officeDocument/2006/relationships/tags" Target="../tags/tag104.xml"/><Relationship Id="rId18" Type="http://schemas.openxmlformats.org/officeDocument/2006/relationships/tags" Target="../tags/tag109.xml"/><Relationship Id="rId26" Type="http://schemas.openxmlformats.org/officeDocument/2006/relationships/image" Target="../media/image1.emf"/><Relationship Id="rId3" Type="http://schemas.openxmlformats.org/officeDocument/2006/relationships/slideLayout" Target="../slideLayouts/slideLayout21.xml"/><Relationship Id="rId21" Type="http://schemas.openxmlformats.org/officeDocument/2006/relationships/tags" Target="../tags/tag112.xml"/><Relationship Id="rId7" Type="http://schemas.openxmlformats.org/officeDocument/2006/relationships/theme" Target="../theme/theme4.xml"/><Relationship Id="rId12" Type="http://schemas.openxmlformats.org/officeDocument/2006/relationships/tags" Target="../tags/tag103.xml"/><Relationship Id="rId17" Type="http://schemas.openxmlformats.org/officeDocument/2006/relationships/tags" Target="../tags/tag108.xml"/><Relationship Id="rId25" Type="http://schemas.openxmlformats.org/officeDocument/2006/relationships/oleObject" Target="../embeddings/oleObject10.bin"/><Relationship Id="rId2" Type="http://schemas.openxmlformats.org/officeDocument/2006/relationships/slideLayout" Target="../slideLayouts/slideLayout20.xml"/><Relationship Id="rId16" Type="http://schemas.openxmlformats.org/officeDocument/2006/relationships/tags" Target="../tags/tag107.xml"/><Relationship Id="rId20" Type="http://schemas.openxmlformats.org/officeDocument/2006/relationships/tags" Target="../tags/tag111.xml"/><Relationship Id="rId1" Type="http://schemas.openxmlformats.org/officeDocument/2006/relationships/slideLayout" Target="../slideLayouts/slideLayout19.xml"/><Relationship Id="rId6" Type="http://schemas.openxmlformats.org/officeDocument/2006/relationships/slideLayout" Target="../slideLayouts/slideLayout24.xml"/><Relationship Id="rId11" Type="http://schemas.openxmlformats.org/officeDocument/2006/relationships/tags" Target="../tags/tag102.xml"/><Relationship Id="rId24" Type="http://schemas.openxmlformats.org/officeDocument/2006/relationships/tags" Target="../tags/tag115.xml"/><Relationship Id="rId5" Type="http://schemas.openxmlformats.org/officeDocument/2006/relationships/slideLayout" Target="../slideLayouts/slideLayout23.xml"/><Relationship Id="rId15" Type="http://schemas.openxmlformats.org/officeDocument/2006/relationships/tags" Target="../tags/tag106.xml"/><Relationship Id="rId23" Type="http://schemas.openxmlformats.org/officeDocument/2006/relationships/tags" Target="../tags/tag114.xml"/><Relationship Id="rId10" Type="http://schemas.openxmlformats.org/officeDocument/2006/relationships/tags" Target="../tags/tag101.xml"/><Relationship Id="rId19" Type="http://schemas.openxmlformats.org/officeDocument/2006/relationships/tags" Target="../tags/tag110.xml"/><Relationship Id="rId4" Type="http://schemas.openxmlformats.org/officeDocument/2006/relationships/slideLayout" Target="../slideLayouts/slideLayout22.xml"/><Relationship Id="rId9" Type="http://schemas.openxmlformats.org/officeDocument/2006/relationships/tags" Target="../tags/tag100.xml"/><Relationship Id="rId14" Type="http://schemas.openxmlformats.org/officeDocument/2006/relationships/tags" Target="../tags/tag105.xml"/><Relationship Id="rId22" Type="http://schemas.openxmlformats.org/officeDocument/2006/relationships/tags" Target="../tags/tag113.xml"/><Relationship Id="rId27" Type="http://schemas.openxmlformats.org/officeDocument/2006/relationships/image" Target="../media/image2.jpe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ags" Target="../tags/tag133.xml"/><Relationship Id="rId13" Type="http://schemas.openxmlformats.org/officeDocument/2006/relationships/tags" Target="../tags/tag138.xml"/><Relationship Id="rId18" Type="http://schemas.openxmlformats.org/officeDocument/2006/relationships/tags" Target="../tags/tag143.xml"/><Relationship Id="rId26" Type="http://schemas.openxmlformats.org/officeDocument/2006/relationships/image" Target="../media/image2.jpeg"/><Relationship Id="rId3" Type="http://schemas.openxmlformats.org/officeDocument/2006/relationships/slideLayout" Target="../slideLayouts/slideLayout27.xml"/><Relationship Id="rId21" Type="http://schemas.openxmlformats.org/officeDocument/2006/relationships/tags" Target="../tags/tag146.xml"/><Relationship Id="rId7" Type="http://schemas.openxmlformats.org/officeDocument/2006/relationships/vmlDrawing" Target="../drawings/vmlDrawing13.vml"/><Relationship Id="rId12" Type="http://schemas.openxmlformats.org/officeDocument/2006/relationships/tags" Target="../tags/tag137.xml"/><Relationship Id="rId17" Type="http://schemas.openxmlformats.org/officeDocument/2006/relationships/tags" Target="../tags/tag142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6.xml"/><Relationship Id="rId16" Type="http://schemas.openxmlformats.org/officeDocument/2006/relationships/tags" Target="../tags/tag141.xml"/><Relationship Id="rId20" Type="http://schemas.openxmlformats.org/officeDocument/2006/relationships/tags" Target="../tags/tag145.xml"/><Relationship Id="rId1" Type="http://schemas.openxmlformats.org/officeDocument/2006/relationships/slideLayout" Target="../slideLayouts/slideLayout25.xml"/><Relationship Id="rId6" Type="http://schemas.openxmlformats.org/officeDocument/2006/relationships/theme" Target="../theme/theme5.xml"/><Relationship Id="rId11" Type="http://schemas.openxmlformats.org/officeDocument/2006/relationships/tags" Target="../tags/tag136.xml"/><Relationship Id="rId24" Type="http://schemas.openxmlformats.org/officeDocument/2006/relationships/oleObject" Target="../embeddings/oleObject13.bin"/><Relationship Id="rId5" Type="http://schemas.openxmlformats.org/officeDocument/2006/relationships/slideLayout" Target="../slideLayouts/slideLayout29.xml"/><Relationship Id="rId15" Type="http://schemas.openxmlformats.org/officeDocument/2006/relationships/tags" Target="../tags/tag140.xml"/><Relationship Id="rId23" Type="http://schemas.openxmlformats.org/officeDocument/2006/relationships/tags" Target="../tags/tag148.xml"/><Relationship Id="rId10" Type="http://schemas.openxmlformats.org/officeDocument/2006/relationships/tags" Target="../tags/tag135.xml"/><Relationship Id="rId19" Type="http://schemas.openxmlformats.org/officeDocument/2006/relationships/tags" Target="../tags/tag144.xml"/><Relationship Id="rId4" Type="http://schemas.openxmlformats.org/officeDocument/2006/relationships/slideLayout" Target="../slideLayouts/slideLayout28.xml"/><Relationship Id="rId9" Type="http://schemas.openxmlformats.org/officeDocument/2006/relationships/tags" Target="../tags/tag134.xml"/><Relationship Id="rId14" Type="http://schemas.openxmlformats.org/officeDocument/2006/relationships/tags" Target="../tags/tag139.xml"/><Relationship Id="rId22" Type="http://schemas.openxmlformats.org/officeDocument/2006/relationships/tags" Target="../tags/tag14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292036797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5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3263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03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1987" y="542617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/>
          <p:nvPr/>
        </p:nvGrpSpPr>
        <p:grpSpPr>
          <a:xfrm>
            <a:off x="162004" y="6300808"/>
            <a:ext cx="10337735" cy="421134"/>
            <a:chOff x="119063" y="6175375"/>
            <a:chExt cx="7598505" cy="41275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17537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3572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10" indent="-621910" defTabSz="913429"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083610"/>
            <a:ext cx="5801189" cy="584728"/>
            <a:chOff x="915" y="669"/>
            <a:chExt cx="2686" cy="36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/>
              <a:r>
                <a:rPr lang="en-US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03"/>
              <a:r>
                <a:rPr 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gray">
          <a:xfrm>
            <a:off x="10859420" y="279405"/>
            <a:ext cx="855277" cy="1013962"/>
            <a:chOff x="4936" y="176"/>
            <a:chExt cx="39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10440385" y="285088"/>
            <a:ext cx="1274274" cy="741845"/>
            <a:chOff x="4750" y="176"/>
            <a:chExt cx="59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10824938" y="291554"/>
            <a:ext cx="1066895" cy="212366"/>
            <a:chOff x="7956580" y="285750"/>
            <a:chExt cx="784195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956580" y="285750"/>
              <a:ext cx="784195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956580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956580" y="493888"/>
              <a:ext cx="7841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10768549" y="255920"/>
            <a:ext cx="946032" cy="1333054"/>
            <a:chOff x="7769225" y="2105025"/>
            <a:chExt cx="695359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/>
        </p:nvSpPr>
        <p:spPr>
          <a:xfrm>
            <a:off x="11801650" y="661584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30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30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5" name="Text Placeholder 2"/>
          <p:cNvSpPr txBox="1">
            <a:spLocks/>
          </p:cNvSpPr>
          <p:nvPr/>
        </p:nvSpPr>
        <p:spPr>
          <a:xfrm>
            <a:off x="233261" y="6366671"/>
            <a:ext cx="11725299" cy="15701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5397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None/>
              <a:tabLst>
                <a:tab pos="450850" algn="r"/>
              </a:tabLst>
              <a:defRPr sz="10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00597E"/>
              </a:buClr>
            </a:pPr>
            <a:r>
              <a:rPr lang="en-US" kern="0" dirty="0" smtClean="0">
                <a:solidFill>
                  <a:srgbClr val="000000"/>
                </a:solidFill>
              </a:rPr>
              <a:t>		</a:t>
            </a:r>
          </a:p>
        </p:txBody>
      </p:sp>
      <p:pic>
        <p:nvPicPr>
          <p:cNvPr id="66" name="Picture 73"/>
          <p:cNvPicPr>
            <a:picLocks noChangeAspect="1"/>
          </p:cNvPicPr>
          <p:nvPr/>
        </p:nvPicPr>
        <p:blipFill rotWithShape="1"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004" t="11291" r="5432" b="11442"/>
          <a:stretch/>
        </p:blipFill>
        <p:spPr bwMode="gray">
          <a:xfrm>
            <a:off x="10704515" y="6476815"/>
            <a:ext cx="908196" cy="29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46673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5" r:id="rId4"/>
    <p:sldLayoutId id="2147483666" r:id="rId5"/>
    <p:sldLayoutId id="2147483732" r:id="rId6"/>
  </p:sldLayoutIdLst>
  <p:timing>
    <p:tnLst>
      <p:par>
        <p:cTn id="1" dur="indefinite" restart="never" nodeType="tmRoot"/>
      </p:par>
    </p:tnLst>
  </p:timing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1748322385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3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3263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03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1987" y="542617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/>
          <p:nvPr/>
        </p:nvGrpSpPr>
        <p:grpSpPr>
          <a:xfrm>
            <a:off x="162004" y="6300808"/>
            <a:ext cx="10337735" cy="421134"/>
            <a:chOff x="119063" y="6175375"/>
            <a:chExt cx="7598505" cy="41275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17537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3572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10" indent="-621910" defTabSz="913429"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083610"/>
            <a:ext cx="5801189" cy="584728"/>
            <a:chOff x="915" y="669"/>
            <a:chExt cx="2686" cy="36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/>
              <a:r>
                <a:rPr lang="en-US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03"/>
              <a:r>
                <a:rPr 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gray">
          <a:xfrm>
            <a:off x="10859420" y="279405"/>
            <a:ext cx="855277" cy="1013962"/>
            <a:chOff x="4936" y="176"/>
            <a:chExt cx="39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10440389" y="285088"/>
            <a:ext cx="1274274" cy="741845"/>
            <a:chOff x="4750" y="176"/>
            <a:chExt cx="59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10824934" y="291554"/>
            <a:ext cx="1066895" cy="212366"/>
            <a:chOff x="7956580" y="285750"/>
            <a:chExt cx="784195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956580" y="285750"/>
              <a:ext cx="784195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956580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956580" y="493888"/>
              <a:ext cx="7841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10768541" y="255920"/>
            <a:ext cx="946032" cy="1333054"/>
            <a:chOff x="7769225" y="2105025"/>
            <a:chExt cx="695359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/>
        </p:nvSpPr>
        <p:spPr>
          <a:xfrm>
            <a:off x="11801650" y="661584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30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30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5" name="Text Placeholder 2"/>
          <p:cNvSpPr txBox="1">
            <a:spLocks/>
          </p:cNvSpPr>
          <p:nvPr/>
        </p:nvSpPr>
        <p:spPr>
          <a:xfrm>
            <a:off x="233261" y="6366671"/>
            <a:ext cx="11725299" cy="15701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5397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None/>
              <a:tabLst>
                <a:tab pos="450850" algn="r"/>
              </a:tabLst>
              <a:defRPr sz="10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00597E"/>
              </a:buClr>
            </a:pPr>
            <a:r>
              <a:rPr lang="en-US" kern="0" dirty="0" smtClean="0">
                <a:solidFill>
                  <a:srgbClr val="000000"/>
                </a:solidFill>
              </a:rPr>
              <a:t>		</a:t>
            </a:r>
          </a:p>
        </p:txBody>
      </p:sp>
      <p:pic>
        <p:nvPicPr>
          <p:cNvPr id="66" name="Picture 73"/>
          <p:cNvPicPr>
            <a:picLocks noChangeAspect="1"/>
          </p:cNvPicPr>
          <p:nvPr/>
        </p:nvPicPr>
        <p:blipFill rotWithShape="1"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004" t="11291" r="5432" b="11442"/>
          <a:stretch/>
        </p:blipFill>
        <p:spPr bwMode="gray">
          <a:xfrm>
            <a:off x="10704515" y="6476815"/>
            <a:ext cx="908196" cy="29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3247803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733" r:id="rId6"/>
  </p:sldLayoutIdLst>
  <p:timing>
    <p:tnLst>
      <p:par>
        <p:cTn id="1" dur="indefinite" restart="never" nodeType="tmRoot"/>
      </p:par>
    </p:tnLst>
  </p:timing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92904637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1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3263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03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1987" y="542617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/>
          <p:nvPr/>
        </p:nvGrpSpPr>
        <p:grpSpPr>
          <a:xfrm>
            <a:off x="162003" y="6300808"/>
            <a:ext cx="10337735" cy="421134"/>
            <a:chOff x="119063" y="6175375"/>
            <a:chExt cx="7598505" cy="41275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17537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3572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10" indent="-621910" defTabSz="913429"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083610"/>
            <a:ext cx="5801189" cy="584728"/>
            <a:chOff x="915" y="669"/>
            <a:chExt cx="2686" cy="36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/>
              <a:r>
                <a:rPr lang="en-US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03"/>
              <a:r>
                <a:rPr 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gray">
          <a:xfrm>
            <a:off x="10859420" y="279405"/>
            <a:ext cx="855277" cy="1013962"/>
            <a:chOff x="4936" y="176"/>
            <a:chExt cx="39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10440397" y="285088"/>
            <a:ext cx="1274274" cy="741845"/>
            <a:chOff x="4750" y="176"/>
            <a:chExt cx="59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10824926" y="291554"/>
            <a:ext cx="1066895" cy="212366"/>
            <a:chOff x="7956580" y="285750"/>
            <a:chExt cx="784195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956580" y="285750"/>
              <a:ext cx="784195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956580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956580" y="493888"/>
              <a:ext cx="7841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10768529" y="255920"/>
            <a:ext cx="946032" cy="1333054"/>
            <a:chOff x="7769225" y="2105025"/>
            <a:chExt cx="695359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/>
        </p:nvSpPr>
        <p:spPr>
          <a:xfrm>
            <a:off x="11801650" y="661584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30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30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5" name="Text Placeholder 2"/>
          <p:cNvSpPr txBox="1">
            <a:spLocks/>
          </p:cNvSpPr>
          <p:nvPr/>
        </p:nvSpPr>
        <p:spPr>
          <a:xfrm>
            <a:off x="233261" y="6366671"/>
            <a:ext cx="11725299" cy="15701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5397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None/>
              <a:tabLst>
                <a:tab pos="450850" algn="r"/>
              </a:tabLst>
              <a:defRPr sz="10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00597E"/>
              </a:buClr>
            </a:pPr>
            <a:r>
              <a:rPr lang="en-US" kern="0" dirty="0" smtClean="0">
                <a:solidFill>
                  <a:srgbClr val="000000"/>
                </a:solidFill>
              </a:rPr>
              <a:t>		</a:t>
            </a:r>
          </a:p>
        </p:txBody>
      </p:sp>
      <p:pic>
        <p:nvPicPr>
          <p:cNvPr id="66" name="Picture 73"/>
          <p:cNvPicPr>
            <a:picLocks noChangeAspect="1"/>
          </p:cNvPicPr>
          <p:nvPr/>
        </p:nvPicPr>
        <p:blipFill rotWithShape="1"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004" t="11291" r="5432" b="11442"/>
          <a:stretch/>
        </p:blipFill>
        <p:spPr bwMode="gray">
          <a:xfrm>
            <a:off x="10704515" y="6476815"/>
            <a:ext cx="908196" cy="29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4290725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734" r:id="rId6"/>
  </p:sldLayoutIdLst>
  <p:timing>
    <p:tnLst>
      <p:par>
        <p:cTn id="1" dur="indefinite" restart="never" nodeType="tmRoot"/>
      </p:par>
    </p:tnLst>
  </p:timing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3249539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think-cell Slide" r:id="rId25" imgW="360" imgH="360" progId="TCLayout.ActiveDocument.1">
                  <p:embed/>
                </p:oleObj>
              </mc:Choice>
              <mc:Fallback>
                <p:oleObj name="think-cell Slide" r:id="rId25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3263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03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1987" y="542617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/>
          <p:nvPr/>
        </p:nvGrpSpPr>
        <p:grpSpPr>
          <a:xfrm>
            <a:off x="161996" y="6300808"/>
            <a:ext cx="10337735" cy="421134"/>
            <a:chOff x="119063" y="6175375"/>
            <a:chExt cx="7598505" cy="41275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17537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3572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10" indent="-621910" defTabSz="913429"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083610"/>
            <a:ext cx="5801189" cy="584728"/>
            <a:chOff x="915" y="669"/>
            <a:chExt cx="2686" cy="36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/>
              <a:r>
                <a:rPr lang="en-US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03"/>
              <a:r>
                <a:rPr 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gray">
          <a:xfrm>
            <a:off x="10859420" y="279405"/>
            <a:ext cx="855277" cy="1013962"/>
            <a:chOff x="4936" y="176"/>
            <a:chExt cx="39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10440405" y="285088"/>
            <a:ext cx="1274274" cy="741845"/>
            <a:chOff x="4750" y="176"/>
            <a:chExt cx="59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10824914" y="291554"/>
            <a:ext cx="1066895" cy="212366"/>
            <a:chOff x="7956580" y="285750"/>
            <a:chExt cx="784195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956580" y="285750"/>
              <a:ext cx="784195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956580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956580" y="493888"/>
              <a:ext cx="7841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10768513" y="255920"/>
            <a:ext cx="946032" cy="1333054"/>
            <a:chOff x="7769225" y="2105025"/>
            <a:chExt cx="695359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 hidden="1"/>
              <p:cNvSpPr>
                <a:spLocks noChangeAspect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/>
        </p:nvSpPr>
        <p:spPr>
          <a:xfrm>
            <a:off x="11801650" y="661584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30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30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5" name="Text Placeholder 2"/>
          <p:cNvSpPr txBox="1">
            <a:spLocks/>
          </p:cNvSpPr>
          <p:nvPr/>
        </p:nvSpPr>
        <p:spPr>
          <a:xfrm>
            <a:off x="233261" y="6366671"/>
            <a:ext cx="11725299" cy="15701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5397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None/>
              <a:tabLst>
                <a:tab pos="450850" algn="r"/>
              </a:tabLst>
              <a:defRPr sz="10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00597E"/>
              </a:buClr>
            </a:pPr>
            <a:r>
              <a:rPr lang="en-US" kern="0" dirty="0" smtClean="0">
                <a:solidFill>
                  <a:srgbClr val="000000"/>
                </a:solidFill>
              </a:rPr>
              <a:t>		</a:t>
            </a:r>
          </a:p>
        </p:txBody>
      </p:sp>
      <p:pic>
        <p:nvPicPr>
          <p:cNvPr id="66" name="Picture 73"/>
          <p:cNvPicPr>
            <a:picLocks noChangeAspect="1"/>
          </p:cNvPicPr>
          <p:nvPr/>
        </p:nvPicPr>
        <p:blipFill rotWithShape="1">
          <a:blip r:embed="rId2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004" t="11291" r="5432" b="11442"/>
          <a:stretch/>
        </p:blipFill>
        <p:spPr bwMode="gray">
          <a:xfrm>
            <a:off x="10704515" y="6476815"/>
            <a:ext cx="908196" cy="29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4477572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731" r:id="rId6"/>
  </p:sldLayoutIdLst>
  <p:timing>
    <p:tnLst>
      <p:par>
        <p:cTn id="1" dur="indefinite" restart="never" nodeType="tmRoot"/>
      </p:par>
    </p:tnLst>
  </p:timing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607409073"/>
              </p:ext>
            </p:extLst>
          </p:nvPr>
        </p:nvGraphicFramePr>
        <p:xfrm>
          <a:off x="0" y="0"/>
          <a:ext cx="215979" cy="16197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5" name="think-cell Slide" r:id="rId24" imgW="360" imgH="360" progId="TCLayout.ActiveDocument.1">
                  <p:embed/>
                </p:oleObj>
              </mc:Choice>
              <mc:Fallback>
                <p:oleObj name="think-cell Slide" r:id="rId2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5979" cy="161974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33263" y="234864"/>
            <a:ext cx="11725484" cy="3140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gray">
          <a:xfrm>
            <a:off x="161984" y="27536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defTabSz="914303"/>
            <a:r>
              <a:rPr 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61986" y="542617"/>
            <a:ext cx="11725484" cy="25122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3" name="McK Slide Elements" hidden="1"/>
          <p:cNvGrpSpPr/>
          <p:nvPr/>
        </p:nvGrpSpPr>
        <p:grpSpPr>
          <a:xfrm>
            <a:off x="161991" y="6300808"/>
            <a:ext cx="10337735" cy="421134"/>
            <a:chOff x="119063" y="6175375"/>
            <a:chExt cx="7598505" cy="412750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17537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35725"/>
              <a:ext cx="7598505" cy="1524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21910" indent="-621910" defTabSz="913429">
                <a:tabLst>
                  <a:tab pos="625148" algn="l"/>
                </a:tabLst>
              </a:pPr>
              <a:r>
                <a:rPr 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976208" y="1083610"/>
            <a:ext cx="5801189" cy="584728"/>
            <a:chOff x="915" y="669"/>
            <a:chExt cx="2686" cy="361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669"/>
              <a:ext cx="2686" cy="36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defTabSz="914303"/>
              <a:r>
                <a:rPr lang="en-US" b="1" dirty="0">
                  <a:solidFill>
                    <a:srgbClr val="000000"/>
                  </a:solidFill>
                </a:rPr>
                <a:t>Title</a:t>
              </a:r>
            </a:p>
            <a:p>
              <a:pPr defTabSz="914303"/>
              <a:r>
                <a:rPr lang="en-US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grpSp>
        <p:nvGrpSpPr>
          <p:cNvPr id="24" name="LegendBoxes" hidden="1"/>
          <p:cNvGrpSpPr>
            <a:grpSpLocks/>
          </p:cNvGrpSpPr>
          <p:nvPr/>
        </p:nvGrpSpPr>
        <p:grpSpPr bwMode="gray">
          <a:xfrm>
            <a:off x="10859420" y="279405"/>
            <a:ext cx="855277" cy="1013962"/>
            <a:chOff x="4936" y="176"/>
            <a:chExt cx="396" cy="626"/>
          </a:xfrm>
        </p:grpSpPr>
        <p:sp>
          <p:nvSpPr>
            <p:cNvPr id="25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6" name="LegendRectangle1"/>
            <p:cNvSpPr>
              <a:spLocks noChangeArrowheads="1"/>
            </p:cNvSpPr>
            <p:nvPr/>
          </p:nvSpPr>
          <p:spPr bwMode="gray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7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8" name="LegendRectangle2"/>
            <p:cNvSpPr>
              <a:spLocks noChangeArrowheads="1"/>
            </p:cNvSpPr>
            <p:nvPr/>
          </p:nvSpPr>
          <p:spPr bwMode="gray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29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Rectangle3"/>
            <p:cNvSpPr>
              <a:spLocks noChangeArrowheads="1"/>
            </p:cNvSpPr>
            <p:nvPr/>
          </p:nvSpPr>
          <p:spPr bwMode="gray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1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2" name="LegendRectangle4"/>
            <p:cNvSpPr>
              <a:spLocks noChangeArrowheads="1"/>
            </p:cNvSpPr>
            <p:nvPr/>
          </p:nvSpPr>
          <p:spPr bwMode="gray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</p:grpSp>
      <p:grpSp>
        <p:nvGrpSpPr>
          <p:cNvPr id="33" name="LegendLines" hidden="1"/>
          <p:cNvGrpSpPr>
            <a:grpSpLocks/>
          </p:cNvGrpSpPr>
          <p:nvPr/>
        </p:nvGrpSpPr>
        <p:grpSpPr bwMode="gray">
          <a:xfrm>
            <a:off x="10440415" y="285078"/>
            <a:ext cx="1274274" cy="741845"/>
            <a:chOff x="4750" y="176"/>
            <a:chExt cx="590" cy="458"/>
          </a:xfrm>
        </p:grpSpPr>
        <p:sp>
          <p:nvSpPr>
            <p:cNvPr id="34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5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6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defTabSz="914303"/>
              <a:endParaRPr lang="en-US">
                <a:solidFill>
                  <a:srgbClr val="000000"/>
                </a:solidFill>
              </a:endParaRPr>
            </a:p>
          </p:txBody>
        </p:sp>
        <p:sp>
          <p:nvSpPr>
            <p:cNvPr id="37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8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9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236" cy="11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40" name="McKSticker" hidden="1"/>
          <p:cNvGrpSpPr/>
          <p:nvPr/>
        </p:nvGrpSpPr>
        <p:grpSpPr bwMode="gray">
          <a:xfrm>
            <a:off x="10824902" y="291554"/>
            <a:ext cx="1066895" cy="212366"/>
            <a:chOff x="7956580" y="285750"/>
            <a:chExt cx="784195" cy="208138"/>
          </a:xfrm>
        </p:grpSpPr>
        <p:sp>
          <p:nvSpPr>
            <p:cNvPr id="41" name="StickerRectangle"/>
            <p:cNvSpPr>
              <a:spLocks noChangeArrowheads="1"/>
            </p:cNvSpPr>
            <p:nvPr/>
          </p:nvSpPr>
          <p:spPr bwMode="gray">
            <a:xfrm>
              <a:off x="7956580" y="285750"/>
              <a:ext cx="784195" cy="20813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42" name="AutoShape 31"/>
            <p:cNvCxnSpPr>
              <a:cxnSpLocks noChangeShapeType="1"/>
              <a:stCxn id="41" idx="2"/>
              <a:endCxn id="41" idx="4"/>
            </p:cNvCxnSpPr>
            <p:nvPr/>
          </p:nvCxnSpPr>
          <p:spPr bwMode="gray">
            <a:xfrm>
              <a:off x="7956580" y="285750"/>
              <a:ext cx="0" cy="208138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43" name="AutoShape 32"/>
            <p:cNvCxnSpPr>
              <a:cxnSpLocks noChangeShapeType="1"/>
              <a:stCxn id="41" idx="4"/>
              <a:endCxn id="41" idx="6"/>
            </p:cNvCxnSpPr>
            <p:nvPr/>
          </p:nvCxnSpPr>
          <p:spPr bwMode="gray">
            <a:xfrm>
              <a:off x="7956580" y="493888"/>
              <a:ext cx="7841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44" name="LegendMoons" hidden="1"/>
          <p:cNvGrpSpPr/>
          <p:nvPr/>
        </p:nvGrpSpPr>
        <p:grpSpPr bwMode="gray">
          <a:xfrm>
            <a:off x="10768493" y="255920"/>
            <a:ext cx="946032" cy="1333054"/>
            <a:chOff x="7769225" y="2105025"/>
            <a:chExt cx="695359" cy="1306516"/>
          </a:xfrm>
        </p:grpSpPr>
        <p:grpSp>
          <p:nvGrpSpPr>
            <p:cNvPr id="45" name="MoonLegend1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63" name="Oval 38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4" name="Arc 39" hidden="1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6" name="MoonLegend2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61" name="Oval 41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2" name="Arc 42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7" name="MoonLegend4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59" name="Oval 47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60" name="Arc 48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grpSp>
          <p:nvGrpSpPr>
            <p:cNvPr id="48" name="MoonLegend5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57" name="Oval 50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tx1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8" name="Oval 51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  <p:sp>
          <p:nvSpPr>
            <p:cNvPr id="49" name="Legend1"/>
            <p:cNvSpPr>
              <a:spLocks noChangeArrowheads="1"/>
            </p:cNvSpPr>
            <p:nvPr/>
          </p:nvSpPr>
          <p:spPr bwMode="gray">
            <a:xfrm>
              <a:off x="8089900" y="211772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0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1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2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53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374684" cy="18099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13429">
                <a:buClr>
                  <a:srgbClr val="00597E"/>
                </a:buClr>
              </a:pPr>
              <a:r>
                <a:rPr 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54" name="MoonLegend3"/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55" name="Oval 47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  <p:sp>
            <p:nvSpPr>
              <p:cNvPr id="56" name="Arc 48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defTabSz="914303"/>
                <a:endParaRPr lang="en-US">
                  <a:solidFill>
                    <a:srgbClr val="000000"/>
                  </a:solidFill>
                </a:endParaRPr>
              </a:p>
            </p:txBody>
          </p:sp>
        </p:grpSp>
      </p:grpSp>
      <p:sp>
        <p:nvSpPr>
          <p:cNvPr id="67" name="Slide Number"/>
          <p:cNvSpPr txBox="1">
            <a:spLocks/>
          </p:cNvSpPr>
          <p:nvPr/>
        </p:nvSpPr>
        <p:spPr>
          <a:xfrm>
            <a:off x="11801650" y="6615842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defTabSz="914303"/>
            <a:fld id="{42C328C1-A84F-4A39-A664-DBA00541A8C6}" type="slidenum">
              <a:rPr lang="en-US" smtClean="0">
                <a:solidFill>
                  <a:srgbClr val="000000"/>
                </a:solidFill>
              </a:rPr>
              <a:pPr algn="r" defTabSz="914303"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5" name="Text Placeholder 2"/>
          <p:cNvSpPr txBox="1">
            <a:spLocks/>
          </p:cNvSpPr>
          <p:nvPr/>
        </p:nvSpPr>
        <p:spPr>
          <a:xfrm>
            <a:off x="233260" y="6366671"/>
            <a:ext cx="11725299" cy="157014"/>
          </a:xfrm>
          <a:prstGeom prst="rect">
            <a:avLst/>
          </a:prstGeom>
        </p:spPr>
        <p:txBody>
          <a:bodyPr lIns="0" tIns="0" rIns="0" bIns="0" anchor="b" anchorCtr="0">
            <a:sp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sz="10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9750" indent="-53975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5000"/>
              <a:buFont typeface="Arial" charset="0"/>
              <a:buNone/>
              <a:tabLst>
                <a:tab pos="450850" algn="r"/>
              </a:tabLst>
              <a:defRPr sz="1000" baseline="0">
                <a:solidFill>
                  <a:schemeClr val="tx1"/>
                </a:solidFill>
                <a:latin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sz="1000" baseline="0">
                <a:solidFill>
                  <a:schemeClr val="tx1"/>
                </a:solidFill>
                <a:latin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▫"/>
              <a:defRPr sz="1000" baseline="0">
                <a:solidFill>
                  <a:schemeClr val="tx1"/>
                </a:solidFill>
                <a:latin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000" baseline="0">
                <a:solidFill>
                  <a:schemeClr val="tx1"/>
                </a:solidFill>
                <a:latin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lvl="1">
              <a:buClr>
                <a:srgbClr val="00597E"/>
              </a:buClr>
            </a:pPr>
            <a:r>
              <a:rPr lang="en-US" kern="0" dirty="0" smtClean="0">
                <a:solidFill>
                  <a:srgbClr val="000000"/>
                </a:solidFill>
              </a:rPr>
              <a:t>		</a:t>
            </a:r>
          </a:p>
        </p:txBody>
      </p:sp>
      <p:pic>
        <p:nvPicPr>
          <p:cNvPr id="66" name="Picture 73"/>
          <p:cNvPicPr>
            <a:picLocks noChangeAspect="1"/>
          </p:cNvPicPr>
          <p:nvPr/>
        </p:nvPicPr>
        <p:blipFill rotWithShape="1">
          <a:blip r:embed="rId2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 l="5004" t="11291" r="5432" b="11442"/>
          <a:stretch/>
        </p:blipFill>
        <p:spPr bwMode="gray">
          <a:xfrm>
            <a:off x="10704515" y="6476815"/>
            <a:ext cx="908196" cy="29447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893155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6" r:id="rId1"/>
    <p:sldLayoutId id="2147483687" r:id="rId2"/>
    <p:sldLayoutId id="2147483688" r:id="rId3"/>
    <p:sldLayoutId id="2147483690" r:id="rId4"/>
    <p:sldLayoutId id="2147483717" r:id="rId5"/>
  </p:sldLayoutIdLst>
  <p:timing>
    <p:tnLst>
      <p:par>
        <p:cTn id="1" dur="indefinite" restart="never" nodeType="tmRoot"/>
      </p:par>
    </p:tnLst>
  </p:timing>
  <p:txStyles>
    <p:titleStyle>
      <a:lvl1pPr algn="l" defTabSz="913429" rtl="0" eaLnBrk="1" fontAlgn="base" hangingPunct="1">
        <a:spcBef>
          <a:spcPct val="0"/>
        </a:spcBef>
        <a:spcAft>
          <a:spcPct val="0"/>
        </a:spcAft>
        <a:tabLst>
          <a:tab pos="275324" algn="l"/>
        </a:tabLst>
        <a:defRPr sz="2000" b="1" baseline="0">
          <a:solidFill>
            <a:schemeClr val="tx2"/>
          </a:solidFill>
          <a:latin typeface="+mj-lt"/>
          <a:ea typeface="+mj-ea"/>
          <a:cs typeface="Arial" panose="020B0604020202020204" pitchFamily="34" charset="0"/>
        </a:defRPr>
      </a:lvl1pPr>
      <a:lvl2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66431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32863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99295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65728" algn="l" defTabSz="913429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7586" indent="-19596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66431" indent="-267227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26768" indent="-158716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64947" indent="-132804" algn="l" defTabSz="913429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66431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3286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99295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65728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332159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98590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65022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731453" algn="l" defTabSz="93286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8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1.xml"/><Relationship Id="rId5" Type="http://schemas.openxmlformats.org/officeDocument/2006/relationships/diagramColors" Target="../diagrams/colors1.xml"/><Relationship Id="rId4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6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7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/>
          <p:cNvSpPr>
            <a:spLocks noGrp="1"/>
          </p:cNvSpPr>
          <p:nvPr>
            <p:ph type="body" sz="quarter" idx="10"/>
          </p:nvPr>
        </p:nvSpPr>
        <p:spPr>
          <a:xfrm>
            <a:off x="867509" y="3238500"/>
            <a:ext cx="10492154" cy="1837592"/>
          </a:xfrm>
        </p:spPr>
        <p:txBody>
          <a:bodyPr/>
          <a:lstStyle/>
          <a:p>
            <a:pPr algn="ctr"/>
            <a:r>
              <a:rPr lang="en-US" dirty="0" smtClean="0"/>
              <a:t> </a:t>
            </a:r>
            <a:r>
              <a:rPr lang="en-US" sz="2800" dirty="0" smtClean="0"/>
              <a:t>Dr. Talhiya Yahya</a:t>
            </a:r>
          </a:p>
          <a:p>
            <a:pPr algn="ctr"/>
            <a:r>
              <a:rPr lang="en-US" sz="2800" dirty="0" smtClean="0"/>
              <a:t>Co-</a:t>
            </a:r>
            <a:r>
              <a:rPr lang="en-US" sz="2800" dirty="0" err="1" smtClean="0"/>
              <a:t>ordinator</a:t>
            </a:r>
            <a:r>
              <a:rPr lang="en-US" sz="2800" dirty="0" smtClean="0"/>
              <a:t> BRN star rating assessment of PHC-Facilities</a:t>
            </a:r>
          </a:p>
          <a:p>
            <a:pPr algn="ctr"/>
            <a:r>
              <a:rPr lang="en-US" sz="2800" dirty="0" smtClean="0"/>
              <a:t>HSIQAS-MOHSW </a:t>
            </a:r>
          </a:p>
          <a:p>
            <a:pPr algn="ctr"/>
            <a:r>
              <a:rPr lang="en-US" sz="2800" dirty="0" smtClean="0"/>
              <a:t>4/2/2015</a:t>
            </a:r>
            <a:endParaRPr lang="en-US" sz="28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33263" y="234864"/>
            <a:ext cx="11725484" cy="2154436"/>
          </a:xfrm>
        </p:spPr>
        <p:txBody>
          <a:bodyPr/>
          <a:lstStyle/>
          <a:p>
            <a:pPr algn="ctr"/>
            <a:r>
              <a:rPr lang="en-US" sz="2800" dirty="0" smtClean="0"/>
              <a:t>      </a:t>
            </a:r>
            <a:br>
              <a:rPr lang="en-US" sz="2800" dirty="0" smtClean="0"/>
            </a:br>
            <a:r>
              <a:rPr lang="en-US" sz="2800" dirty="0"/>
              <a:t/>
            </a:r>
            <a:br>
              <a:rPr lang="en-US" sz="2800" dirty="0"/>
            </a:br>
            <a:r>
              <a:rPr lang="en-US" sz="2800" dirty="0" smtClean="0"/>
              <a:t/>
            </a:r>
            <a:br>
              <a:rPr lang="en-US" sz="2800" dirty="0" smtClean="0"/>
            </a:br>
            <a:r>
              <a:rPr lang="en-US" sz="2800" dirty="0" smtClean="0"/>
              <a:t> PROGRESS ON BRN IMPLEMENTATION OF STAR RATING OF PRIMARY HEALTH FACILITIES</a:t>
            </a:r>
            <a:endParaRPr lang="en-US" sz="2800" dirty="0"/>
          </a:p>
        </p:txBody>
      </p:sp>
    </p:spTree>
    <p:extLst>
      <p:ext uri="{BB962C8B-B14F-4D97-AF65-F5344CB8AC3E}">
        <p14:creationId xmlns:p14="http://schemas.microsoft.com/office/powerpoint/2010/main" val="11687670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ING THE REGIONS, COUNCILS AND HEALTH </a:t>
            </a:r>
            <a:r>
              <a:rPr lang="en-US" dirty="0" smtClean="0"/>
              <a:t>FACILITIES (2/3)</a:t>
            </a:r>
            <a:endParaRPr lang="sw-K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1611" y="621100"/>
            <a:ext cx="11887201" cy="6196509"/>
          </a:xfrm>
        </p:spPr>
        <p:txBody>
          <a:bodyPr>
            <a:normAutofit/>
          </a:bodyPr>
          <a:lstStyle/>
          <a:p>
            <a:r>
              <a:rPr lang="en-US" sz="2800" dirty="0" smtClean="0"/>
              <a:t>National assessors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MOHSW- HQAD, DCS, PHAB, DPP, PPP, DPS, Social welfare, NHLQATC</a:t>
            </a:r>
          </a:p>
          <a:p>
            <a:endParaRPr lang="en-US" sz="2400" dirty="0" smtClean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PUBLIC HOSPITALS - MUHAS, OCEAN </a:t>
            </a:r>
            <a:r>
              <a:rPr lang="en-US" sz="2400" dirty="0"/>
              <a:t>ROAD </a:t>
            </a:r>
            <a:r>
              <a:rPr lang="en-US" sz="2400" dirty="0" smtClean="0"/>
              <a:t>HOSPITAL, LUGALO HOSPITAL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400" dirty="0" smtClean="0"/>
              <a:t>PARTNERS – JHPIEGO, APHFTA, THPS, EGPAF, PATHFINDER, CDC, IHI, GIZ</a:t>
            </a:r>
            <a:r>
              <a:rPr lang="en-US" sz="2400" dirty="0" smtClean="0">
                <a:solidFill>
                  <a:srgbClr val="00B0F0"/>
                </a:solidFill>
              </a:rPr>
              <a:t>, </a:t>
            </a:r>
            <a:r>
              <a:rPr lang="en-US" sz="2400" dirty="0" smtClean="0"/>
              <a:t>CSSC,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  <a:p>
            <a:r>
              <a:rPr lang="en-US" sz="3200" dirty="0" smtClean="0"/>
              <a:t>Local Government Assessor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200" dirty="0" smtClean="0"/>
              <a:t>1104 assessors to be identified from the council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en-US" sz="3200" dirty="0" smtClean="0"/>
              <a:t> Health care personnel from public and private facilities</a:t>
            </a:r>
            <a:endParaRPr lang="en-US" sz="2800" dirty="0" smtClean="0"/>
          </a:p>
          <a:p>
            <a:endParaRPr lang="en-US" sz="2400" dirty="0" smtClean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/>
          </a:p>
          <a:p>
            <a:endParaRPr lang="en-US" sz="2400" dirty="0" smtClean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FD3C619-EE2F-49A5-AE39-B2248B06A468}" type="slidenum">
              <a:rPr lang="en-US" altLang="en-US" smtClean="0"/>
              <a:pPr>
                <a:defRPr/>
              </a:pPr>
              <a:t>10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839283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REACHING THE REGIONS, COUNCILS AND HEALTH FACILITIES (3/3)</a:t>
            </a:r>
            <a:endParaRPr lang="sw-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>
          <a:xfrm>
            <a:off x="9347564" y="5973269"/>
            <a:ext cx="2844441" cy="364442"/>
          </a:xfrm>
        </p:spPr>
        <p:txBody>
          <a:bodyPr/>
          <a:lstStyle/>
          <a:p>
            <a:pPr>
              <a:defRPr/>
            </a:pPr>
            <a:fld id="{3FD3C619-EE2F-49A5-AE39-B2248B06A468}" type="slidenum">
              <a:rPr lang="en-US" altLang="en-US" smtClean="0"/>
              <a:pPr>
                <a:defRPr/>
              </a:pPr>
              <a:t>11</a:t>
            </a:fld>
            <a:endParaRPr lang="en-US" altLang="en-US"/>
          </a:p>
        </p:txBody>
      </p:sp>
      <p:graphicFrame>
        <p:nvGraphicFramePr>
          <p:cNvPr id="7" name="Table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4346261"/>
              </p:ext>
            </p:extLst>
          </p:nvPr>
        </p:nvGraphicFramePr>
        <p:xfrm>
          <a:off x="494672" y="719526"/>
          <a:ext cx="11242626" cy="5657828"/>
        </p:xfrm>
        <a:graphic>
          <a:graphicData uri="http://schemas.openxmlformats.org/drawingml/2006/table">
            <a:tbl>
              <a:tblPr firstRow="1" firstCol="1" bandRow="1"/>
              <a:tblGrid>
                <a:gridCol w="2053655"/>
                <a:gridCol w="944380"/>
                <a:gridCol w="1858781"/>
                <a:gridCol w="4101211"/>
                <a:gridCol w="2284599"/>
              </a:tblGrid>
              <a:tr h="809471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ION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LGAs</a:t>
                      </a:r>
                      <a:endParaRPr lang="sw-K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ATIONAL ASSESSORS</a:t>
                      </a:r>
                      <a:endParaRPr lang="sw-K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AMS ON THE DISTRICT LEVEL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SSESSORS PER</a:t>
                      </a:r>
                      <a:r>
                        <a:rPr lang="sw-KE" sz="28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REGION </a:t>
                      </a:r>
                      <a:endParaRPr lang="sw-K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795480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RUSHA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b="1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CITY &amp; </a:t>
                      </a: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ERU 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sw-KE" sz="28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AMS</a:t>
                      </a:r>
                      <a:r>
                        <a:rPr lang="sw-KE" sz="28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EACH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)</a:t>
                      </a:r>
                      <a:endParaRPr lang="sw-K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6735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DODOM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 (DODOMA 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MC -2</a:t>
                      </a:r>
                      <a:r>
                        <a:rPr lang="sw-KE" sz="2800" baseline="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AMS)</a:t>
                      </a:r>
                      <a:endParaRPr lang="sw-K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202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MEKE</a:t>
                      </a:r>
                      <a:endParaRPr lang="sw-K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sw-KE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endParaRPr lang="sw-K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57202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LAL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sw-KE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sw-K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7789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INONDONI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b="1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sw-KE" sz="28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endParaRPr lang="sw-KE" sz="28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0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0774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GEIT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sw-KE" sz="28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endParaRPr lang="sw-KE" sz="28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4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3799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IRINGA 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sw-KE" sz="28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  <a:endParaRPr lang="sw-KE" sz="28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96803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GER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sw-KE" sz="28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8</a:t>
                      </a:r>
                      <a:endParaRPr lang="sw-KE" sz="28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8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04798">
                <a:tc>
                  <a:txBody>
                    <a:bodyPr/>
                    <a:lstStyle/>
                    <a:p>
                      <a:pPr marL="0" marR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ATAVI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 </a:t>
                      </a:r>
                      <a:r>
                        <a:rPr lang="sw-KE" sz="28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endParaRPr lang="sw-KE" sz="28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76224"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KIGOMA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7 </a:t>
                      </a:r>
                      <a:r>
                        <a:rPr lang="sw-KE" sz="28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(KIBONDO</a:t>
                      </a:r>
                      <a:r>
                        <a:rPr lang="sw-KE" sz="2800" kern="1200" baseline="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-2 </a:t>
                      </a:r>
                      <a:r>
                        <a:rPr lang="sw-KE" sz="2800" dirty="0" smtClean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TEAMS)</a:t>
                      </a:r>
                      <a:r>
                        <a:rPr lang="sw-KE" sz="2800" kern="1200" dirty="0" smtClean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endParaRPr lang="sw-KE" sz="2800" kern="12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l" defTabSz="914400" rtl="0" eaLnBrk="1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sw-KE" sz="2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2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718146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 &amp; E AND MONITORING INDICATORS</a:t>
            </a:r>
            <a:endParaRPr lang="sw-K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203219" y="734525"/>
            <a:ext cx="11785599" cy="6505731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Supportive supervision will be done quarterly by the CHMT to oversee QIP </a:t>
            </a:r>
          </a:p>
          <a:p>
            <a:pPr marL="1143000" lvl="1" indent="-457200">
              <a:buFont typeface="Wingdings" panose="05000000000000000000" pitchFamily="2" charset="2"/>
              <a:buChar char="ü"/>
            </a:pPr>
            <a:r>
              <a:rPr lang="en-US" sz="2800" dirty="0"/>
              <a:t> </a:t>
            </a:r>
            <a:r>
              <a:rPr lang="en-US" sz="2800" dirty="0" smtClean="0"/>
              <a:t>Reports to be sent to higher level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/>
              <a:t>Star rating re-assessment triggered by CHMT based on QIP progress and self assessments. </a:t>
            </a:r>
            <a:endParaRPr lang="en-US" sz="2800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Star rating re-assessment after one year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Indicators </a:t>
            </a:r>
          </a:p>
          <a:p>
            <a:pPr marL="1143000" lvl="1" indent="-457200">
              <a:buFont typeface="Wingdings" panose="05000000000000000000" pitchFamily="2" charset="2"/>
              <a:buChar char="ü"/>
            </a:pPr>
            <a:r>
              <a:rPr lang="en-US" sz="2800" smtClean="0"/>
              <a:t>Number(and %) </a:t>
            </a:r>
            <a:r>
              <a:rPr lang="en-US" sz="2800" dirty="0" smtClean="0"/>
              <a:t>of health facilities assessed and star rated</a:t>
            </a:r>
          </a:p>
          <a:p>
            <a:pPr marL="1143000" lvl="1" indent="-457200">
              <a:buFont typeface="Wingdings" panose="05000000000000000000" pitchFamily="2" charset="2"/>
              <a:buChar char="ü"/>
            </a:pPr>
            <a:r>
              <a:rPr lang="en-US" sz="2800" dirty="0" smtClean="0"/>
              <a:t>Number(and %) of facility specific QIPs developed</a:t>
            </a:r>
          </a:p>
          <a:p>
            <a:pPr marL="1143000" lvl="1" indent="-457200">
              <a:buFont typeface="Wingdings" panose="05000000000000000000" pitchFamily="2" charset="2"/>
              <a:buChar char="ü"/>
            </a:pPr>
            <a:r>
              <a:rPr lang="en-US" sz="2800" dirty="0" smtClean="0"/>
              <a:t>Number(and %) of facilities which have done quarterly self assessment </a:t>
            </a:r>
          </a:p>
          <a:p>
            <a:pPr marL="1143000" lvl="1" indent="-457200">
              <a:buFont typeface="Wingdings" panose="05000000000000000000" pitchFamily="2" charset="2"/>
              <a:buChar char="ü"/>
            </a:pPr>
            <a:r>
              <a:rPr lang="en-US" sz="2800" dirty="0" smtClean="0"/>
              <a:t>Number(and %) of councils which have incorporated QIPs into the CCHP</a:t>
            </a:r>
          </a:p>
          <a:p>
            <a:pPr lvl="1" indent="0">
              <a:buNone/>
            </a:pPr>
            <a:endParaRPr lang="en-US" sz="2800" dirty="0" smtClean="0"/>
          </a:p>
          <a:p>
            <a:pPr marL="1143000" lvl="1" indent="-457200">
              <a:buFont typeface="Wingdings" panose="05000000000000000000" pitchFamily="2" charset="2"/>
              <a:buChar char="ü"/>
            </a:pPr>
            <a:endParaRPr lang="en-US" sz="2800" dirty="0" smtClean="0"/>
          </a:p>
          <a:p>
            <a:pPr marL="1143000" lvl="1" indent="-457200">
              <a:buFont typeface="Wingdings" panose="05000000000000000000" pitchFamily="2" charset="2"/>
              <a:buChar char="ü"/>
            </a:pPr>
            <a:endParaRPr lang="en-US" sz="2800" dirty="0" smtClean="0"/>
          </a:p>
          <a:p>
            <a:pPr marL="1143000" lvl="1" indent="-457200">
              <a:buFont typeface="Wingdings" panose="05000000000000000000" pitchFamily="2" charset="2"/>
              <a:buChar char="ü"/>
            </a:pPr>
            <a:endParaRPr lang="sw-KE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FD3C619-EE2F-49A5-AE39-B2248B06A468}" type="slidenum">
              <a:rPr lang="en-US" altLang="en-US" smtClean="0"/>
              <a:pPr>
                <a:defRPr/>
              </a:pPr>
              <a:t>12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87650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3219" y="92453"/>
            <a:ext cx="11785599" cy="468693"/>
          </a:xfrm>
        </p:spPr>
        <p:txBody>
          <a:bodyPr/>
          <a:lstStyle/>
          <a:p>
            <a:r>
              <a:rPr lang="en-US" dirty="0" smtClean="0"/>
              <a:t>BUDGET FOR ASSESSMENT OF THE WHOLE COUNTRY</a:t>
            </a:r>
            <a:endParaRPr lang="sw-K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w-KE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FD3C619-EE2F-49A5-AE39-B2248B06A468}" type="slidenum">
              <a:rPr lang="en-US" altLang="en-US" smtClean="0"/>
              <a:pPr>
                <a:defRPr/>
              </a:pPr>
              <a:t>13</a:t>
            </a:fld>
            <a:endParaRPr lang="en-US" altLang="en-US"/>
          </a:p>
        </p:txBody>
      </p:sp>
      <p:graphicFrame>
        <p:nvGraphicFramePr>
          <p:cNvPr id="8" name="Table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2794270"/>
              </p:ext>
            </p:extLst>
          </p:nvPr>
        </p:nvGraphicFramePr>
        <p:xfrm>
          <a:off x="539262" y="855784"/>
          <a:ext cx="9632539" cy="556136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064369"/>
                <a:gridCol w="4568170"/>
              </a:tblGrid>
              <a:tr h="562708">
                <a:tc>
                  <a:txBody>
                    <a:bodyPr/>
                    <a:lstStyle/>
                    <a:p>
                      <a:r>
                        <a:rPr lang="en-US" sz="2800" dirty="0" smtClean="0">
                          <a:solidFill>
                            <a:schemeClr val="tx1"/>
                          </a:solidFill>
                        </a:rPr>
                        <a:t>ACTIVITIES</a:t>
                      </a:r>
                      <a:endParaRPr lang="sw-KE" sz="2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n-US" sz="2800" dirty="0" smtClean="0">
                          <a:solidFill>
                            <a:schemeClr val="tx1"/>
                          </a:solidFill>
                        </a:rPr>
                        <a:t>TSHS</a:t>
                      </a:r>
                      <a:endParaRPr lang="sw-KE" sz="280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tx2">
                        <a:lumMod val="40000"/>
                        <a:lumOff val="60000"/>
                      </a:schemeClr>
                    </a:solidFill>
                  </a:tcPr>
                </a:tc>
              </a:tr>
              <a:tr h="674843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DEVELOPMENT</a:t>
                      </a:r>
                      <a:r>
                        <a:rPr lang="en-US" sz="2400" baseline="0" dirty="0" smtClean="0"/>
                        <a:t> OF DATABASE</a:t>
                      </a:r>
                      <a:endParaRPr lang="sw-KE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5" algn="r"/>
                      <a:r>
                        <a:rPr lang="sw-KE" sz="2400" dirty="0" smtClean="0"/>
                        <a:t>186,100,000</a:t>
                      </a:r>
                      <a:endParaRPr lang="sw-KE" sz="2400" dirty="0"/>
                    </a:p>
                  </a:txBody>
                  <a:tcPr/>
                </a:tc>
              </a:tr>
              <a:tr h="674843">
                <a:tc>
                  <a:txBody>
                    <a:bodyPr/>
                    <a:lstStyle/>
                    <a:p>
                      <a:r>
                        <a:rPr lang="sw-KE" sz="2400" dirty="0" smtClean="0"/>
                        <a:t>TABLETS</a:t>
                      </a:r>
                      <a:r>
                        <a:rPr lang="sw-KE" sz="2400" baseline="0" dirty="0" smtClean="0"/>
                        <a:t> FOR DATA COLLECTION</a:t>
                      </a:r>
                      <a:endParaRPr lang="sw-KE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5" algn="r"/>
                      <a:r>
                        <a:rPr lang="sw-KE" sz="2400" dirty="0" smtClean="0"/>
                        <a:t>288,000,000</a:t>
                      </a:r>
                      <a:endParaRPr lang="sw-KE" sz="2400" dirty="0"/>
                    </a:p>
                  </a:txBody>
                  <a:tcPr/>
                </a:tc>
              </a:tr>
              <a:tr h="952320">
                <a:tc>
                  <a:txBody>
                    <a:bodyPr/>
                    <a:lstStyle/>
                    <a:p>
                      <a:pPr marL="0" marR="0" indent="0" algn="l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TRAINING</a:t>
                      </a:r>
                      <a:r>
                        <a:rPr lang="en-US" sz="2400" baseline="0" dirty="0" smtClean="0"/>
                        <a:t> OF 160 NATIONAL ASSESSORS</a:t>
                      </a:r>
                      <a:endParaRPr lang="sw-KE" sz="2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5" indent="0" algn="r" defTabSz="93286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dirty="0" smtClean="0"/>
                        <a:t>126,514,000</a:t>
                      </a:r>
                      <a:endParaRPr lang="sw-KE" sz="2400" dirty="0" smtClean="0"/>
                    </a:p>
                    <a:p>
                      <a:pPr algn="r" fontAlgn="b"/>
                      <a:r>
                        <a:rPr lang="en-US" sz="14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                                                                                                     </a:t>
                      </a:r>
                      <a:endParaRPr lang="en-US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</a:txBody>
                  <a:tcPr marL="0" marR="0" marT="0" marB="0" anchor="b"/>
                </a:tc>
              </a:tr>
              <a:tr h="749946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TRAINING</a:t>
                      </a:r>
                      <a:r>
                        <a:rPr lang="en-US" sz="2400" baseline="0" dirty="0" smtClean="0"/>
                        <a:t> OF 1104 ASSESSORS</a:t>
                      </a:r>
                      <a:endParaRPr lang="sw-KE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5" algn="r"/>
                      <a:r>
                        <a:rPr lang="en-US" sz="2400" dirty="0" smtClean="0"/>
                        <a:t>1,271,061,660</a:t>
                      </a:r>
                      <a:endParaRPr lang="sw-KE" sz="2400" dirty="0"/>
                    </a:p>
                  </a:txBody>
                  <a:tcPr/>
                </a:tc>
              </a:tr>
              <a:tr h="613688">
                <a:tc>
                  <a:txBody>
                    <a:bodyPr/>
                    <a:lstStyle/>
                    <a:p>
                      <a:r>
                        <a:rPr lang="sw-KE" sz="2400" dirty="0" smtClean="0"/>
                        <a:t>CHMT AND RHMT</a:t>
                      </a:r>
                      <a:r>
                        <a:rPr lang="sw-KE" sz="2400" baseline="0" dirty="0" smtClean="0"/>
                        <a:t> (escorting assessment teams)</a:t>
                      </a:r>
                      <a:endParaRPr lang="sw-KE" sz="24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332159" marR="0" lvl="5" indent="0" algn="r" defTabSz="93286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800" b="0" i="0" u="none" strike="noStrike" dirty="0" smtClean="0">
                          <a:solidFill>
                            <a:srgbClr val="000000"/>
                          </a:solidFill>
                          <a:effectLst/>
                          <a:latin typeface="Calibri"/>
                        </a:rPr>
                        <a:t>535,500,000</a:t>
                      </a:r>
                      <a:endParaRPr lang="en-US" sz="1400" b="0" i="0" u="none" strike="noStrike" dirty="0" smtClean="0">
                        <a:solidFill>
                          <a:srgbClr val="000000"/>
                        </a:solidFill>
                        <a:effectLst/>
                        <a:latin typeface="Calibri"/>
                      </a:endParaRPr>
                    </a:p>
                    <a:p>
                      <a:pPr lvl="5" algn="r"/>
                      <a:endParaRPr lang="sw-KE" sz="2400" dirty="0"/>
                    </a:p>
                  </a:txBody>
                  <a:tcPr/>
                </a:tc>
              </a:tr>
              <a:tr h="0">
                <a:tc>
                  <a:txBody>
                    <a:bodyPr/>
                    <a:lstStyle/>
                    <a:p>
                      <a:r>
                        <a:rPr lang="en-US" sz="2400" dirty="0" smtClean="0"/>
                        <a:t>ASSESSMENT</a:t>
                      </a:r>
                      <a:endParaRPr lang="sw-KE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5" algn="r"/>
                      <a:r>
                        <a:rPr lang="sw-KE" sz="2400" dirty="0" smtClean="0"/>
                        <a:t>3,649,904,700</a:t>
                      </a:r>
                      <a:endParaRPr lang="sw-KE" sz="2400" dirty="0"/>
                    </a:p>
                  </a:txBody>
                  <a:tcPr/>
                </a:tc>
              </a:tr>
              <a:tr h="457467">
                <a:tc>
                  <a:txBody>
                    <a:bodyPr/>
                    <a:lstStyle/>
                    <a:p>
                      <a:r>
                        <a:rPr lang="en-US" sz="2400" b="1" dirty="0" smtClean="0"/>
                        <a:t>TOTAL </a:t>
                      </a:r>
                      <a:endParaRPr lang="sw-KE" sz="2400" b="1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lvl="5" algn="r"/>
                      <a:r>
                        <a:rPr lang="en-US" sz="2400" b="1" dirty="0" smtClean="0"/>
                        <a:t>6,057,080,360</a:t>
                      </a:r>
                      <a:endParaRPr lang="sw-KE" sz="2400" b="1" dirty="0"/>
                    </a:p>
                  </a:txBody>
                  <a:tcPr>
                    <a:solidFill>
                      <a:schemeClr val="tx2">
                        <a:lumMod val="60000"/>
                        <a:lumOff val="40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36024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HALLENGES</a:t>
            </a:r>
            <a:endParaRPr lang="sw-K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359764" y="944380"/>
            <a:ext cx="11629037" cy="5897424"/>
          </a:xfrm>
        </p:spPr>
        <p:txBody>
          <a:bodyPr>
            <a:normAutofit lnSpcReduction="10000"/>
          </a:bodyPr>
          <a:lstStyle/>
          <a:p>
            <a:pPr marL="457200" lvl="5" indent="-457200">
              <a:spcBef>
                <a:spcPts val="1000"/>
              </a:spcBef>
            </a:pPr>
            <a:r>
              <a:rPr lang="en-US" sz="3600" dirty="0" smtClean="0"/>
              <a:t>Availability of adequate funding to implement BIG BANG (</a:t>
            </a:r>
            <a:r>
              <a:rPr lang="en-US" sz="3200" b="1" dirty="0" smtClean="0"/>
              <a:t>5,582,980,360)</a:t>
            </a:r>
          </a:p>
          <a:p>
            <a:pPr marL="914400" lvl="6" indent="-457200">
              <a:spcBef>
                <a:spcPts val="1000"/>
              </a:spcBef>
              <a:buFont typeface="Wingdings" panose="05000000000000000000" pitchFamily="2" charset="2"/>
              <a:buChar char="ü"/>
            </a:pPr>
            <a:r>
              <a:rPr lang="en-US" sz="3200" dirty="0" smtClean="0"/>
              <a:t>So far available funding is 1.67 billion in the PMO- RALG, BHSP account earmarked for capacity building in all 167 LGAs ( 10 million per LGA )</a:t>
            </a:r>
          </a:p>
          <a:p>
            <a:pPr marL="914400" lvl="6" indent="-457200">
              <a:spcBef>
                <a:spcPts val="1000"/>
              </a:spcBef>
            </a:pPr>
            <a:endParaRPr lang="sw-KE" sz="3200" b="1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3600" dirty="0" smtClean="0"/>
              <a:t>Database development</a:t>
            </a:r>
          </a:p>
          <a:p>
            <a:pPr marL="1198268" lvl="3" indent="-571500">
              <a:lnSpc>
                <a:spcPct val="110000"/>
              </a:lnSpc>
              <a:buFont typeface="Wingdings" pitchFamily="2" charset="2"/>
              <a:buChar char="ü"/>
            </a:pPr>
            <a:r>
              <a:rPr lang="en-US" sz="3396" dirty="0"/>
              <a:t>DHIS Interfacing with star-rating and quality indicators database </a:t>
            </a:r>
          </a:p>
          <a:p>
            <a:pPr>
              <a:lnSpc>
                <a:spcPct val="110000"/>
              </a:lnSpc>
            </a:pPr>
            <a:endParaRPr lang="en-US" sz="3600" dirty="0" smtClean="0"/>
          </a:p>
          <a:p>
            <a:pPr marL="1143000" lvl="1" indent="-457200">
              <a:lnSpc>
                <a:spcPct val="110000"/>
              </a:lnSpc>
              <a:buFont typeface="Wingdings" panose="05000000000000000000" pitchFamily="2" charset="2"/>
              <a:buChar char="ü"/>
            </a:pPr>
            <a:r>
              <a:rPr lang="en-US" sz="3600" dirty="0" smtClean="0"/>
              <a:t>Needs funding, time is not with us</a:t>
            </a:r>
            <a:endParaRPr lang="sw-KE" sz="36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FD3C619-EE2F-49A5-AE39-B2248B06A468}" type="slidenum">
              <a:rPr lang="en-US" altLang="en-US" smtClean="0"/>
              <a:pPr>
                <a:defRPr/>
              </a:pPr>
              <a:t>14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0385165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US" dirty="0" smtClean="0"/>
              <a:t>WAY FORWARD</a:t>
            </a:r>
            <a:endParaRPr lang="sw-K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1611" y="1049314"/>
            <a:ext cx="11887201" cy="5768293"/>
          </a:xfrm>
        </p:spPr>
        <p:txBody>
          <a:bodyPr>
            <a:normAutofit/>
          </a:bodyPr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US" sz="2800" dirty="0" smtClean="0"/>
              <a:t>DPs and implementing partners support  to leverage the costs for Big Bang</a:t>
            </a:r>
          </a:p>
          <a:p>
            <a:endParaRPr lang="en-US" sz="2800" dirty="0" smtClean="0"/>
          </a:p>
        </p:txBody>
      </p:sp>
    </p:spTree>
    <p:extLst>
      <p:ext uri="{BB962C8B-B14F-4D97-AF65-F5344CB8AC3E}">
        <p14:creationId xmlns:p14="http://schemas.microsoft.com/office/powerpoint/2010/main" val="171577793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1600" y="959371"/>
            <a:ext cx="11260944" cy="5858234"/>
          </a:xfrm>
        </p:spPr>
        <p:txBody>
          <a:bodyPr anchor="ctr">
            <a:normAutofit/>
          </a:bodyPr>
          <a:lstStyle/>
          <a:p>
            <a:pPr algn="ctr"/>
            <a:r>
              <a:rPr lang="en-US" sz="4400" dirty="0" smtClean="0"/>
              <a:t>THANK YOU FOR LISTENING</a:t>
            </a:r>
          </a:p>
          <a:p>
            <a:endParaRPr lang="en-US" sz="44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FD3C619-EE2F-49A5-AE39-B2248B06A468}" type="slidenum">
              <a:rPr lang="en-US" altLang="en-US" smtClean="0"/>
              <a:pPr>
                <a:defRPr/>
              </a:pPr>
              <a:t>16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844719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261" y="234865"/>
            <a:ext cx="8597259" cy="307777"/>
          </a:xfrm>
        </p:spPr>
        <p:txBody>
          <a:bodyPr/>
          <a:lstStyle/>
          <a:p>
            <a:r>
              <a:rPr lang="en-GB" dirty="0" smtClean="0"/>
              <a:t>Background to  BRN:</a:t>
            </a:r>
            <a:endParaRPr lang="en-GB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4158007324"/>
              </p:ext>
            </p:extLst>
          </p:nvPr>
        </p:nvGraphicFramePr>
        <p:xfrm>
          <a:off x="233261" y="827313"/>
          <a:ext cx="11612296" cy="285945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4" name="Group 3"/>
          <p:cNvGrpSpPr/>
          <p:nvPr/>
        </p:nvGrpSpPr>
        <p:grpSpPr>
          <a:xfrm>
            <a:off x="8964135" y="116644"/>
            <a:ext cx="3084528" cy="506181"/>
            <a:chOff x="6723100" y="116632"/>
            <a:chExt cx="2313396" cy="506181"/>
          </a:xfrm>
        </p:grpSpPr>
        <p:sp>
          <p:nvSpPr>
            <p:cNvPr id="5" name="Rectangle 4"/>
            <p:cNvSpPr/>
            <p:nvPr/>
          </p:nvSpPr>
          <p:spPr>
            <a:xfrm>
              <a:off x="7602936" y="119101"/>
              <a:ext cx="576064" cy="251856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000000"/>
                  </a:solidFill>
                </a:rPr>
                <a:t>Sol A</a:t>
              </a:r>
            </a:p>
          </p:txBody>
        </p:sp>
        <p:sp>
          <p:nvSpPr>
            <p:cNvPr id="6" name="Rectangle 5"/>
            <p:cNvSpPr/>
            <p:nvPr/>
          </p:nvSpPr>
          <p:spPr>
            <a:xfrm>
              <a:off x="7602936" y="370957"/>
              <a:ext cx="576064" cy="251856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000000"/>
                  </a:solidFill>
                </a:rPr>
                <a:t>Sol B</a:t>
              </a:r>
            </a:p>
          </p:txBody>
        </p:sp>
        <p:grpSp>
          <p:nvGrpSpPr>
            <p:cNvPr id="7" name="Group 6"/>
            <p:cNvGrpSpPr/>
            <p:nvPr/>
          </p:nvGrpSpPr>
          <p:grpSpPr>
            <a:xfrm>
              <a:off x="6723100" y="116632"/>
              <a:ext cx="2313396" cy="506181"/>
              <a:chOff x="6723100" y="116632"/>
              <a:chExt cx="2313396" cy="506181"/>
            </a:xfrm>
          </p:grpSpPr>
          <p:sp>
            <p:nvSpPr>
              <p:cNvPr id="8" name="Rectangle 7"/>
              <p:cNvSpPr/>
              <p:nvPr/>
            </p:nvSpPr>
            <p:spPr>
              <a:xfrm>
                <a:off x="6723100" y="119045"/>
                <a:ext cx="576064" cy="50376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r>
                  <a:rPr lang="en-GB" sz="1000" dirty="0">
                    <a:solidFill>
                      <a:srgbClr val="FFFFFF"/>
                    </a:solidFill>
                  </a:rPr>
                  <a:t>issues</a:t>
                </a:r>
              </a:p>
            </p:txBody>
          </p:sp>
          <p:sp>
            <p:nvSpPr>
              <p:cNvPr id="9" name="Rectangle 8"/>
              <p:cNvSpPr/>
              <p:nvPr/>
            </p:nvSpPr>
            <p:spPr>
              <a:xfrm>
                <a:off x="8460432" y="119101"/>
                <a:ext cx="576064" cy="2518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r>
                  <a:rPr lang="en-GB" sz="1000" dirty="0">
                    <a:solidFill>
                      <a:srgbClr val="FFFFFF"/>
                    </a:solidFill>
                  </a:rPr>
                  <a:t>Imp A</a:t>
                </a:r>
              </a:p>
            </p:txBody>
          </p:sp>
          <p:sp>
            <p:nvSpPr>
              <p:cNvPr id="10" name="Isosceles Triangle 9"/>
              <p:cNvSpPr/>
              <p:nvPr/>
            </p:nvSpPr>
            <p:spPr>
              <a:xfrm rot="5400000">
                <a:off x="7213095" y="325253"/>
                <a:ext cx="498251" cy="8100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1" name="Isosceles Triangle 10"/>
              <p:cNvSpPr/>
              <p:nvPr/>
            </p:nvSpPr>
            <p:spPr>
              <a:xfrm rot="5400000">
                <a:off x="8070591" y="327665"/>
                <a:ext cx="498249" cy="8100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12" name="Rectangle 11"/>
              <p:cNvSpPr/>
              <p:nvPr/>
            </p:nvSpPr>
            <p:spPr>
              <a:xfrm>
                <a:off x="8460432" y="370957"/>
                <a:ext cx="576064" cy="2518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r>
                  <a:rPr lang="en-GB" sz="1000" dirty="0">
                    <a:solidFill>
                      <a:srgbClr val="FFFFFF"/>
                    </a:solidFill>
                  </a:rPr>
                  <a:t>Imp B</a:t>
                </a:r>
              </a:p>
            </p:txBody>
          </p:sp>
        </p:grpSp>
      </p:grpSp>
      <p:sp>
        <p:nvSpPr>
          <p:cNvPr id="13" name="Rectangle 12"/>
          <p:cNvSpPr/>
          <p:nvPr/>
        </p:nvSpPr>
        <p:spPr>
          <a:xfrm>
            <a:off x="233275" y="2106311"/>
            <a:ext cx="1958799" cy="458594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defTabSz="914303"/>
            <a:r>
              <a:rPr lang="en-GB" b="1" dirty="0">
                <a:solidFill>
                  <a:srgbClr val="000000"/>
                </a:solidFill>
              </a:rPr>
              <a:t>Solution A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886779" y="2106311"/>
            <a:ext cx="1958799" cy="458594"/>
          </a:xfrm>
          <a:prstGeom prst="rect">
            <a:avLst/>
          </a:prstGeom>
          <a:solidFill>
            <a:srgbClr val="92D05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defTabSz="914303"/>
            <a:r>
              <a:rPr lang="en-GB" b="1" dirty="0">
                <a:solidFill>
                  <a:srgbClr val="000000"/>
                </a:solidFill>
              </a:rPr>
              <a:t>Solution B</a:t>
            </a:r>
          </a:p>
        </p:txBody>
      </p:sp>
      <p:sp>
        <p:nvSpPr>
          <p:cNvPr id="15" name="Rectangle 14"/>
          <p:cNvSpPr/>
          <p:nvPr/>
        </p:nvSpPr>
        <p:spPr>
          <a:xfrm>
            <a:off x="6191251" y="3834052"/>
            <a:ext cx="5654328" cy="1323431"/>
          </a:xfrm>
          <a:prstGeom prst="rect">
            <a:avLst/>
          </a:prstGeom>
          <a:solidFill>
            <a:schemeClr val="accent1"/>
          </a:solidFill>
          <a:effectLst>
            <a:innerShdw blurRad="114300">
              <a:prstClr val="black"/>
            </a:innerShdw>
          </a:effectLst>
        </p:spPr>
        <p:txBody>
          <a:bodyPr wrap="square" lIns="91430" tIns="45716" rIns="91430" bIns="45716">
            <a:spAutoFit/>
          </a:bodyPr>
          <a:lstStyle/>
          <a:p>
            <a:pPr marL="285720" indent="-285720" defTabSz="914303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solutions that are independent on the assessment of health facilities and can be quickly implemented</a:t>
            </a:r>
          </a:p>
          <a:p>
            <a:pPr marL="285720" indent="-285720" defTabSz="914303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Enablers</a:t>
            </a:r>
          </a:p>
        </p:txBody>
      </p:sp>
      <p:sp>
        <p:nvSpPr>
          <p:cNvPr id="16" name="Rectangle 15"/>
          <p:cNvSpPr/>
          <p:nvPr/>
        </p:nvSpPr>
        <p:spPr>
          <a:xfrm>
            <a:off x="233275" y="3726331"/>
            <a:ext cx="5286661" cy="1938984"/>
          </a:xfrm>
          <a:prstGeom prst="rect">
            <a:avLst/>
          </a:prstGeom>
          <a:solidFill>
            <a:schemeClr val="accent1"/>
          </a:solidFill>
        </p:spPr>
        <p:txBody>
          <a:bodyPr wrap="square" lIns="91430" tIns="45716" rIns="91430" bIns="45716">
            <a:spAutoFit/>
          </a:bodyPr>
          <a:lstStyle/>
          <a:p>
            <a:pPr marL="285720" indent="-285720" defTabSz="914303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Development of baseline criteria and assessment tool to rate all primary level health facilities</a:t>
            </a:r>
          </a:p>
          <a:p>
            <a:pPr marL="285720" indent="-285720" defTabSz="914303">
              <a:buFont typeface="Arial" panose="020B0604020202020204" pitchFamily="34" charset="0"/>
              <a:buChar char="•"/>
            </a:pPr>
            <a:r>
              <a:rPr lang="en-GB" sz="2000" dirty="0">
                <a:solidFill>
                  <a:srgbClr val="000000"/>
                </a:solidFill>
              </a:rPr>
              <a:t>While assessing and rating the selected health facilities, specific gaps are identified and will be addressed accordingly</a:t>
            </a:r>
          </a:p>
        </p:txBody>
      </p:sp>
    </p:spTree>
    <p:extLst>
      <p:ext uri="{BB962C8B-B14F-4D97-AF65-F5344CB8AC3E}">
        <p14:creationId xmlns:p14="http://schemas.microsoft.com/office/powerpoint/2010/main" val="2832541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279" y="234865"/>
            <a:ext cx="8567471" cy="307777"/>
          </a:xfrm>
        </p:spPr>
        <p:txBody>
          <a:bodyPr/>
          <a:lstStyle/>
          <a:p>
            <a:r>
              <a:rPr lang="en-GB" dirty="0" smtClean="0"/>
              <a:t>Background to BRN: specific strengthening of health facilities</a:t>
            </a:r>
            <a:endParaRPr lang="en-GB" dirty="0"/>
          </a:p>
        </p:txBody>
      </p:sp>
      <p:grpSp>
        <p:nvGrpSpPr>
          <p:cNvPr id="27" name="Group 26"/>
          <p:cNvGrpSpPr/>
          <p:nvPr/>
        </p:nvGrpSpPr>
        <p:grpSpPr>
          <a:xfrm>
            <a:off x="8964135" y="116644"/>
            <a:ext cx="3084528" cy="506181"/>
            <a:chOff x="6723100" y="116632"/>
            <a:chExt cx="2313396" cy="506181"/>
          </a:xfrm>
        </p:grpSpPr>
        <p:sp>
          <p:nvSpPr>
            <p:cNvPr id="28" name="Rectangle 27"/>
            <p:cNvSpPr/>
            <p:nvPr/>
          </p:nvSpPr>
          <p:spPr>
            <a:xfrm>
              <a:off x="7602936" y="119101"/>
              <a:ext cx="576064" cy="2518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FFFFFF"/>
                  </a:solidFill>
                </a:rPr>
                <a:t>Sol A</a:t>
              </a:r>
            </a:p>
          </p:txBody>
        </p:sp>
        <p:sp>
          <p:nvSpPr>
            <p:cNvPr id="29" name="Rectangle 28"/>
            <p:cNvSpPr/>
            <p:nvPr/>
          </p:nvSpPr>
          <p:spPr>
            <a:xfrm>
              <a:off x="7602936" y="370957"/>
              <a:ext cx="576064" cy="2518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FFFFFF"/>
                  </a:solidFill>
                </a:rPr>
                <a:t>Sol B</a:t>
              </a:r>
            </a:p>
          </p:txBody>
        </p:sp>
        <p:grpSp>
          <p:nvGrpSpPr>
            <p:cNvPr id="30" name="Group 29"/>
            <p:cNvGrpSpPr/>
            <p:nvPr/>
          </p:nvGrpSpPr>
          <p:grpSpPr>
            <a:xfrm>
              <a:off x="6723100" y="116632"/>
              <a:ext cx="2313396" cy="506181"/>
              <a:chOff x="6723100" y="116632"/>
              <a:chExt cx="2313396" cy="506181"/>
            </a:xfrm>
          </p:grpSpPr>
          <p:sp>
            <p:nvSpPr>
              <p:cNvPr id="31" name="Rectangle 30"/>
              <p:cNvSpPr/>
              <p:nvPr/>
            </p:nvSpPr>
            <p:spPr>
              <a:xfrm>
                <a:off x="6723100" y="119045"/>
                <a:ext cx="576064" cy="50376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r>
                  <a:rPr lang="en-GB" sz="1000" dirty="0">
                    <a:solidFill>
                      <a:srgbClr val="FFFFFF"/>
                    </a:solidFill>
                  </a:rPr>
                  <a:t>issues</a:t>
                </a:r>
              </a:p>
            </p:txBody>
          </p:sp>
          <p:sp>
            <p:nvSpPr>
              <p:cNvPr id="32" name="Rectangle 31"/>
              <p:cNvSpPr/>
              <p:nvPr/>
            </p:nvSpPr>
            <p:spPr>
              <a:xfrm>
                <a:off x="8460432" y="119101"/>
                <a:ext cx="576064" cy="251856"/>
              </a:xfrm>
              <a:prstGeom prst="rect">
                <a:avLst/>
              </a:prstGeom>
              <a:solidFill>
                <a:srgbClr val="92D05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r>
                  <a:rPr lang="en-GB" sz="1000" dirty="0">
                    <a:solidFill>
                      <a:srgbClr val="000000"/>
                    </a:solidFill>
                  </a:rPr>
                  <a:t>Imp A</a:t>
                </a:r>
              </a:p>
            </p:txBody>
          </p:sp>
          <p:sp>
            <p:nvSpPr>
              <p:cNvPr id="33" name="Isosceles Triangle 32"/>
              <p:cNvSpPr/>
              <p:nvPr/>
            </p:nvSpPr>
            <p:spPr>
              <a:xfrm rot="5400000">
                <a:off x="7213095" y="325253"/>
                <a:ext cx="498251" cy="8100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4" name="Isosceles Triangle 33"/>
              <p:cNvSpPr/>
              <p:nvPr/>
            </p:nvSpPr>
            <p:spPr>
              <a:xfrm rot="5400000">
                <a:off x="8070591" y="327665"/>
                <a:ext cx="498249" cy="8100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35" name="Rectangle 34"/>
              <p:cNvSpPr/>
              <p:nvPr/>
            </p:nvSpPr>
            <p:spPr>
              <a:xfrm>
                <a:off x="8460432" y="370957"/>
                <a:ext cx="576064" cy="2518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r>
                  <a:rPr lang="en-GB" sz="1000" dirty="0">
                    <a:solidFill>
                      <a:srgbClr val="FFFFFF"/>
                    </a:solidFill>
                  </a:rPr>
                  <a:t>Imp B</a:t>
                </a:r>
              </a:p>
            </p:txBody>
          </p:sp>
        </p:grpSp>
      </p:grp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053216323"/>
              </p:ext>
            </p:extLst>
          </p:nvPr>
        </p:nvGraphicFramePr>
        <p:xfrm>
          <a:off x="1539777" y="1268760"/>
          <a:ext cx="10508903" cy="115212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pSp>
        <p:nvGrpSpPr>
          <p:cNvPr id="5" name="Group 4"/>
          <p:cNvGrpSpPr/>
          <p:nvPr/>
        </p:nvGrpSpPr>
        <p:grpSpPr>
          <a:xfrm>
            <a:off x="5356721" y="1016776"/>
            <a:ext cx="5347795" cy="396000"/>
            <a:chOff x="3491880" y="1016776"/>
            <a:chExt cx="4010846" cy="396000"/>
          </a:xfrm>
        </p:grpSpPr>
        <p:grpSp>
          <p:nvGrpSpPr>
            <p:cNvPr id="4" name="Group 3"/>
            <p:cNvGrpSpPr/>
            <p:nvPr/>
          </p:nvGrpSpPr>
          <p:grpSpPr>
            <a:xfrm>
              <a:off x="3491880" y="1016776"/>
              <a:ext cx="4010846" cy="396000"/>
              <a:chOff x="3491880" y="1016776"/>
              <a:chExt cx="4010846" cy="396000"/>
            </a:xfrm>
          </p:grpSpPr>
          <p:cxnSp>
            <p:nvCxnSpPr>
              <p:cNvPr id="10" name="Straight Arrow Connector 9"/>
              <p:cNvCxnSpPr/>
              <p:nvPr/>
            </p:nvCxnSpPr>
            <p:spPr>
              <a:xfrm>
                <a:off x="3491880" y="1016776"/>
                <a:ext cx="0" cy="396000"/>
              </a:xfrm>
              <a:prstGeom prst="straightConnector1">
                <a:avLst/>
              </a:prstGeom>
              <a:ln w="38100">
                <a:solidFill>
                  <a:schemeClr val="tx2"/>
                </a:solidFill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3" name="Straight Connector 12"/>
              <p:cNvCxnSpPr/>
              <p:nvPr/>
            </p:nvCxnSpPr>
            <p:spPr>
              <a:xfrm>
                <a:off x="3491880" y="1016784"/>
                <a:ext cx="4010846" cy="0"/>
              </a:xfrm>
              <a:prstGeom prst="line">
                <a:avLst/>
              </a:prstGeom>
              <a:ln w="38100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5" name="Straight Connector 14"/>
              <p:cNvCxnSpPr/>
              <p:nvPr/>
            </p:nvCxnSpPr>
            <p:spPr>
              <a:xfrm>
                <a:off x="7502726" y="1016784"/>
                <a:ext cx="0" cy="360000"/>
              </a:xfrm>
              <a:prstGeom prst="line">
                <a:avLst/>
              </a:prstGeom>
              <a:ln w="381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sp>
          <p:nvSpPr>
            <p:cNvPr id="16" name="TextBox 15"/>
            <p:cNvSpPr txBox="1"/>
            <p:nvPr/>
          </p:nvSpPr>
          <p:spPr>
            <a:xfrm>
              <a:off x="4860032" y="1032991"/>
              <a:ext cx="1067841" cy="276999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03"/>
              <a:r>
                <a:rPr lang="en-US" sz="1200" b="1" i="1" dirty="0">
                  <a:solidFill>
                    <a:srgbClr val="000000"/>
                  </a:solidFill>
                </a:rPr>
                <a:t>Iteration process</a:t>
              </a:r>
              <a:endParaRPr lang="en-MY" sz="1200" b="1" i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17" name="TextBox 16"/>
          <p:cNvSpPr txBox="1"/>
          <p:nvPr/>
        </p:nvSpPr>
        <p:spPr>
          <a:xfrm>
            <a:off x="1535495" y="4217042"/>
            <a:ext cx="2784000" cy="1446542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1450" indent="-171450" defTabSz="914303">
              <a:buFont typeface="Arial" pitchFamily="34" charset="0"/>
              <a:buChar char="•"/>
            </a:pPr>
            <a:r>
              <a:rPr lang="en-MY" sz="1100" dirty="0">
                <a:solidFill>
                  <a:srgbClr val="000000"/>
                </a:solidFill>
              </a:rPr>
              <a:t>To address the on-the-ground issues, the lab will develop a </a:t>
            </a:r>
            <a:r>
              <a:rPr lang="en-MY" sz="1100" dirty="0" smtClean="0">
                <a:solidFill>
                  <a:srgbClr val="000000"/>
                </a:solidFill>
              </a:rPr>
              <a:t>criteria </a:t>
            </a:r>
            <a:r>
              <a:rPr lang="en-MY" sz="1100" dirty="0">
                <a:solidFill>
                  <a:srgbClr val="000000"/>
                </a:solidFill>
              </a:rPr>
              <a:t>specific to the issues and then devise a rating mechanism to assess the health </a:t>
            </a:r>
            <a:r>
              <a:rPr lang="en-MY" sz="1100" dirty="0" smtClean="0">
                <a:solidFill>
                  <a:srgbClr val="000000"/>
                </a:solidFill>
              </a:rPr>
              <a:t>facilities</a:t>
            </a:r>
          </a:p>
          <a:p>
            <a:pPr marL="171450" indent="-171450" defTabSz="914303">
              <a:buFont typeface="Arial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</a:rPr>
              <a:t>The assessment will be done to all Public, FBOs and Private primary level  health facilities by FY2014/2015</a:t>
            </a:r>
            <a:endParaRPr lang="en-MY" sz="1100" dirty="0">
              <a:solidFill>
                <a:srgbClr val="000000"/>
              </a:solidFill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4079776" y="2420901"/>
            <a:ext cx="2496277" cy="769433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1450" indent="-171450" defTabSz="914303">
              <a:buFont typeface="Arial" pitchFamily="34" charset="0"/>
              <a:buChar char="•"/>
            </a:pPr>
            <a:r>
              <a:rPr lang="en-MY" sz="1100" dirty="0" smtClean="0">
                <a:solidFill>
                  <a:srgbClr val="000000"/>
                </a:solidFill>
              </a:rPr>
              <a:t>Identify </a:t>
            </a:r>
            <a:r>
              <a:rPr lang="en-MY" sz="1100" dirty="0">
                <a:solidFill>
                  <a:srgbClr val="000000"/>
                </a:solidFill>
              </a:rPr>
              <a:t>the conditions of the health facilities/service delivery</a:t>
            </a:r>
            <a:r>
              <a:rPr lang="en-MY" sz="1100" dirty="0" smtClean="0">
                <a:solidFill>
                  <a:srgbClr val="000000"/>
                </a:solidFill>
              </a:rPr>
              <a:t>, then develop </a:t>
            </a:r>
            <a:r>
              <a:rPr lang="en-MY" sz="1100" dirty="0">
                <a:solidFill>
                  <a:srgbClr val="000000"/>
                </a:solidFill>
              </a:rPr>
              <a:t>specific intervention </a:t>
            </a:r>
            <a:r>
              <a:rPr lang="en-MY" sz="1100" dirty="0" smtClean="0">
                <a:solidFill>
                  <a:srgbClr val="000000"/>
                </a:solidFill>
              </a:rPr>
              <a:t>programmes</a:t>
            </a:r>
            <a:endParaRPr lang="en-MY" sz="1100" dirty="0">
              <a:solidFill>
                <a:srgbClr val="00000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76961" y="2586608"/>
            <a:ext cx="1410531" cy="91440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defTabSz="914303"/>
            <a:r>
              <a:rPr lang="en-US" sz="1200" b="1" dirty="0">
                <a:solidFill>
                  <a:srgbClr val="000000"/>
                </a:solidFill>
              </a:rPr>
              <a:t>Description</a:t>
            </a:r>
            <a:endParaRPr lang="en-MY" sz="1200" b="1" dirty="0" err="1">
              <a:solidFill>
                <a:srgbClr val="000000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143339" y="4149080"/>
            <a:ext cx="11809312" cy="0"/>
          </a:xfrm>
          <a:prstGeom prst="line">
            <a:avLst/>
          </a:prstGeom>
          <a:ln>
            <a:solidFill>
              <a:schemeClr val="tx1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/>
          <p:cNvSpPr/>
          <p:nvPr/>
        </p:nvSpPr>
        <p:spPr>
          <a:xfrm>
            <a:off x="76961" y="4353810"/>
            <a:ext cx="1410531" cy="914400"/>
          </a:xfrm>
          <a:prstGeom prst="rect">
            <a:avLst/>
          </a:prstGeom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 defTabSz="914303"/>
            <a:r>
              <a:rPr lang="en-US" sz="1200" b="1" dirty="0">
                <a:solidFill>
                  <a:srgbClr val="000000"/>
                </a:solidFill>
              </a:rPr>
              <a:t>Lab / BRN  focus</a:t>
            </a:r>
            <a:endParaRPr lang="en-MY" sz="1200" b="1" dirty="0" err="1">
              <a:solidFill>
                <a:srgbClr val="000000"/>
              </a:solidFill>
            </a:endParaRPr>
          </a:p>
        </p:txBody>
      </p:sp>
      <p:sp>
        <p:nvSpPr>
          <p:cNvPr id="39" name="TextBox 38"/>
          <p:cNvSpPr txBox="1"/>
          <p:nvPr/>
        </p:nvSpPr>
        <p:spPr>
          <a:xfrm>
            <a:off x="6768076" y="2416252"/>
            <a:ext cx="2407240" cy="430879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1450" indent="-171450" defTabSz="914303">
              <a:buFont typeface="Arial" pitchFamily="34" charset="0"/>
              <a:buChar char="•"/>
            </a:pPr>
            <a:r>
              <a:rPr lang="en-MY" sz="1100" dirty="0" smtClean="0">
                <a:solidFill>
                  <a:srgbClr val="000000"/>
                </a:solidFill>
              </a:rPr>
              <a:t>Roll-out of specific strengthening programme</a:t>
            </a:r>
            <a:endParaRPr lang="en-MY" sz="1100" dirty="0">
              <a:solidFill>
                <a:srgbClr val="000000"/>
              </a:solidFill>
            </a:endParaRPr>
          </a:p>
        </p:txBody>
      </p:sp>
      <p:sp>
        <p:nvSpPr>
          <p:cNvPr id="40" name="TextBox 39"/>
          <p:cNvSpPr txBox="1"/>
          <p:nvPr/>
        </p:nvSpPr>
        <p:spPr>
          <a:xfrm>
            <a:off x="9156159" y="2420903"/>
            <a:ext cx="2988516" cy="1107988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1450" indent="-171450" defTabSz="914303">
              <a:buFont typeface="Arial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</a:rPr>
              <a:t>Re-assess health facilities to identify health facilities </a:t>
            </a:r>
            <a:r>
              <a:rPr lang="en-MY" sz="1100" dirty="0" smtClean="0">
                <a:solidFill>
                  <a:srgbClr val="000000"/>
                </a:solidFill>
              </a:rPr>
              <a:t>that have achieved 3 Stars and above</a:t>
            </a:r>
          </a:p>
          <a:p>
            <a:pPr marL="171450" indent="-171450" defTabSz="914303">
              <a:buFont typeface="Arial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</a:rPr>
              <a:t>Repeat the process of developing specific intervention </a:t>
            </a:r>
            <a:r>
              <a:rPr lang="en-US" sz="1100" dirty="0" err="1" smtClean="0">
                <a:solidFill>
                  <a:srgbClr val="000000"/>
                </a:solidFill>
              </a:rPr>
              <a:t>programmes</a:t>
            </a:r>
            <a:r>
              <a:rPr lang="en-US" sz="1100" dirty="0" smtClean="0">
                <a:solidFill>
                  <a:srgbClr val="000000"/>
                </a:solidFill>
              </a:rPr>
              <a:t> for health </a:t>
            </a:r>
            <a:r>
              <a:rPr lang="en-US" sz="1100" dirty="0" err="1" smtClean="0">
                <a:solidFill>
                  <a:srgbClr val="000000"/>
                </a:solidFill>
              </a:rPr>
              <a:t>facilties</a:t>
            </a:r>
            <a:r>
              <a:rPr lang="en-US" sz="1100" dirty="0" smtClean="0">
                <a:solidFill>
                  <a:srgbClr val="000000"/>
                </a:solidFill>
              </a:rPr>
              <a:t> rated below level 3</a:t>
            </a:r>
            <a:endParaRPr lang="en-MY" sz="1100" dirty="0">
              <a:solidFill>
                <a:srgbClr val="000000"/>
              </a:solidFill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4175788" y="4225457"/>
            <a:ext cx="2496277" cy="430879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1450" indent="-171450" defTabSz="914303">
              <a:buFont typeface="Arial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</a:rPr>
              <a:t>Devise specific intervention plan for </a:t>
            </a:r>
            <a:r>
              <a:rPr lang="en-US" sz="1100" b="1" dirty="0" smtClean="0">
                <a:solidFill>
                  <a:srgbClr val="000000"/>
                </a:solidFill>
              </a:rPr>
              <a:t>*</a:t>
            </a:r>
            <a:r>
              <a:rPr lang="en-US" sz="1100" dirty="0" smtClean="0">
                <a:solidFill>
                  <a:srgbClr val="000000"/>
                </a:solidFill>
              </a:rPr>
              <a:t>12 mainland regions  </a:t>
            </a:r>
            <a:endParaRPr lang="en-MY" sz="1100" dirty="0">
              <a:solidFill>
                <a:srgbClr val="000000"/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1679512" y="2420889"/>
            <a:ext cx="2208245" cy="938710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1450" indent="-171450" defTabSz="914303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</a:rPr>
              <a:t>Develop </a:t>
            </a:r>
            <a:r>
              <a:rPr lang="en-US" sz="1100" dirty="0">
                <a:solidFill>
                  <a:srgbClr val="000000"/>
                </a:solidFill>
              </a:rPr>
              <a:t>criteria for the </a:t>
            </a:r>
            <a:r>
              <a:rPr lang="en-US" sz="1100" dirty="0" smtClean="0">
                <a:solidFill>
                  <a:srgbClr val="000000"/>
                </a:solidFill>
              </a:rPr>
              <a:t>assessment tool</a:t>
            </a:r>
          </a:p>
          <a:p>
            <a:pPr marL="171450" indent="-171450" defTabSz="914303">
              <a:buFont typeface="Arial" panose="020B0604020202020204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Rate the health facilities using the developed assessment </a:t>
            </a:r>
            <a:r>
              <a:rPr lang="en-US" sz="1100" dirty="0" smtClean="0">
                <a:solidFill>
                  <a:srgbClr val="000000"/>
                </a:solidFill>
              </a:rPr>
              <a:t>tool</a:t>
            </a:r>
            <a:endParaRPr lang="en-MY" sz="1100" dirty="0">
              <a:solidFill>
                <a:srgbClr val="000000"/>
              </a:solidFill>
            </a:endParaRPr>
          </a:p>
        </p:txBody>
      </p:sp>
      <p:sp>
        <p:nvSpPr>
          <p:cNvPr id="41" name="TextBox 40"/>
          <p:cNvSpPr txBox="1"/>
          <p:nvPr/>
        </p:nvSpPr>
        <p:spPr>
          <a:xfrm>
            <a:off x="6792463" y="4244917"/>
            <a:ext cx="2363711" cy="938710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1450" indent="-171450" defTabSz="914303">
              <a:buFont typeface="Arial" pitchFamily="34" charset="0"/>
              <a:buChar char="•"/>
            </a:pPr>
            <a:r>
              <a:rPr lang="en-US" sz="1100" dirty="0">
                <a:solidFill>
                  <a:srgbClr val="000000"/>
                </a:solidFill>
              </a:rPr>
              <a:t>Specific strengthening </a:t>
            </a:r>
            <a:r>
              <a:rPr lang="en-US" sz="1100" dirty="0" smtClean="0">
                <a:solidFill>
                  <a:srgbClr val="000000"/>
                </a:solidFill>
              </a:rPr>
              <a:t>of health facilities will </a:t>
            </a:r>
            <a:r>
              <a:rPr lang="en-US" sz="1100" dirty="0">
                <a:solidFill>
                  <a:srgbClr val="000000"/>
                </a:solidFill>
              </a:rPr>
              <a:t>be </a:t>
            </a:r>
            <a:r>
              <a:rPr lang="en-US" sz="1100" dirty="0" smtClean="0">
                <a:solidFill>
                  <a:srgbClr val="000000"/>
                </a:solidFill>
              </a:rPr>
              <a:t>focused </a:t>
            </a:r>
            <a:r>
              <a:rPr lang="en-US" sz="1100" dirty="0">
                <a:solidFill>
                  <a:srgbClr val="000000"/>
                </a:solidFill>
              </a:rPr>
              <a:t>on *12 mainland regions </a:t>
            </a:r>
            <a:r>
              <a:rPr lang="en-US" sz="1100" dirty="0" smtClean="0">
                <a:solidFill>
                  <a:srgbClr val="000000"/>
                </a:solidFill>
              </a:rPr>
              <a:t>only, based on the developed intervention plan  </a:t>
            </a:r>
            <a:endParaRPr lang="en-MY" sz="1100" dirty="0">
              <a:solidFill>
                <a:srgbClr val="000000"/>
              </a:solidFill>
            </a:endParaRPr>
          </a:p>
        </p:txBody>
      </p:sp>
      <p:sp>
        <p:nvSpPr>
          <p:cNvPr id="42" name="TextBox 41"/>
          <p:cNvSpPr txBox="1"/>
          <p:nvPr/>
        </p:nvSpPr>
        <p:spPr>
          <a:xfrm>
            <a:off x="9168359" y="4225457"/>
            <a:ext cx="2784311" cy="1277265"/>
          </a:xfrm>
          <a:prstGeom prst="rect">
            <a:avLst/>
          </a:prstGeom>
          <a:noFill/>
        </p:spPr>
        <p:txBody>
          <a:bodyPr wrap="square" lIns="91430" tIns="45716" rIns="91430" bIns="45716" rtlCol="0">
            <a:spAutoFit/>
          </a:bodyPr>
          <a:lstStyle/>
          <a:p>
            <a:pPr marL="171450" indent="-171450" defTabSz="914303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</a:rPr>
              <a:t>80% of primary health facilities in the 12 regions will achieve 3 Stars and above</a:t>
            </a:r>
          </a:p>
          <a:p>
            <a:pPr marL="171450" indent="-171450" defTabSz="914303">
              <a:buFont typeface="Arial" panose="020B0604020202020204" pitchFamily="34" charset="0"/>
              <a:buChar char="•"/>
            </a:pPr>
            <a:r>
              <a:rPr lang="en-US" sz="1100" dirty="0" smtClean="0">
                <a:solidFill>
                  <a:srgbClr val="000000"/>
                </a:solidFill>
              </a:rPr>
              <a:t>Provide rewards for health facilities that elevates into 3 Stars and above, while impose consequences for health facilities that do worse</a:t>
            </a:r>
            <a:endParaRPr lang="en-MY" sz="1100" dirty="0">
              <a:solidFill>
                <a:srgbClr val="000000"/>
              </a:solidFill>
            </a:endParaRPr>
          </a:p>
        </p:txBody>
      </p:sp>
      <p:sp>
        <p:nvSpPr>
          <p:cNvPr id="43" name="TextBox 42"/>
          <p:cNvSpPr txBox="1"/>
          <p:nvPr/>
        </p:nvSpPr>
        <p:spPr>
          <a:xfrm>
            <a:off x="-2145" y="6593420"/>
            <a:ext cx="2144679" cy="250000"/>
          </a:xfrm>
          <a:prstGeom prst="rect">
            <a:avLst/>
          </a:prstGeom>
          <a:noFill/>
        </p:spPr>
        <p:txBody>
          <a:bodyPr wrap="none" lIns="95181" tIns="47591" rIns="95181" bIns="47591" rtlCol="0">
            <a:spAutoFit/>
          </a:bodyPr>
          <a:lstStyle/>
          <a:p>
            <a:pPr defTabSz="914303"/>
            <a:r>
              <a:rPr lang="en-GB" sz="1000" dirty="0">
                <a:solidFill>
                  <a:srgbClr val="000000"/>
                </a:solidFill>
              </a:rPr>
              <a:t>Source(s): BRN Healthcare (2014)</a:t>
            </a:r>
          </a:p>
        </p:txBody>
      </p:sp>
      <p:sp>
        <p:nvSpPr>
          <p:cNvPr id="45" name="Rectangle 44"/>
          <p:cNvSpPr/>
          <p:nvPr/>
        </p:nvSpPr>
        <p:spPr>
          <a:xfrm>
            <a:off x="1480659" y="6239375"/>
            <a:ext cx="6072676" cy="246213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pPr defTabSz="914303"/>
            <a:r>
              <a:rPr lang="ms-MY" sz="1000" b="1" i="1" dirty="0">
                <a:solidFill>
                  <a:srgbClr val="C00000"/>
                </a:solidFill>
              </a:rPr>
              <a:t>* Regions may change after results of the nationwide assessment </a:t>
            </a:r>
            <a:endParaRPr lang="en-MY" sz="1000" b="1" i="1" dirty="0">
              <a:solidFill>
                <a:srgbClr val="C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29879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3272" y="234864"/>
            <a:ext cx="8627047" cy="615553"/>
          </a:xfrm>
        </p:spPr>
        <p:txBody>
          <a:bodyPr/>
          <a:lstStyle/>
          <a:p>
            <a:r>
              <a:rPr lang="en-GB" dirty="0" smtClean="0"/>
              <a:t>Background to BRN: Implementation </a:t>
            </a:r>
            <a:r>
              <a:rPr lang="en-GB" dirty="0"/>
              <a:t>of the </a:t>
            </a:r>
            <a:r>
              <a:rPr lang="en-GB" dirty="0">
                <a:solidFill>
                  <a:srgbClr val="FF0000"/>
                </a:solidFill>
              </a:rPr>
              <a:t>intervention programs</a:t>
            </a:r>
            <a:r>
              <a:rPr lang="en-GB" dirty="0"/>
              <a:t> will be </a:t>
            </a:r>
            <a:r>
              <a:rPr lang="en-GB" dirty="0" smtClean="0">
                <a:solidFill>
                  <a:srgbClr val="FF0000"/>
                </a:solidFill>
              </a:rPr>
              <a:t>for *12 regions only</a:t>
            </a:r>
            <a:endParaRPr lang="en-GB" dirty="0"/>
          </a:p>
        </p:txBody>
      </p:sp>
      <p:grpSp>
        <p:nvGrpSpPr>
          <p:cNvPr id="3" name="Group 2"/>
          <p:cNvGrpSpPr/>
          <p:nvPr/>
        </p:nvGrpSpPr>
        <p:grpSpPr>
          <a:xfrm>
            <a:off x="8964135" y="116644"/>
            <a:ext cx="3084528" cy="506181"/>
            <a:chOff x="6723100" y="116632"/>
            <a:chExt cx="2313396" cy="506181"/>
          </a:xfrm>
        </p:grpSpPr>
        <p:sp>
          <p:nvSpPr>
            <p:cNvPr id="4" name="Rectangle 3"/>
            <p:cNvSpPr/>
            <p:nvPr/>
          </p:nvSpPr>
          <p:spPr>
            <a:xfrm>
              <a:off x="7602936" y="119101"/>
              <a:ext cx="576064" cy="2518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dirty="0">
                  <a:solidFill>
                    <a:schemeClr val="bg1"/>
                  </a:solidFill>
                </a:rPr>
                <a:t>Sol A</a:t>
              </a:r>
            </a:p>
          </p:txBody>
        </p:sp>
        <p:sp>
          <p:nvSpPr>
            <p:cNvPr id="5" name="Rectangle 4"/>
            <p:cNvSpPr/>
            <p:nvPr/>
          </p:nvSpPr>
          <p:spPr>
            <a:xfrm>
              <a:off x="7602936" y="370957"/>
              <a:ext cx="576064" cy="2518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GB" sz="1000" dirty="0">
                  <a:solidFill>
                    <a:schemeClr val="bg1"/>
                  </a:solidFill>
                </a:rPr>
                <a:t>Sol B</a:t>
              </a:r>
            </a:p>
          </p:txBody>
        </p:sp>
        <p:grpSp>
          <p:nvGrpSpPr>
            <p:cNvPr id="6" name="Group 5"/>
            <p:cNvGrpSpPr/>
            <p:nvPr/>
          </p:nvGrpSpPr>
          <p:grpSpPr>
            <a:xfrm>
              <a:off x="6723100" y="116632"/>
              <a:ext cx="2313396" cy="506181"/>
              <a:chOff x="6723100" y="116632"/>
              <a:chExt cx="2313396" cy="506181"/>
            </a:xfrm>
          </p:grpSpPr>
          <p:sp>
            <p:nvSpPr>
              <p:cNvPr id="7" name="Rectangle 6"/>
              <p:cNvSpPr/>
              <p:nvPr/>
            </p:nvSpPr>
            <p:spPr>
              <a:xfrm>
                <a:off x="6723100" y="119045"/>
                <a:ext cx="576064" cy="50376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issues</a:t>
                </a:r>
              </a:p>
            </p:txBody>
          </p:sp>
          <p:sp>
            <p:nvSpPr>
              <p:cNvPr id="8" name="Rectangle 7"/>
              <p:cNvSpPr/>
              <p:nvPr/>
            </p:nvSpPr>
            <p:spPr>
              <a:xfrm>
                <a:off x="8460432" y="119101"/>
                <a:ext cx="576064" cy="251856"/>
              </a:xfrm>
              <a:prstGeom prst="rect">
                <a:avLst/>
              </a:prstGeom>
              <a:solidFill>
                <a:srgbClr val="92D050"/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dirty="0">
                    <a:solidFill>
                      <a:schemeClr val="tx1"/>
                    </a:solidFill>
                  </a:rPr>
                  <a:t>Imp A</a:t>
                </a:r>
              </a:p>
            </p:txBody>
          </p:sp>
          <p:sp>
            <p:nvSpPr>
              <p:cNvPr id="9" name="Isosceles Triangle 8"/>
              <p:cNvSpPr/>
              <p:nvPr/>
            </p:nvSpPr>
            <p:spPr>
              <a:xfrm rot="5400000">
                <a:off x="7213095" y="325253"/>
                <a:ext cx="498251" cy="8100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0" name="Isosceles Triangle 9"/>
              <p:cNvSpPr/>
              <p:nvPr/>
            </p:nvSpPr>
            <p:spPr>
              <a:xfrm rot="5400000">
                <a:off x="8070591" y="327665"/>
                <a:ext cx="498249" cy="8100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sz="1000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1" name="Rectangle 10"/>
              <p:cNvSpPr/>
              <p:nvPr/>
            </p:nvSpPr>
            <p:spPr>
              <a:xfrm>
                <a:off x="8460432" y="370957"/>
                <a:ext cx="576064" cy="2518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r>
                  <a:rPr lang="en-GB" sz="1000" dirty="0">
                    <a:solidFill>
                      <a:schemeClr val="bg1"/>
                    </a:solidFill>
                  </a:rPr>
                  <a:t>Imp B</a:t>
                </a:r>
              </a:p>
            </p:txBody>
          </p:sp>
        </p:grpSp>
      </p:grpSp>
      <p:sp>
        <p:nvSpPr>
          <p:cNvPr id="76" name="TextBox 75"/>
          <p:cNvSpPr txBox="1"/>
          <p:nvPr/>
        </p:nvSpPr>
        <p:spPr>
          <a:xfrm>
            <a:off x="-2161" y="6593444"/>
            <a:ext cx="2346657" cy="265389"/>
          </a:xfrm>
          <a:prstGeom prst="rect">
            <a:avLst/>
          </a:prstGeom>
          <a:noFill/>
        </p:spPr>
        <p:txBody>
          <a:bodyPr wrap="none" lIns="95181" tIns="47591" rIns="95181" bIns="47591" rtlCol="0">
            <a:spAutoFit/>
          </a:bodyPr>
          <a:lstStyle/>
          <a:p>
            <a:r>
              <a:rPr lang="en-GB" sz="1100" dirty="0"/>
              <a:t>Source(s): BRN Healthcare (2014)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239349" y="1245628"/>
            <a:ext cx="7077077" cy="5063697"/>
            <a:chOff x="179511" y="1245623"/>
            <a:chExt cx="5307808" cy="5063697"/>
          </a:xfrm>
        </p:grpSpPr>
        <p:grpSp>
          <p:nvGrpSpPr>
            <p:cNvPr id="119" name="Group 118"/>
            <p:cNvGrpSpPr/>
            <p:nvPr/>
          </p:nvGrpSpPr>
          <p:grpSpPr>
            <a:xfrm>
              <a:off x="179511" y="1245623"/>
              <a:ext cx="5196153" cy="5063697"/>
              <a:chOff x="179512" y="1347858"/>
              <a:chExt cx="5196153" cy="5063697"/>
            </a:xfrm>
          </p:grpSpPr>
          <p:grpSp>
            <p:nvGrpSpPr>
              <p:cNvPr id="77" name="Group 76"/>
              <p:cNvGrpSpPr/>
              <p:nvPr/>
            </p:nvGrpSpPr>
            <p:grpSpPr>
              <a:xfrm>
                <a:off x="179512" y="1347858"/>
                <a:ext cx="5196153" cy="5063697"/>
                <a:chOff x="1112044" y="91056"/>
                <a:chExt cx="6874668" cy="6699424"/>
              </a:xfrm>
              <a:solidFill>
                <a:schemeClr val="bg1">
                  <a:lumMod val="85000"/>
                </a:schemeClr>
              </a:solidFill>
            </p:grpSpPr>
            <p:sp>
              <p:nvSpPr>
                <p:cNvPr id="78" name="Freeform 77"/>
                <p:cNvSpPr/>
                <p:nvPr/>
              </p:nvSpPr>
              <p:spPr>
                <a:xfrm>
                  <a:off x="2593976" y="257175"/>
                  <a:ext cx="1390650" cy="1397000"/>
                </a:xfrm>
                <a:custGeom>
                  <a:avLst/>
                  <a:gdLst>
                    <a:gd name="connsiteX0" fmla="*/ 0 w 1336675"/>
                    <a:gd name="connsiteY0" fmla="*/ 0 h 879475"/>
                    <a:gd name="connsiteX1" fmla="*/ 120650 w 1336675"/>
                    <a:gd name="connsiteY1" fmla="*/ 317500 h 879475"/>
                    <a:gd name="connsiteX2" fmla="*/ 295275 w 1336675"/>
                    <a:gd name="connsiteY2" fmla="*/ 498475 h 879475"/>
                    <a:gd name="connsiteX3" fmla="*/ 463550 w 1336675"/>
                    <a:gd name="connsiteY3" fmla="*/ 644525 h 879475"/>
                    <a:gd name="connsiteX4" fmla="*/ 593725 w 1336675"/>
                    <a:gd name="connsiteY4" fmla="*/ 755650 h 879475"/>
                    <a:gd name="connsiteX5" fmla="*/ 758825 w 1336675"/>
                    <a:gd name="connsiteY5" fmla="*/ 860425 h 879475"/>
                    <a:gd name="connsiteX6" fmla="*/ 1022350 w 1336675"/>
                    <a:gd name="connsiteY6" fmla="*/ 879475 h 879475"/>
                    <a:gd name="connsiteX7" fmla="*/ 1155700 w 1336675"/>
                    <a:gd name="connsiteY7" fmla="*/ 793750 h 879475"/>
                    <a:gd name="connsiteX8" fmla="*/ 1244600 w 1336675"/>
                    <a:gd name="connsiteY8" fmla="*/ 577850 h 879475"/>
                    <a:gd name="connsiteX9" fmla="*/ 1336675 w 1336675"/>
                    <a:gd name="connsiteY9" fmla="*/ 419100 h 879475"/>
                    <a:gd name="connsiteX10" fmla="*/ 1304925 w 1336675"/>
                    <a:gd name="connsiteY10" fmla="*/ 219075 h 879475"/>
                    <a:gd name="connsiteX0" fmla="*/ 0 w 1336675"/>
                    <a:gd name="connsiteY0" fmla="*/ 0 h 879475"/>
                    <a:gd name="connsiteX1" fmla="*/ 120650 w 1336675"/>
                    <a:gd name="connsiteY1" fmla="*/ 317500 h 879475"/>
                    <a:gd name="connsiteX2" fmla="*/ 295275 w 1336675"/>
                    <a:gd name="connsiteY2" fmla="*/ 498475 h 879475"/>
                    <a:gd name="connsiteX3" fmla="*/ 463550 w 1336675"/>
                    <a:gd name="connsiteY3" fmla="*/ 644525 h 879475"/>
                    <a:gd name="connsiteX4" fmla="*/ 593725 w 1336675"/>
                    <a:gd name="connsiteY4" fmla="*/ 755650 h 879475"/>
                    <a:gd name="connsiteX5" fmla="*/ 758825 w 1336675"/>
                    <a:gd name="connsiteY5" fmla="*/ 860425 h 879475"/>
                    <a:gd name="connsiteX6" fmla="*/ 1022350 w 1336675"/>
                    <a:gd name="connsiteY6" fmla="*/ 879475 h 879475"/>
                    <a:gd name="connsiteX7" fmla="*/ 1155700 w 1336675"/>
                    <a:gd name="connsiteY7" fmla="*/ 793750 h 879475"/>
                    <a:gd name="connsiteX8" fmla="*/ 1244600 w 1336675"/>
                    <a:gd name="connsiteY8" fmla="*/ 577850 h 879475"/>
                    <a:gd name="connsiteX9" fmla="*/ 1336675 w 1336675"/>
                    <a:gd name="connsiteY9" fmla="*/ 419100 h 879475"/>
                    <a:gd name="connsiteX10" fmla="*/ 1304925 w 1336675"/>
                    <a:gd name="connsiteY10" fmla="*/ 219075 h 879475"/>
                    <a:gd name="connsiteX11" fmla="*/ 0 w 1336675"/>
                    <a:gd name="connsiteY11" fmla="*/ 0 h 879475"/>
                    <a:gd name="connsiteX0" fmla="*/ 0 w 1336675"/>
                    <a:gd name="connsiteY0" fmla="*/ 0 h 879475"/>
                    <a:gd name="connsiteX1" fmla="*/ 120650 w 1336675"/>
                    <a:gd name="connsiteY1" fmla="*/ 317500 h 879475"/>
                    <a:gd name="connsiteX2" fmla="*/ 295275 w 1336675"/>
                    <a:gd name="connsiteY2" fmla="*/ 498475 h 879475"/>
                    <a:gd name="connsiteX3" fmla="*/ 463550 w 1336675"/>
                    <a:gd name="connsiteY3" fmla="*/ 644525 h 879475"/>
                    <a:gd name="connsiteX4" fmla="*/ 593725 w 1336675"/>
                    <a:gd name="connsiteY4" fmla="*/ 755650 h 879475"/>
                    <a:gd name="connsiteX5" fmla="*/ 758825 w 1336675"/>
                    <a:gd name="connsiteY5" fmla="*/ 860425 h 879475"/>
                    <a:gd name="connsiteX6" fmla="*/ 1022350 w 1336675"/>
                    <a:gd name="connsiteY6" fmla="*/ 879475 h 879475"/>
                    <a:gd name="connsiteX7" fmla="*/ 1155700 w 1336675"/>
                    <a:gd name="connsiteY7" fmla="*/ 793750 h 879475"/>
                    <a:gd name="connsiteX8" fmla="*/ 1244600 w 1336675"/>
                    <a:gd name="connsiteY8" fmla="*/ 577850 h 879475"/>
                    <a:gd name="connsiteX9" fmla="*/ 1336675 w 1336675"/>
                    <a:gd name="connsiteY9" fmla="*/ 419100 h 879475"/>
                    <a:gd name="connsiteX10" fmla="*/ 1304925 w 1336675"/>
                    <a:gd name="connsiteY10" fmla="*/ 219075 h 879475"/>
                    <a:gd name="connsiteX11" fmla="*/ 250825 w 1336675"/>
                    <a:gd name="connsiteY11" fmla="*/ 41275 h 879475"/>
                    <a:gd name="connsiteX12" fmla="*/ 0 w 1336675"/>
                    <a:gd name="connsiteY12" fmla="*/ 0 h 879475"/>
                    <a:gd name="connsiteX0" fmla="*/ 0 w 1336675"/>
                    <a:gd name="connsiteY0" fmla="*/ 517525 h 1397000"/>
                    <a:gd name="connsiteX1" fmla="*/ 120650 w 1336675"/>
                    <a:gd name="connsiteY1" fmla="*/ 835025 h 1397000"/>
                    <a:gd name="connsiteX2" fmla="*/ 295275 w 1336675"/>
                    <a:gd name="connsiteY2" fmla="*/ 1016000 h 1397000"/>
                    <a:gd name="connsiteX3" fmla="*/ 463550 w 1336675"/>
                    <a:gd name="connsiteY3" fmla="*/ 1162050 h 1397000"/>
                    <a:gd name="connsiteX4" fmla="*/ 593725 w 1336675"/>
                    <a:gd name="connsiteY4" fmla="*/ 1273175 h 1397000"/>
                    <a:gd name="connsiteX5" fmla="*/ 758825 w 1336675"/>
                    <a:gd name="connsiteY5" fmla="*/ 1377950 h 1397000"/>
                    <a:gd name="connsiteX6" fmla="*/ 1022350 w 1336675"/>
                    <a:gd name="connsiteY6" fmla="*/ 1397000 h 1397000"/>
                    <a:gd name="connsiteX7" fmla="*/ 1155700 w 1336675"/>
                    <a:gd name="connsiteY7" fmla="*/ 1311275 h 1397000"/>
                    <a:gd name="connsiteX8" fmla="*/ 1244600 w 1336675"/>
                    <a:gd name="connsiteY8" fmla="*/ 1095375 h 1397000"/>
                    <a:gd name="connsiteX9" fmla="*/ 1336675 w 1336675"/>
                    <a:gd name="connsiteY9" fmla="*/ 936625 h 1397000"/>
                    <a:gd name="connsiteX10" fmla="*/ 1304925 w 1336675"/>
                    <a:gd name="connsiteY10" fmla="*/ 736600 h 1397000"/>
                    <a:gd name="connsiteX11" fmla="*/ 673100 w 1336675"/>
                    <a:gd name="connsiteY11" fmla="*/ 0 h 1397000"/>
                    <a:gd name="connsiteX12" fmla="*/ 0 w 1336675"/>
                    <a:gd name="connsiteY12" fmla="*/ 517525 h 1397000"/>
                    <a:gd name="connsiteX0" fmla="*/ 0 w 1336675"/>
                    <a:gd name="connsiteY0" fmla="*/ 517525 h 1397000"/>
                    <a:gd name="connsiteX1" fmla="*/ 120650 w 1336675"/>
                    <a:gd name="connsiteY1" fmla="*/ 835025 h 1397000"/>
                    <a:gd name="connsiteX2" fmla="*/ 295275 w 1336675"/>
                    <a:gd name="connsiteY2" fmla="*/ 1016000 h 1397000"/>
                    <a:gd name="connsiteX3" fmla="*/ 463550 w 1336675"/>
                    <a:gd name="connsiteY3" fmla="*/ 1162050 h 1397000"/>
                    <a:gd name="connsiteX4" fmla="*/ 593725 w 1336675"/>
                    <a:gd name="connsiteY4" fmla="*/ 1273175 h 1397000"/>
                    <a:gd name="connsiteX5" fmla="*/ 758825 w 1336675"/>
                    <a:gd name="connsiteY5" fmla="*/ 1377950 h 1397000"/>
                    <a:gd name="connsiteX6" fmla="*/ 1022350 w 1336675"/>
                    <a:gd name="connsiteY6" fmla="*/ 1397000 h 1397000"/>
                    <a:gd name="connsiteX7" fmla="*/ 1155700 w 1336675"/>
                    <a:gd name="connsiteY7" fmla="*/ 1311275 h 1397000"/>
                    <a:gd name="connsiteX8" fmla="*/ 1244600 w 1336675"/>
                    <a:gd name="connsiteY8" fmla="*/ 1095375 h 1397000"/>
                    <a:gd name="connsiteX9" fmla="*/ 1336675 w 1336675"/>
                    <a:gd name="connsiteY9" fmla="*/ 936625 h 1397000"/>
                    <a:gd name="connsiteX10" fmla="*/ 1304925 w 1336675"/>
                    <a:gd name="connsiteY10" fmla="*/ 736600 h 1397000"/>
                    <a:gd name="connsiteX11" fmla="*/ 971550 w 1336675"/>
                    <a:gd name="connsiteY11" fmla="*/ 342900 h 1397000"/>
                    <a:gd name="connsiteX12" fmla="*/ 673100 w 1336675"/>
                    <a:gd name="connsiteY12" fmla="*/ 0 h 1397000"/>
                    <a:gd name="connsiteX13" fmla="*/ 0 w 1336675"/>
                    <a:gd name="connsiteY13" fmla="*/ 517525 h 1397000"/>
                    <a:gd name="connsiteX0" fmla="*/ 0 w 1336675"/>
                    <a:gd name="connsiteY0" fmla="*/ 517525 h 1397000"/>
                    <a:gd name="connsiteX1" fmla="*/ 120650 w 1336675"/>
                    <a:gd name="connsiteY1" fmla="*/ 835025 h 1397000"/>
                    <a:gd name="connsiteX2" fmla="*/ 295275 w 1336675"/>
                    <a:gd name="connsiteY2" fmla="*/ 1016000 h 1397000"/>
                    <a:gd name="connsiteX3" fmla="*/ 463550 w 1336675"/>
                    <a:gd name="connsiteY3" fmla="*/ 1162050 h 1397000"/>
                    <a:gd name="connsiteX4" fmla="*/ 593725 w 1336675"/>
                    <a:gd name="connsiteY4" fmla="*/ 1273175 h 1397000"/>
                    <a:gd name="connsiteX5" fmla="*/ 758825 w 1336675"/>
                    <a:gd name="connsiteY5" fmla="*/ 1377950 h 1397000"/>
                    <a:gd name="connsiteX6" fmla="*/ 1022350 w 1336675"/>
                    <a:gd name="connsiteY6" fmla="*/ 1397000 h 1397000"/>
                    <a:gd name="connsiteX7" fmla="*/ 1155700 w 1336675"/>
                    <a:gd name="connsiteY7" fmla="*/ 1311275 h 1397000"/>
                    <a:gd name="connsiteX8" fmla="*/ 1244600 w 1336675"/>
                    <a:gd name="connsiteY8" fmla="*/ 1095375 h 1397000"/>
                    <a:gd name="connsiteX9" fmla="*/ 1336675 w 1336675"/>
                    <a:gd name="connsiteY9" fmla="*/ 936625 h 1397000"/>
                    <a:gd name="connsiteX10" fmla="*/ 1304925 w 1336675"/>
                    <a:gd name="connsiteY10" fmla="*/ 736600 h 1397000"/>
                    <a:gd name="connsiteX11" fmla="*/ 1196975 w 1336675"/>
                    <a:gd name="connsiteY11" fmla="*/ 73025 h 1397000"/>
                    <a:gd name="connsiteX12" fmla="*/ 673100 w 1336675"/>
                    <a:gd name="connsiteY12" fmla="*/ 0 h 1397000"/>
                    <a:gd name="connsiteX13" fmla="*/ 0 w 1336675"/>
                    <a:gd name="connsiteY13" fmla="*/ 517525 h 1397000"/>
                    <a:gd name="connsiteX0" fmla="*/ 0 w 1336675"/>
                    <a:gd name="connsiteY0" fmla="*/ 517525 h 1397000"/>
                    <a:gd name="connsiteX1" fmla="*/ 120650 w 1336675"/>
                    <a:gd name="connsiteY1" fmla="*/ 835025 h 1397000"/>
                    <a:gd name="connsiteX2" fmla="*/ 295275 w 1336675"/>
                    <a:gd name="connsiteY2" fmla="*/ 1016000 h 1397000"/>
                    <a:gd name="connsiteX3" fmla="*/ 463550 w 1336675"/>
                    <a:gd name="connsiteY3" fmla="*/ 1162050 h 1397000"/>
                    <a:gd name="connsiteX4" fmla="*/ 593725 w 1336675"/>
                    <a:gd name="connsiteY4" fmla="*/ 1273175 h 1397000"/>
                    <a:gd name="connsiteX5" fmla="*/ 758825 w 1336675"/>
                    <a:gd name="connsiteY5" fmla="*/ 1377950 h 1397000"/>
                    <a:gd name="connsiteX6" fmla="*/ 1022350 w 1336675"/>
                    <a:gd name="connsiteY6" fmla="*/ 1397000 h 1397000"/>
                    <a:gd name="connsiteX7" fmla="*/ 1155700 w 1336675"/>
                    <a:gd name="connsiteY7" fmla="*/ 1311275 h 1397000"/>
                    <a:gd name="connsiteX8" fmla="*/ 1244600 w 1336675"/>
                    <a:gd name="connsiteY8" fmla="*/ 1095375 h 1397000"/>
                    <a:gd name="connsiteX9" fmla="*/ 1336675 w 1336675"/>
                    <a:gd name="connsiteY9" fmla="*/ 936625 h 1397000"/>
                    <a:gd name="connsiteX10" fmla="*/ 1304925 w 1336675"/>
                    <a:gd name="connsiteY10" fmla="*/ 736600 h 1397000"/>
                    <a:gd name="connsiteX11" fmla="*/ 1260475 w 1336675"/>
                    <a:gd name="connsiteY11" fmla="*/ 438150 h 1397000"/>
                    <a:gd name="connsiteX12" fmla="*/ 1196975 w 1336675"/>
                    <a:gd name="connsiteY12" fmla="*/ 73025 h 1397000"/>
                    <a:gd name="connsiteX13" fmla="*/ 673100 w 1336675"/>
                    <a:gd name="connsiteY13" fmla="*/ 0 h 1397000"/>
                    <a:gd name="connsiteX14" fmla="*/ 0 w 1336675"/>
                    <a:gd name="connsiteY14" fmla="*/ 517525 h 1397000"/>
                    <a:gd name="connsiteX0" fmla="*/ 0 w 1336675"/>
                    <a:gd name="connsiteY0" fmla="*/ 517525 h 1397000"/>
                    <a:gd name="connsiteX1" fmla="*/ 120650 w 1336675"/>
                    <a:gd name="connsiteY1" fmla="*/ 835025 h 1397000"/>
                    <a:gd name="connsiteX2" fmla="*/ 295275 w 1336675"/>
                    <a:gd name="connsiteY2" fmla="*/ 1016000 h 1397000"/>
                    <a:gd name="connsiteX3" fmla="*/ 463550 w 1336675"/>
                    <a:gd name="connsiteY3" fmla="*/ 1162050 h 1397000"/>
                    <a:gd name="connsiteX4" fmla="*/ 593725 w 1336675"/>
                    <a:gd name="connsiteY4" fmla="*/ 1273175 h 1397000"/>
                    <a:gd name="connsiteX5" fmla="*/ 758825 w 1336675"/>
                    <a:gd name="connsiteY5" fmla="*/ 1377950 h 1397000"/>
                    <a:gd name="connsiteX6" fmla="*/ 1022350 w 1336675"/>
                    <a:gd name="connsiteY6" fmla="*/ 1397000 h 1397000"/>
                    <a:gd name="connsiteX7" fmla="*/ 1155700 w 1336675"/>
                    <a:gd name="connsiteY7" fmla="*/ 1311275 h 1397000"/>
                    <a:gd name="connsiteX8" fmla="*/ 1244600 w 1336675"/>
                    <a:gd name="connsiteY8" fmla="*/ 1095375 h 1397000"/>
                    <a:gd name="connsiteX9" fmla="*/ 1336675 w 1336675"/>
                    <a:gd name="connsiteY9" fmla="*/ 936625 h 1397000"/>
                    <a:gd name="connsiteX10" fmla="*/ 1304925 w 1336675"/>
                    <a:gd name="connsiteY10" fmla="*/ 736600 h 1397000"/>
                    <a:gd name="connsiteX11" fmla="*/ 1108075 w 1336675"/>
                    <a:gd name="connsiteY11" fmla="*/ 517525 h 1397000"/>
                    <a:gd name="connsiteX12" fmla="*/ 1196975 w 1336675"/>
                    <a:gd name="connsiteY12" fmla="*/ 73025 h 1397000"/>
                    <a:gd name="connsiteX13" fmla="*/ 673100 w 1336675"/>
                    <a:gd name="connsiteY13" fmla="*/ 0 h 1397000"/>
                    <a:gd name="connsiteX14" fmla="*/ 0 w 1336675"/>
                    <a:gd name="connsiteY14" fmla="*/ 517525 h 1397000"/>
                    <a:gd name="connsiteX0" fmla="*/ 0 w 1336675"/>
                    <a:gd name="connsiteY0" fmla="*/ 517525 h 1397000"/>
                    <a:gd name="connsiteX1" fmla="*/ 120650 w 1336675"/>
                    <a:gd name="connsiteY1" fmla="*/ 835025 h 1397000"/>
                    <a:gd name="connsiteX2" fmla="*/ 295275 w 1336675"/>
                    <a:gd name="connsiteY2" fmla="*/ 1016000 h 1397000"/>
                    <a:gd name="connsiteX3" fmla="*/ 463550 w 1336675"/>
                    <a:gd name="connsiteY3" fmla="*/ 1162050 h 1397000"/>
                    <a:gd name="connsiteX4" fmla="*/ 593725 w 1336675"/>
                    <a:gd name="connsiteY4" fmla="*/ 1273175 h 1397000"/>
                    <a:gd name="connsiteX5" fmla="*/ 758825 w 1336675"/>
                    <a:gd name="connsiteY5" fmla="*/ 1377950 h 1397000"/>
                    <a:gd name="connsiteX6" fmla="*/ 1022350 w 1336675"/>
                    <a:gd name="connsiteY6" fmla="*/ 1397000 h 1397000"/>
                    <a:gd name="connsiteX7" fmla="*/ 1155700 w 1336675"/>
                    <a:gd name="connsiteY7" fmla="*/ 1311275 h 1397000"/>
                    <a:gd name="connsiteX8" fmla="*/ 1244600 w 1336675"/>
                    <a:gd name="connsiteY8" fmla="*/ 1095375 h 1397000"/>
                    <a:gd name="connsiteX9" fmla="*/ 1336675 w 1336675"/>
                    <a:gd name="connsiteY9" fmla="*/ 936625 h 1397000"/>
                    <a:gd name="connsiteX10" fmla="*/ 1304925 w 1336675"/>
                    <a:gd name="connsiteY10" fmla="*/ 736600 h 1397000"/>
                    <a:gd name="connsiteX11" fmla="*/ 1228725 w 1336675"/>
                    <a:gd name="connsiteY11" fmla="*/ 644525 h 1397000"/>
                    <a:gd name="connsiteX12" fmla="*/ 1108075 w 1336675"/>
                    <a:gd name="connsiteY12" fmla="*/ 517525 h 1397000"/>
                    <a:gd name="connsiteX13" fmla="*/ 1196975 w 1336675"/>
                    <a:gd name="connsiteY13" fmla="*/ 73025 h 1397000"/>
                    <a:gd name="connsiteX14" fmla="*/ 673100 w 1336675"/>
                    <a:gd name="connsiteY14" fmla="*/ 0 h 1397000"/>
                    <a:gd name="connsiteX15" fmla="*/ 0 w 1336675"/>
                    <a:gd name="connsiteY15" fmla="*/ 517525 h 1397000"/>
                    <a:gd name="connsiteX0" fmla="*/ 0 w 1390650"/>
                    <a:gd name="connsiteY0" fmla="*/ 517525 h 1397000"/>
                    <a:gd name="connsiteX1" fmla="*/ 120650 w 1390650"/>
                    <a:gd name="connsiteY1" fmla="*/ 835025 h 1397000"/>
                    <a:gd name="connsiteX2" fmla="*/ 295275 w 1390650"/>
                    <a:gd name="connsiteY2" fmla="*/ 1016000 h 1397000"/>
                    <a:gd name="connsiteX3" fmla="*/ 463550 w 1390650"/>
                    <a:gd name="connsiteY3" fmla="*/ 1162050 h 1397000"/>
                    <a:gd name="connsiteX4" fmla="*/ 593725 w 1390650"/>
                    <a:gd name="connsiteY4" fmla="*/ 1273175 h 1397000"/>
                    <a:gd name="connsiteX5" fmla="*/ 758825 w 1390650"/>
                    <a:gd name="connsiteY5" fmla="*/ 1377950 h 1397000"/>
                    <a:gd name="connsiteX6" fmla="*/ 1022350 w 1390650"/>
                    <a:gd name="connsiteY6" fmla="*/ 1397000 h 1397000"/>
                    <a:gd name="connsiteX7" fmla="*/ 1155700 w 1390650"/>
                    <a:gd name="connsiteY7" fmla="*/ 1311275 h 1397000"/>
                    <a:gd name="connsiteX8" fmla="*/ 1244600 w 1390650"/>
                    <a:gd name="connsiteY8" fmla="*/ 1095375 h 1397000"/>
                    <a:gd name="connsiteX9" fmla="*/ 1336675 w 1390650"/>
                    <a:gd name="connsiteY9" fmla="*/ 936625 h 1397000"/>
                    <a:gd name="connsiteX10" fmla="*/ 1304925 w 1390650"/>
                    <a:gd name="connsiteY10" fmla="*/ 736600 h 1397000"/>
                    <a:gd name="connsiteX11" fmla="*/ 1390650 w 1390650"/>
                    <a:gd name="connsiteY11" fmla="*/ 546100 h 1397000"/>
                    <a:gd name="connsiteX12" fmla="*/ 1108075 w 1390650"/>
                    <a:gd name="connsiteY12" fmla="*/ 517525 h 1397000"/>
                    <a:gd name="connsiteX13" fmla="*/ 1196975 w 1390650"/>
                    <a:gd name="connsiteY13" fmla="*/ 73025 h 1397000"/>
                    <a:gd name="connsiteX14" fmla="*/ 673100 w 1390650"/>
                    <a:gd name="connsiteY14" fmla="*/ 0 h 1397000"/>
                    <a:gd name="connsiteX15" fmla="*/ 0 w 1390650"/>
                    <a:gd name="connsiteY15" fmla="*/ 517525 h 13970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</a:cxnLst>
                  <a:rect l="l" t="t" r="r" b="b"/>
                  <a:pathLst>
                    <a:path w="1390650" h="1397000">
                      <a:moveTo>
                        <a:pt x="0" y="517525"/>
                      </a:moveTo>
                      <a:lnTo>
                        <a:pt x="120650" y="835025"/>
                      </a:lnTo>
                      <a:lnTo>
                        <a:pt x="295275" y="1016000"/>
                      </a:lnTo>
                      <a:lnTo>
                        <a:pt x="463550" y="1162050"/>
                      </a:lnTo>
                      <a:lnTo>
                        <a:pt x="593725" y="1273175"/>
                      </a:lnTo>
                      <a:lnTo>
                        <a:pt x="758825" y="1377950"/>
                      </a:lnTo>
                      <a:lnTo>
                        <a:pt x="1022350" y="1397000"/>
                      </a:lnTo>
                      <a:lnTo>
                        <a:pt x="1155700" y="1311275"/>
                      </a:lnTo>
                      <a:lnTo>
                        <a:pt x="1244600" y="1095375"/>
                      </a:lnTo>
                      <a:lnTo>
                        <a:pt x="1336675" y="936625"/>
                      </a:lnTo>
                      <a:lnTo>
                        <a:pt x="1304925" y="736600"/>
                      </a:lnTo>
                      <a:lnTo>
                        <a:pt x="1390650" y="546100"/>
                      </a:lnTo>
                      <a:lnTo>
                        <a:pt x="1108075" y="517525"/>
                      </a:lnTo>
                      <a:lnTo>
                        <a:pt x="1196975" y="73025"/>
                      </a:lnTo>
                      <a:lnTo>
                        <a:pt x="673100" y="0"/>
                      </a:lnTo>
                      <a:lnTo>
                        <a:pt x="0" y="517525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79" name="Freeform 78"/>
                <p:cNvSpPr/>
                <p:nvPr/>
              </p:nvSpPr>
              <p:spPr>
                <a:xfrm>
                  <a:off x="2193925" y="796925"/>
                  <a:ext cx="1092200" cy="1422400"/>
                </a:xfrm>
                <a:custGeom>
                  <a:avLst/>
                  <a:gdLst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84250 w 1133475"/>
                    <a:gd name="connsiteY19" fmla="*/ 381000 h 1422400"/>
                    <a:gd name="connsiteX20" fmla="*/ 974725 w 1133475"/>
                    <a:gd name="connsiteY20" fmla="*/ 336550 h 1422400"/>
                    <a:gd name="connsiteX21" fmla="*/ 962025 w 1133475"/>
                    <a:gd name="connsiteY21" fmla="*/ 285750 h 1422400"/>
                    <a:gd name="connsiteX22" fmla="*/ 914400 w 1133475"/>
                    <a:gd name="connsiteY22" fmla="*/ 247650 h 1422400"/>
                    <a:gd name="connsiteX23" fmla="*/ 825500 w 1133475"/>
                    <a:gd name="connsiteY23" fmla="*/ 215900 h 1422400"/>
                    <a:gd name="connsiteX24" fmla="*/ 749300 w 1133475"/>
                    <a:gd name="connsiteY24" fmla="*/ 196850 h 1422400"/>
                    <a:gd name="connsiteX25" fmla="*/ 676275 w 1133475"/>
                    <a:gd name="connsiteY25" fmla="*/ 146050 h 1422400"/>
                    <a:gd name="connsiteX26" fmla="*/ 641350 w 1133475"/>
                    <a:gd name="connsiteY26" fmla="*/ 117475 h 1422400"/>
                    <a:gd name="connsiteX27" fmla="*/ 600075 w 1133475"/>
                    <a:gd name="connsiteY27" fmla="*/ 476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84250 w 1133475"/>
                    <a:gd name="connsiteY19" fmla="*/ 381000 h 1422400"/>
                    <a:gd name="connsiteX20" fmla="*/ 974725 w 1133475"/>
                    <a:gd name="connsiteY20" fmla="*/ 336550 h 1422400"/>
                    <a:gd name="connsiteX21" fmla="*/ 962025 w 1133475"/>
                    <a:gd name="connsiteY21" fmla="*/ 285750 h 1422400"/>
                    <a:gd name="connsiteX22" fmla="*/ 914400 w 1133475"/>
                    <a:gd name="connsiteY22" fmla="*/ 247650 h 1422400"/>
                    <a:gd name="connsiteX23" fmla="*/ 825500 w 1133475"/>
                    <a:gd name="connsiteY23" fmla="*/ 215900 h 1422400"/>
                    <a:gd name="connsiteX24" fmla="*/ 749300 w 1133475"/>
                    <a:gd name="connsiteY24" fmla="*/ 196850 h 1422400"/>
                    <a:gd name="connsiteX25" fmla="*/ 676275 w 1133475"/>
                    <a:gd name="connsiteY25" fmla="*/ 146050 h 1422400"/>
                    <a:gd name="connsiteX26" fmla="*/ 641350 w 1133475"/>
                    <a:gd name="connsiteY26" fmla="*/ 11747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84250 w 1133475"/>
                    <a:gd name="connsiteY19" fmla="*/ 381000 h 1422400"/>
                    <a:gd name="connsiteX20" fmla="*/ 974725 w 1133475"/>
                    <a:gd name="connsiteY20" fmla="*/ 336550 h 1422400"/>
                    <a:gd name="connsiteX21" fmla="*/ 962025 w 1133475"/>
                    <a:gd name="connsiteY21" fmla="*/ 285750 h 1422400"/>
                    <a:gd name="connsiteX22" fmla="*/ 914400 w 1133475"/>
                    <a:gd name="connsiteY22" fmla="*/ 247650 h 1422400"/>
                    <a:gd name="connsiteX23" fmla="*/ 825500 w 1133475"/>
                    <a:gd name="connsiteY23" fmla="*/ 215900 h 1422400"/>
                    <a:gd name="connsiteX24" fmla="*/ 749300 w 1133475"/>
                    <a:gd name="connsiteY24" fmla="*/ 196850 h 1422400"/>
                    <a:gd name="connsiteX25" fmla="*/ 676275 w 1133475"/>
                    <a:gd name="connsiteY25" fmla="*/ 1460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84250 w 1133475"/>
                    <a:gd name="connsiteY19" fmla="*/ 381000 h 1422400"/>
                    <a:gd name="connsiteX20" fmla="*/ 974725 w 1133475"/>
                    <a:gd name="connsiteY20" fmla="*/ 336550 h 1422400"/>
                    <a:gd name="connsiteX21" fmla="*/ 962025 w 1133475"/>
                    <a:gd name="connsiteY21" fmla="*/ 285750 h 1422400"/>
                    <a:gd name="connsiteX22" fmla="*/ 914400 w 1133475"/>
                    <a:gd name="connsiteY22" fmla="*/ 247650 h 1422400"/>
                    <a:gd name="connsiteX23" fmla="*/ 825500 w 1133475"/>
                    <a:gd name="connsiteY23" fmla="*/ 215900 h 1422400"/>
                    <a:gd name="connsiteX24" fmla="*/ 749300 w 1133475"/>
                    <a:gd name="connsiteY24" fmla="*/ 1968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84250 w 1133475"/>
                    <a:gd name="connsiteY19" fmla="*/ 381000 h 1422400"/>
                    <a:gd name="connsiteX20" fmla="*/ 974725 w 1133475"/>
                    <a:gd name="connsiteY20" fmla="*/ 336550 h 1422400"/>
                    <a:gd name="connsiteX21" fmla="*/ 962025 w 1133475"/>
                    <a:gd name="connsiteY21" fmla="*/ 285750 h 1422400"/>
                    <a:gd name="connsiteX22" fmla="*/ 914400 w 1133475"/>
                    <a:gd name="connsiteY22" fmla="*/ 247650 h 1422400"/>
                    <a:gd name="connsiteX23" fmla="*/ 825500 w 1133475"/>
                    <a:gd name="connsiteY23" fmla="*/ 21590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84250 w 1133475"/>
                    <a:gd name="connsiteY19" fmla="*/ 381000 h 1422400"/>
                    <a:gd name="connsiteX20" fmla="*/ 974725 w 1133475"/>
                    <a:gd name="connsiteY20" fmla="*/ 336550 h 1422400"/>
                    <a:gd name="connsiteX21" fmla="*/ 962025 w 1133475"/>
                    <a:gd name="connsiteY21" fmla="*/ 285750 h 1422400"/>
                    <a:gd name="connsiteX22" fmla="*/ 914400 w 1133475"/>
                    <a:gd name="connsiteY22" fmla="*/ 247650 h 1422400"/>
                    <a:gd name="connsiteX23" fmla="*/ 822325 w 1133475"/>
                    <a:gd name="connsiteY23" fmla="*/ 31115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84250 w 1133475"/>
                    <a:gd name="connsiteY19" fmla="*/ 381000 h 1422400"/>
                    <a:gd name="connsiteX20" fmla="*/ 974725 w 1133475"/>
                    <a:gd name="connsiteY20" fmla="*/ 336550 h 1422400"/>
                    <a:gd name="connsiteX21" fmla="*/ 962025 w 1133475"/>
                    <a:gd name="connsiteY21" fmla="*/ 285750 h 1422400"/>
                    <a:gd name="connsiteX22" fmla="*/ 889000 w 1133475"/>
                    <a:gd name="connsiteY22" fmla="*/ 323850 h 1422400"/>
                    <a:gd name="connsiteX23" fmla="*/ 822325 w 1133475"/>
                    <a:gd name="connsiteY23" fmla="*/ 31115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84250 w 1133475"/>
                    <a:gd name="connsiteY19" fmla="*/ 381000 h 1422400"/>
                    <a:gd name="connsiteX20" fmla="*/ 974725 w 1133475"/>
                    <a:gd name="connsiteY20" fmla="*/ 336550 h 1422400"/>
                    <a:gd name="connsiteX21" fmla="*/ 838200 w 1133475"/>
                    <a:gd name="connsiteY21" fmla="*/ 355600 h 1422400"/>
                    <a:gd name="connsiteX22" fmla="*/ 889000 w 1133475"/>
                    <a:gd name="connsiteY22" fmla="*/ 323850 h 1422400"/>
                    <a:gd name="connsiteX23" fmla="*/ 822325 w 1133475"/>
                    <a:gd name="connsiteY23" fmla="*/ 31115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84250 w 1133475"/>
                    <a:gd name="connsiteY19" fmla="*/ 381000 h 1422400"/>
                    <a:gd name="connsiteX20" fmla="*/ 822325 w 1133475"/>
                    <a:gd name="connsiteY20" fmla="*/ 393700 h 1422400"/>
                    <a:gd name="connsiteX21" fmla="*/ 838200 w 1133475"/>
                    <a:gd name="connsiteY21" fmla="*/ 355600 h 1422400"/>
                    <a:gd name="connsiteX22" fmla="*/ 889000 w 1133475"/>
                    <a:gd name="connsiteY22" fmla="*/ 323850 h 1422400"/>
                    <a:gd name="connsiteX23" fmla="*/ 822325 w 1133475"/>
                    <a:gd name="connsiteY23" fmla="*/ 31115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1028700 w 1133475"/>
                    <a:gd name="connsiteY18" fmla="*/ 450850 h 1422400"/>
                    <a:gd name="connsiteX19" fmla="*/ 901700 w 1133475"/>
                    <a:gd name="connsiteY19" fmla="*/ 419100 h 1422400"/>
                    <a:gd name="connsiteX20" fmla="*/ 822325 w 1133475"/>
                    <a:gd name="connsiteY20" fmla="*/ 393700 h 1422400"/>
                    <a:gd name="connsiteX21" fmla="*/ 838200 w 1133475"/>
                    <a:gd name="connsiteY21" fmla="*/ 355600 h 1422400"/>
                    <a:gd name="connsiteX22" fmla="*/ 889000 w 1133475"/>
                    <a:gd name="connsiteY22" fmla="*/ 323850 h 1422400"/>
                    <a:gd name="connsiteX23" fmla="*/ 822325 w 1133475"/>
                    <a:gd name="connsiteY23" fmla="*/ 31115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1076325 w 1133475"/>
                    <a:gd name="connsiteY17" fmla="*/ 492125 h 1422400"/>
                    <a:gd name="connsiteX18" fmla="*/ 933450 w 1133475"/>
                    <a:gd name="connsiteY18" fmla="*/ 476250 h 1422400"/>
                    <a:gd name="connsiteX19" fmla="*/ 901700 w 1133475"/>
                    <a:gd name="connsiteY19" fmla="*/ 419100 h 1422400"/>
                    <a:gd name="connsiteX20" fmla="*/ 822325 w 1133475"/>
                    <a:gd name="connsiteY20" fmla="*/ 393700 h 1422400"/>
                    <a:gd name="connsiteX21" fmla="*/ 838200 w 1133475"/>
                    <a:gd name="connsiteY21" fmla="*/ 355600 h 1422400"/>
                    <a:gd name="connsiteX22" fmla="*/ 889000 w 1133475"/>
                    <a:gd name="connsiteY22" fmla="*/ 323850 h 1422400"/>
                    <a:gd name="connsiteX23" fmla="*/ 822325 w 1133475"/>
                    <a:gd name="connsiteY23" fmla="*/ 31115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108075 w 1133475"/>
                    <a:gd name="connsiteY16" fmla="*/ 533400 h 1422400"/>
                    <a:gd name="connsiteX17" fmla="*/ 936625 w 1133475"/>
                    <a:gd name="connsiteY17" fmla="*/ 514350 h 1422400"/>
                    <a:gd name="connsiteX18" fmla="*/ 933450 w 1133475"/>
                    <a:gd name="connsiteY18" fmla="*/ 476250 h 1422400"/>
                    <a:gd name="connsiteX19" fmla="*/ 901700 w 1133475"/>
                    <a:gd name="connsiteY19" fmla="*/ 419100 h 1422400"/>
                    <a:gd name="connsiteX20" fmla="*/ 822325 w 1133475"/>
                    <a:gd name="connsiteY20" fmla="*/ 393700 h 1422400"/>
                    <a:gd name="connsiteX21" fmla="*/ 838200 w 1133475"/>
                    <a:gd name="connsiteY21" fmla="*/ 355600 h 1422400"/>
                    <a:gd name="connsiteX22" fmla="*/ 889000 w 1133475"/>
                    <a:gd name="connsiteY22" fmla="*/ 323850 h 1422400"/>
                    <a:gd name="connsiteX23" fmla="*/ 822325 w 1133475"/>
                    <a:gd name="connsiteY23" fmla="*/ 31115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130300 w 1133475"/>
                    <a:gd name="connsiteY15" fmla="*/ 600075 h 1422400"/>
                    <a:gd name="connsiteX16" fmla="*/ 1038225 w 1133475"/>
                    <a:gd name="connsiteY16" fmla="*/ 552450 h 1422400"/>
                    <a:gd name="connsiteX17" fmla="*/ 936625 w 1133475"/>
                    <a:gd name="connsiteY17" fmla="*/ 514350 h 1422400"/>
                    <a:gd name="connsiteX18" fmla="*/ 933450 w 1133475"/>
                    <a:gd name="connsiteY18" fmla="*/ 476250 h 1422400"/>
                    <a:gd name="connsiteX19" fmla="*/ 901700 w 1133475"/>
                    <a:gd name="connsiteY19" fmla="*/ 419100 h 1422400"/>
                    <a:gd name="connsiteX20" fmla="*/ 822325 w 1133475"/>
                    <a:gd name="connsiteY20" fmla="*/ 393700 h 1422400"/>
                    <a:gd name="connsiteX21" fmla="*/ 838200 w 1133475"/>
                    <a:gd name="connsiteY21" fmla="*/ 355600 h 1422400"/>
                    <a:gd name="connsiteX22" fmla="*/ 889000 w 1133475"/>
                    <a:gd name="connsiteY22" fmla="*/ 323850 h 1422400"/>
                    <a:gd name="connsiteX23" fmla="*/ 822325 w 1133475"/>
                    <a:gd name="connsiteY23" fmla="*/ 31115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133475"/>
                    <a:gd name="connsiteY0" fmla="*/ 0 h 1422400"/>
                    <a:gd name="connsiteX1" fmla="*/ 346075 w 1133475"/>
                    <a:gd name="connsiteY1" fmla="*/ 44450 h 1422400"/>
                    <a:gd name="connsiteX2" fmla="*/ 136525 w 1133475"/>
                    <a:gd name="connsiteY2" fmla="*/ 196850 h 1422400"/>
                    <a:gd name="connsiteX3" fmla="*/ 133350 w 1133475"/>
                    <a:gd name="connsiteY3" fmla="*/ 415925 h 1422400"/>
                    <a:gd name="connsiteX4" fmla="*/ 60325 w 1133475"/>
                    <a:gd name="connsiteY4" fmla="*/ 650875 h 1422400"/>
                    <a:gd name="connsiteX5" fmla="*/ 0 w 1133475"/>
                    <a:gd name="connsiteY5" fmla="*/ 755650 h 1422400"/>
                    <a:gd name="connsiteX6" fmla="*/ 6350 w 1133475"/>
                    <a:gd name="connsiteY6" fmla="*/ 1022350 h 1422400"/>
                    <a:gd name="connsiteX7" fmla="*/ 104775 w 1133475"/>
                    <a:gd name="connsiteY7" fmla="*/ 1308100 h 1422400"/>
                    <a:gd name="connsiteX8" fmla="*/ 180975 w 1133475"/>
                    <a:gd name="connsiteY8" fmla="*/ 1406525 h 1422400"/>
                    <a:gd name="connsiteX9" fmla="*/ 346075 w 1133475"/>
                    <a:gd name="connsiteY9" fmla="*/ 1422400 h 1422400"/>
                    <a:gd name="connsiteX10" fmla="*/ 612775 w 1133475"/>
                    <a:gd name="connsiteY10" fmla="*/ 1216025 h 1422400"/>
                    <a:gd name="connsiteX11" fmla="*/ 876300 w 1133475"/>
                    <a:gd name="connsiteY11" fmla="*/ 1038225 h 1422400"/>
                    <a:gd name="connsiteX12" fmla="*/ 1038225 w 1133475"/>
                    <a:gd name="connsiteY12" fmla="*/ 908050 h 1422400"/>
                    <a:gd name="connsiteX13" fmla="*/ 1092200 w 1133475"/>
                    <a:gd name="connsiteY13" fmla="*/ 752475 h 1422400"/>
                    <a:gd name="connsiteX14" fmla="*/ 1133475 w 1133475"/>
                    <a:gd name="connsiteY14" fmla="*/ 682625 h 1422400"/>
                    <a:gd name="connsiteX15" fmla="*/ 1054100 w 1133475"/>
                    <a:gd name="connsiteY15" fmla="*/ 606425 h 1422400"/>
                    <a:gd name="connsiteX16" fmla="*/ 1038225 w 1133475"/>
                    <a:gd name="connsiteY16" fmla="*/ 552450 h 1422400"/>
                    <a:gd name="connsiteX17" fmla="*/ 936625 w 1133475"/>
                    <a:gd name="connsiteY17" fmla="*/ 514350 h 1422400"/>
                    <a:gd name="connsiteX18" fmla="*/ 933450 w 1133475"/>
                    <a:gd name="connsiteY18" fmla="*/ 476250 h 1422400"/>
                    <a:gd name="connsiteX19" fmla="*/ 901700 w 1133475"/>
                    <a:gd name="connsiteY19" fmla="*/ 419100 h 1422400"/>
                    <a:gd name="connsiteX20" fmla="*/ 822325 w 1133475"/>
                    <a:gd name="connsiteY20" fmla="*/ 393700 h 1422400"/>
                    <a:gd name="connsiteX21" fmla="*/ 838200 w 1133475"/>
                    <a:gd name="connsiteY21" fmla="*/ 355600 h 1422400"/>
                    <a:gd name="connsiteX22" fmla="*/ 889000 w 1133475"/>
                    <a:gd name="connsiteY22" fmla="*/ 323850 h 1422400"/>
                    <a:gd name="connsiteX23" fmla="*/ 822325 w 1133475"/>
                    <a:gd name="connsiteY23" fmla="*/ 311150 h 1422400"/>
                    <a:gd name="connsiteX24" fmla="*/ 736600 w 1133475"/>
                    <a:gd name="connsiteY24" fmla="*/ 298450 h 1422400"/>
                    <a:gd name="connsiteX25" fmla="*/ 660400 w 1133475"/>
                    <a:gd name="connsiteY25" fmla="*/ 247650 h 1422400"/>
                    <a:gd name="connsiteX26" fmla="*/ 571500 w 1133475"/>
                    <a:gd name="connsiteY26" fmla="*/ 200025 h 1422400"/>
                    <a:gd name="connsiteX27" fmla="*/ 501650 w 1133475"/>
                    <a:gd name="connsiteY27" fmla="*/ 149225 h 1422400"/>
                    <a:gd name="connsiteX28" fmla="*/ 492125 w 1133475"/>
                    <a:gd name="connsiteY28" fmla="*/ 0 h 1422400"/>
                    <a:gd name="connsiteX0" fmla="*/ 492125 w 1092200"/>
                    <a:gd name="connsiteY0" fmla="*/ 0 h 1422400"/>
                    <a:gd name="connsiteX1" fmla="*/ 346075 w 1092200"/>
                    <a:gd name="connsiteY1" fmla="*/ 44450 h 1422400"/>
                    <a:gd name="connsiteX2" fmla="*/ 136525 w 1092200"/>
                    <a:gd name="connsiteY2" fmla="*/ 196850 h 1422400"/>
                    <a:gd name="connsiteX3" fmla="*/ 133350 w 1092200"/>
                    <a:gd name="connsiteY3" fmla="*/ 415925 h 1422400"/>
                    <a:gd name="connsiteX4" fmla="*/ 60325 w 1092200"/>
                    <a:gd name="connsiteY4" fmla="*/ 650875 h 1422400"/>
                    <a:gd name="connsiteX5" fmla="*/ 0 w 1092200"/>
                    <a:gd name="connsiteY5" fmla="*/ 755650 h 1422400"/>
                    <a:gd name="connsiteX6" fmla="*/ 6350 w 1092200"/>
                    <a:gd name="connsiteY6" fmla="*/ 1022350 h 1422400"/>
                    <a:gd name="connsiteX7" fmla="*/ 104775 w 1092200"/>
                    <a:gd name="connsiteY7" fmla="*/ 1308100 h 1422400"/>
                    <a:gd name="connsiteX8" fmla="*/ 180975 w 1092200"/>
                    <a:gd name="connsiteY8" fmla="*/ 1406525 h 1422400"/>
                    <a:gd name="connsiteX9" fmla="*/ 346075 w 1092200"/>
                    <a:gd name="connsiteY9" fmla="*/ 1422400 h 1422400"/>
                    <a:gd name="connsiteX10" fmla="*/ 612775 w 1092200"/>
                    <a:gd name="connsiteY10" fmla="*/ 1216025 h 1422400"/>
                    <a:gd name="connsiteX11" fmla="*/ 876300 w 1092200"/>
                    <a:gd name="connsiteY11" fmla="*/ 1038225 h 1422400"/>
                    <a:gd name="connsiteX12" fmla="*/ 1038225 w 1092200"/>
                    <a:gd name="connsiteY12" fmla="*/ 908050 h 1422400"/>
                    <a:gd name="connsiteX13" fmla="*/ 1092200 w 1092200"/>
                    <a:gd name="connsiteY13" fmla="*/ 752475 h 1422400"/>
                    <a:gd name="connsiteX14" fmla="*/ 1047750 w 1092200"/>
                    <a:gd name="connsiteY14" fmla="*/ 704850 h 1422400"/>
                    <a:gd name="connsiteX15" fmla="*/ 1054100 w 1092200"/>
                    <a:gd name="connsiteY15" fmla="*/ 606425 h 1422400"/>
                    <a:gd name="connsiteX16" fmla="*/ 1038225 w 1092200"/>
                    <a:gd name="connsiteY16" fmla="*/ 552450 h 1422400"/>
                    <a:gd name="connsiteX17" fmla="*/ 936625 w 1092200"/>
                    <a:gd name="connsiteY17" fmla="*/ 514350 h 1422400"/>
                    <a:gd name="connsiteX18" fmla="*/ 933450 w 1092200"/>
                    <a:gd name="connsiteY18" fmla="*/ 476250 h 1422400"/>
                    <a:gd name="connsiteX19" fmla="*/ 901700 w 1092200"/>
                    <a:gd name="connsiteY19" fmla="*/ 419100 h 1422400"/>
                    <a:gd name="connsiteX20" fmla="*/ 822325 w 1092200"/>
                    <a:gd name="connsiteY20" fmla="*/ 393700 h 1422400"/>
                    <a:gd name="connsiteX21" fmla="*/ 838200 w 1092200"/>
                    <a:gd name="connsiteY21" fmla="*/ 355600 h 1422400"/>
                    <a:gd name="connsiteX22" fmla="*/ 889000 w 1092200"/>
                    <a:gd name="connsiteY22" fmla="*/ 323850 h 1422400"/>
                    <a:gd name="connsiteX23" fmla="*/ 822325 w 1092200"/>
                    <a:gd name="connsiteY23" fmla="*/ 311150 h 1422400"/>
                    <a:gd name="connsiteX24" fmla="*/ 736600 w 1092200"/>
                    <a:gd name="connsiteY24" fmla="*/ 298450 h 1422400"/>
                    <a:gd name="connsiteX25" fmla="*/ 660400 w 1092200"/>
                    <a:gd name="connsiteY25" fmla="*/ 247650 h 1422400"/>
                    <a:gd name="connsiteX26" fmla="*/ 571500 w 1092200"/>
                    <a:gd name="connsiteY26" fmla="*/ 200025 h 1422400"/>
                    <a:gd name="connsiteX27" fmla="*/ 501650 w 1092200"/>
                    <a:gd name="connsiteY27" fmla="*/ 149225 h 1422400"/>
                    <a:gd name="connsiteX28" fmla="*/ 492125 w 1092200"/>
                    <a:gd name="connsiteY28" fmla="*/ 0 h 14224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</a:cxnLst>
                  <a:rect l="l" t="t" r="r" b="b"/>
                  <a:pathLst>
                    <a:path w="1092200" h="1422400">
                      <a:moveTo>
                        <a:pt x="492125" y="0"/>
                      </a:moveTo>
                      <a:lnTo>
                        <a:pt x="346075" y="44450"/>
                      </a:lnTo>
                      <a:lnTo>
                        <a:pt x="136525" y="196850"/>
                      </a:lnTo>
                      <a:cubicBezTo>
                        <a:pt x="135467" y="269875"/>
                        <a:pt x="134408" y="342900"/>
                        <a:pt x="133350" y="415925"/>
                      </a:cubicBezTo>
                      <a:lnTo>
                        <a:pt x="60325" y="650875"/>
                      </a:lnTo>
                      <a:lnTo>
                        <a:pt x="0" y="755650"/>
                      </a:lnTo>
                      <a:lnTo>
                        <a:pt x="6350" y="1022350"/>
                      </a:lnTo>
                      <a:lnTo>
                        <a:pt x="104775" y="1308100"/>
                      </a:lnTo>
                      <a:lnTo>
                        <a:pt x="180975" y="1406525"/>
                      </a:lnTo>
                      <a:lnTo>
                        <a:pt x="346075" y="1422400"/>
                      </a:lnTo>
                      <a:lnTo>
                        <a:pt x="612775" y="1216025"/>
                      </a:lnTo>
                      <a:lnTo>
                        <a:pt x="876300" y="1038225"/>
                      </a:lnTo>
                      <a:lnTo>
                        <a:pt x="1038225" y="908050"/>
                      </a:lnTo>
                      <a:lnTo>
                        <a:pt x="1092200" y="752475"/>
                      </a:lnTo>
                      <a:lnTo>
                        <a:pt x="1047750" y="704850"/>
                      </a:lnTo>
                      <a:lnTo>
                        <a:pt x="1054100" y="606425"/>
                      </a:lnTo>
                      <a:lnTo>
                        <a:pt x="1038225" y="552450"/>
                      </a:lnTo>
                      <a:lnTo>
                        <a:pt x="936625" y="514350"/>
                      </a:lnTo>
                      <a:lnTo>
                        <a:pt x="933450" y="476250"/>
                      </a:lnTo>
                      <a:lnTo>
                        <a:pt x="901700" y="419100"/>
                      </a:lnTo>
                      <a:lnTo>
                        <a:pt x="822325" y="393700"/>
                      </a:lnTo>
                      <a:lnTo>
                        <a:pt x="838200" y="355600"/>
                      </a:lnTo>
                      <a:lnTo>
                        <a:pt x="889000" y="323850"/>
                      </a:lnTo>
                      <a:lnTo>
                        <a:pt x="822325" y="311150"/>
                      </a:lnTo>
                      <a:lnTo>
                        <a:pt x="736600" y="298450"/>
                      </a:lnTo>
                      <a:lnTo>
                        <a:pt x="660400" y="247650"/>
                      </a:lnTo>
                      <a:lnTo>
                        <a:pt x="571500" y="200025"/>
                      </a:lnTo>
                      <a:lnTo>
                        <a:pt x="501650" y="149225"/>
                      </a:lnTo>
                      <a:lnTo>
                        <a:pt x="492125" y="0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0" name="Freeform 79"/>
                <p:cNvSpPr/>
                <p:nvPr/>
              </p:nvSpPr>
              <p:spPr>
                <a:xfrm>
                  <a:off x="7286625" y="3200398"/>
                  <a:ext cx="183358" cy="311945"/>
                </a:xfrm>
                <a:custGeom>
                  <a:avLst/>
                  <a:gdLst>
                    <a:gd name="connsiteX0" fmla="*/ 0 w 942975"/>
                    <a:gd name="connsiteY0" fmla="*/ 83344 h 385763"/>
                    <a:gd name="connsiteX1" fmla="*/ 702469 w 942975"/>
                    <a:gd name="connsiteY1" fmla="*/ 0 h 385763"/>
                    <a:gd name="connsiteX2" fmla="*/ 942975 w 942975"/>
                    <a:gd name="connsiteY2" fmla="*/ 347663 h 385763"/>
                    <a:gd name="connsiteX3" fmla="*/ 435769 w 942975"/>
                    <a:gd name="connsiteY3" fmla="*/ 385763 h 385763"/>
                    <a:gd name="connsiteX4" fmla="*/ 76200 w 942975"/>
                    <a:gd name="connsiteY4" fmla="*/ 114300 h 385763"/>
                    <a:gd name="connsiteX5" fmla="*/ 66675 w 942975"/>
                    <a:gd name="connsiteY5" fmla="*/ 342900 h 385763"/>
                    <a:gd name="connsiteX0" fmla="*/ 0 w 966788"/>
                    <a:gd name="connsiteY0" fmla="*/ 83344 h 385763"/>
                    <a:gd name="connsiteX1" fmla="*/ 702469 w 966788"/>
                    <a:gd name="connsiteY1" fmla="*/ 0 h 385763"/>
                    <a:gd name="connsiteX2" fmla="*/ 966788 w 966788"/>
                    <a:gd name="connsiteY2" fmla="*/ 385763 h 385763"/>
                    <a:gd name="connsiteX3" fmla="*/ 435769 w 966788"/>
                    <a:gd name="connsiteY3" fmla="*/ 385763 h 385763"/>
                    <a:gd name="connsiteX4" fmla="*/ 76200 w 966788"/>
                    <a:gd name="connsiteY4" fmla="*/ 114300 h 385763"/>
                    <a:gd name="connsiteX5" fmla="*/ 66675 w 966788"/>
                    <a:gd name="connsiteY5" fmla="*/ 342900 h 385763"/>
                    <a:gd name="connsiteX0" fmla="*/ 0 w 969169"/>
                    <a:gd name="connsiteY0" fmla="*/ 0 h 302419"/>
                    <a:gd name="connsiteX1" fmla="*/ 969169 w 969169"/>
                    <a:gd name="connsiteY1" fmla="*/ 238125 h 302419"/>
                    <a:gd name="connsiteX2" fmla="*/ 966788 w 969169"/>
                    <a:gd name="connsiteY2" fmla="*/ 302419 h 302419"/>
                    <a:gd name="connsiteX3" fmla="*/ 435769 w 969169"/>
                    <a:gd name="connsiteY3" fmla="*/ 302419 h 302419"/>
                    <a:gd name="connsiteX4" fmla="*/ 76200 w 969169"/>
                    <a:gd name="connsiteY4" fmla="*/ 30956 h 302419"/>
                    <a:gd name="connsiteX5" fmla="*/ 66675 w 969169"/>
                    <a:gd name="connsiteY5" fmla="*/ 259556 h 302419"/>
                    <a:gd name="connsiteX0" fmla="*/ 0 w 969169"/>
                    <a:gd name="connsiteY0" fmla="*/ 0 h 302419"/>
                    <a:gd name="connsiteX1" fmla="*/ 711993 w 969169"/>
                    <a:gd name="connsiteY1" fmla="*/ 176213 h 302419"/>
                    <a:gd name="connsiteX2" fmla="*/ 969169 w 969169"/>
                    <a:gd name="connsiteY2" fmla="*/ 238125 h 302419"/>
                    <a:gd name="connsiteX3" fmla="*/ 966788 w 969169"/>
                    <a:gd name="connsiteY3" fmla="*/ 302419 h 302419"/>
                    <a:gd name="connsiteX4" fmla="*/ 435769 w 969169"/>
                    <a:gd name="connsiteY4" fmla="*/ 302419 h 302419"/>
                    <a:gd name="connsiteX5" fmla="*/ 76200 w 969169"/>
                    <a:gd name="connsiteY5" fmla="*/ 30956 h 302419"/>
                    <a:gd name="connsiteX6" fmla="*/ 66675 w 969169"/>
                    <a:gd name="connsiteY6" fmla="*/ 259556 h 302419"/>
                    <a:gd name="connsiteX0" fmla="*/ 0 w 969169"/>
                    <a:gd name="connsiteY0" fmla="*/ 0 h 302419"/>
                    <a:gd name="connsiteX1" fmla="*/ 950118 w 969169"/>
                    <a:gd name="connsiteY1" fmla="*/ 209550 h 302419"/>
                    <a:gd name="connsiteX2" fmla="*/ 969169 w 969169"/>
                    <a:gd name="connsiteY2" fmla="*/ 238125 h 302419"/>
                    <a:gd name="connsiteX3" fmla="*/ 966788 w 969169"/>
                    <a:gd name="connsiteY3" fmla="*/ 302419 h 302419"/>
                    <a:gd name="connsiteX4" fmla="*/ 435769 w 969169"/>
                    <a:gd name="connsiteY4" fmla="*/ 302419 h 302419"/>
                    <a:gd name="connsiteX5" fmla="*/ 76200 w 969169"/>
                    <a:gd name="connsiteY5" fmla="*/ 30956 h 302419"/>
                    <a:gd name="connsiteX6" fmla="*/ 66675 w 969169"/>
                    <a:gd name="connsiteY6" fmla="*/ 259556 h 302419"/>
                    <a:gd name="connsiteX0" fmla="*/ 0 w 969169"/>
                    <a:gd name="connsiteY0" fmla="*/ 0 h 302419"/>
                    <a:gd name="connsiteX1" fmla="*/ 664368 w 969169"/>
                    <a:gd name="connsiteY1" fmla="*/ 147638 h 302419"/>
                    <a:gd name="connsiteX2" fmla="*/ 950118 w 969169"/>
                    <a:gd name="connsiteY2" fmla="*/ 209550 h 302419"/>
                    <a:gd name="connsiteX3" fmla="*/ 969169 w 969169"/>
                    <a:gd name="connsiteY3" fmla="*/ 238125 h 302419"/>
                    <a:gd name="connsiteX4" fmla="*/ 966788 w 969169"/>
                    <a:gd name="connsiteY4" fmla="*/ 302419 h 302419"/>
                    <a:gd name="connsiteX5" fmla="*/ 435769 w 969169"/>
                    <a:gd name="connsiteY5" fmla="*/ 302419 h 302419"/>
                    <a:gd name="connsiteX6" fmla="*/ 76200 w 969169"/>
                    <a:gd name="connsiteY6" fmla="*/ 30956 h 302419"/>
                    <a:gd name="connsiteX7" fmla="*/ 66675 w 969169"/>
                    <a:gd name="connsiteY7" fmla="*/ 259556 h 302419"/>
                    <a:gd name="connsiteX0" fmla="*/ 0 w 981074"/>
                    <a:gd name="connsiteY0" fmla="*/ 0 h 302419"/>
                    <a:gd name="connsiteX1" fmla="*/ 981074 w 981074"/>
                    <a:gd name="connsiteY1" fmla="*/ 133350 h 302419"/>
                    <a:gd name="connsiteX2" fmla="*/ 950118 w 981074"/>
                    <a:gd name="connsiteY2" fmla="*/ 209550 h 302419"/>
                    <a:gd name="connsiteX3" fmla="*/ 969169 w 981074"/>
                    <a:gd name="connsiteY3" fmla="*/ 238125 h 302419"/>
                    <a:gd name="connsiteX4" fmla="*/ 966788 w 981074"/>
                    <a:gd name="connsiteY4" fmla="*/ 302419 h 302419"/>
                    <a:gd name="connsiteX5" fmla="*/ 435769 w 981074"/>
                    <a:gd name="connsiteY5" fmla="*/ 302419 h 302419"/>
                    <a:gd name="connsiteX6" fmla="*/ 76200 w 981074"/>
                    <a:gd name="connsiteY6" fmla="*/ 30956 h 302419"/>
                    <a:gd name="connsiteX7" fmla="*/ 66675 w 981074"/>
                    <a:gd name="connsiteY7" fmla="*/ 259556 h 302419"/>
                    <a:gd name="connsiteX0" fmla="*/ 866775 w 914399"/>
                    <a:gd name="connsiteY0" fmla="*/ 119062 h 271463"/>
                    <a:gd name="connsiteX1" fmla="*/ 914399 w 914399"/>
                    <a:gd name="connsiteY1" fmla="*/ 102394 h 271463"/>
                    <a:gd name="connsiteX2" fmla="*/ 883443 w 914399"/>
                    <a:gd name="connsiteY2" fmla="*/ 178594 h 271463"/>
                    <a:gd name="connsiteX3" fmla="*/ 902494 w 914399"/>
                    <a:gd name="connsiteY3" fmla="*/ 207169 h 271463"/>
                    <a:gd name="connsiteX4" fmla="*/ 900113 w 914399"/>
                    <a:gd name="connsiteY4" fmla="*/ 271463 h 271463"/>
                    <a:gd name="connsiteX5" fmla="*/ 369094 w 914399"/>
                    <a:gd name="connsiteY5" fmla="*/ 271463 h 271463"/>
                    <a:gd name="connsiteX6" fmla="*/ 9525 w 914399"/>
                    <a:gd name="connsiteY6" fmla="*/ 0 h 271463"/>
                    <a:gd name="connsiteX7" fmla="*/ 0 w 914399"/>
                    <a:gd name="connsiteY7" fmla="*/ 228600 h 271463"/>
                    <a:gd name="connsiteX0" fmla="*/ 857250 w 904874"/>
                    <a:gd name="connsiteY0" fmla="*/ 119062 h 271463"/>
                    <a:gd name="connsiteX1" fmla="*/ 904874 w 904874"/>
                    <a:gd name="connsiteY1" fmla="*/ 102394 h 271463"/>
                    <a:gd name="connsiteX2" fmla="*/ 873918 w 904874"/>
                    <a:gd name="connsiteY2" fmla="*/ 178594 h 271463"/>
                    <a:gd name="connsiteX3" fmla="*/ 892969 w 904874"/>
                    <a:gd name="connsiteY3" fmla="*/ 207169 h 271463"/>
                    <a:gd name="connsiteX4" fmla="*/ 890588 w 904874"/>
                    <a:gd name="connsiteY4" fmla="*/ 271463 h 271463"/>
                    <a:gd name="connsiteX5" fmla="*/ 359569 w 904874"/>
                    <a:gd name="connsiteY5" fmla="*/ 271463 h 271463"/>
                    <a:gd name="connsiteX6" fmla="*/ 0 w 904874"/>
                    <a:gd name="connsiteY6" fmla="*/ 0 h 271463"/>
                    <a:gd name="connsiteX0" fmla="*/ 857250 w 904874"/>
                    <a:gd name="connsiteY0" fmla="*/ 119062 h 271463"/>
                    <a:gd name="connsiteX1" fmla="*/ 904874 w 904874"/>
                    <a:gd name="connsiteY1" fmla="*/ 102394 h 271463"/>
                    <a:gd name="connsiteX2" fmla="*/ 873918 w 904874"/>
                    <a:gd name="connsiteY2" fmla="*/ 178594 h 271463"/>
                    <a:gd name="connsiteX3" fmla="*/ 892969 w 904874"/>
                    <a:gd name="connsiteY3" fmla="*/ 207169 h 271463"/>
                    <a:gd name="connsiteX4" fmla="*/ 890588 w 904874"/>
                    <a:gd name="connsiteY4" fmla="*/ 271463 h 271463"/>
                    <a:gd name="connsiteX5" fmla="*/ 359569 w 904874"/>
                    <a:gd name="connsiteY5" fmla="*/ 271463 h 271463"/>
                    <a:gd name="connsiteX6" fmla="*/ 0 w 904874"/>
                    <a:gd name="connsiteY6" fmla="*/ 0 h 271463"/>
                    <a:gd name="connsiteX7" fmla="*/ 857250 w 904874"/>
                    <a:gd name="connsiteY7" fmla="*/ 119062 h 271463"/>
                    <a:gd name="connsiteX0" fmla="*/ 857250 w 904874"/>
                    <a:gd name="connsiteY0" fmla="*/ 119062 h 271463"/>
                    <a:gd name="connsiteX1" fmla="*/ 904874 w 904874"/>
                    <a:gd name="connsiteY1" fmla="*/ 102394 h 271463"/>
                    <a:gd name="connsiteX2" fmla="*/ 873918 w 904874"/>
                    <a:gd name="connsiteY2" fmla="*/ 178594 h 271463"/>
                    <a:gd name="connsiteX3" fmla="*/ 892969 w 904874"/>
                    <a:gd name="connsiteY3" fmla="*/ 207169 h 271463"/>
                    <a:gd name="connsiteX4" fmla="*/ 890588 w 904874"/>
                    <a:gd name="connsiteY4" fmla="*/ 271463 h 271463"/>
                    <a:gd name="connsiteX5" fmla="*/ 859632 w 904874"/>
                    <a:gd name="connsiteY5" fmla="*/ 247650 h 271463"/>
                    <a:gd name="connsiteX6" fmla="*/ 0 w 904874"/>
                    <a:gd name="connsiteY6" fmla="*/ 0 h 271463"/>
                    <a:gd name="connsiteX7" fmla="*/ 857250 w 904874"/>
                    <a:gd name="connsiteY7" fmla="*/ 119062 h 271463"/>
                    <a:gd name="connsiteX0" fmla="*/ 4762 w 52386"/>
                    <a:gd name="connsiteY0" fmla="*/ 16668 h 169069"/>
                    <a:gd name="connsiteX1" fmla="*/ 52386 w 52386"/>
                    <a:gd name="connsiteY1" fmla="*/ 0 h 169069"/>
                    <a:gd name="connsiteX2" fmla="*/ 21430 w 52386"/>
                    <a:gd name="connsiteY2" fmla="*/ 76200 h 169069"/>
                    <a:gd name="connsiteX3" fmla="*/ 40481 w 52386"/>
                    <a:gd name="connsiteY3" fmla="*/ 104775 h 169069"/>
                    <a:gd name="connsiteX4" fmla="*/ 38100 w 52386"/>
                    <a:gd name="connsiteY4" fmla="*/ 169069 h 169069"/>
                    <a:gd name="connsiteX5" fmla="*/ 7144 w 52386"/>
                    <a:gd name="connsiteY5" fmla="*/ 145256 h 169069"/>
                    <a:gd name="connsiteX6" fmla="*/ 0 w 52386"/>
                    <a:gd name="connsiteY6" fmla="*/ 116681 h 169069"/>
                    <a:gd name="connsiteX7" fmla="*/ 4762 w 52386"/>
                    <a:gd name="connsiteY7" fmla="*/ 16668 h 169069"/>
                    <a:gd name="connsiteX0" fmla="*/ 4762 w 52386"/>
                    <a:gd name="connsiteY0" fmla="*/ 16668 h 169069"/>
                    <a:gd name="connsiteX1" fmla="*/ 52386 w 52386"/>
                    <a:gd name="connsiteY1" fmla="*/ 0 h 169069"/>
                    <a:gd name="connsiteX2" fmla="*/ 21430 w 52386"/>
                    <a:gd name="connsiteY2" fmla="*/ 76200 h 169069"/>
                    <a:gd name="connsiteX3" fmla="*/ 40481 w 52386"/>
                    <a:gd name="connsiteY3" fmla="*/ 104775 h 169069"/>
                    <a:gd name="connsiteX4" fmla="*/ 38100 w 52386"/>
                    <a:gd name="connsiteY4" fmla="*/ 169069 h 169069"/>
                    <a:gd name="connsiteX5" fmla="*/ 7144 w 52386"/>
                    <a:gd name="connsiteY5" fmla="*/ 145256 h 169069"/>
                    <a:gd name="connsiteX6" fmla="*/ 0 w 52386"/>
                    <a:gd name="connsiteY6" fmla="*/ 116681 h 169069"/>
                    <a:gd name="connsiteX7" fmla="*/ 4759 w 52386"/>
                    <a:gd name="connsiteY7" fmla="*/ 54769 h 169069"/>
                    <a:gd name="connsiteX8" fmla="*/ 4762 w 52386"/>
                    <a:gd name="connsiteY8" fmla="*/ 16668 h 169069"/>
                    <a:gd name="connsiteX0" fmla="*/ 4762 w 52386"/>
                    <a:gd name="connsiteY0" fmla="*/ 16668 h 169069"/>
                    <a:gd name="connsiteX1" fmla="*/ 52386 w 52386"/>
                    <a:gd name="connsiteY1" fmla="*/ 0 h 169069"/>
                    <a:gd name="connsiteX2" fmla="*/ 21430 w 52386"/>
                    <a:gd name="connsiteY2" fmla="*/ 76200 h 169069"/>
                    <a:gd name="connsiteX3" fmla="*/ 40481 w 52386"/>
                    <a:gd name="connsiteY3" fmla="*/ 104775 h 169069"/>
                    <a:gd name="connsiteX4" fmla="*/ 38100 w 52386"/>
                    <a:gd name="connsiteY4" fmla="*/ 169069 h 169069"/>
                    <a:gd name="connsiteX5" fmla="*/ 7144 w 52386"/>
                    <a:gd name="connsiteY5" fmla="*/ 145256 h 169069"/>
                    <a:gd name="connsiteX6" fmla="*/ 0 w 52386"/>
                    <a:gd name="connsiteY6" fmla="*/ 116681 h 169069"/>
                    <a:gd name="connsiteX7" fmla="*/ 14284 w 52386"/>
                    <a:gd name="connsiteY7" fmla="*/ 54769 h 169069"/>
                    <a:gd name="connsiteX8" fmla="*/ 4762 w 52386"/>
                    <a:gd name="connsiteY8" fmla="*/ 16668 h 169069"/>
                    <a:gd name="connsiteX0" fmla="*/ 4762 w 52386"/>
                    <a:gd name="connsiteY0" fmla="*/ 16668 h 169069"/>
                    <a:gd name="connsiteX1" fmla="*/ 52386 w 52386"/>
                    <a:gd name="connsiteY1" fmla="*/ 0 h 169069"/>
                    <a:gd name="connsiteX2" fmla="*/ 30955 w 52386"/>
                    <a:gd name="connsiteY2" fmla="*/ 76200 h 169069"/>
                    <a:gd name="connsiteX3" fmla="*/ 40481 w 52386"/>
                    <a:gd name="connsiteY3" fmla="*/ 104775 h 169069"/>
                    <a:gd name="connsiteX4" fmla="*/ 38100 w 52386"/>
                    <a:gd name="connsiteY4" fmla="*/ 169069 h 169069"/>
                    <a:gd name="connsiteX5" fmla="*/ 7144 w 52386"/>
                    <a:gd name="connsiteY5" fmla="*/ 145256 h 169069"/>
                    <a:gd name="connsiteX6" fmla="*/ 0 w 52386"/>
                    <a:gd name="connsiteY6" fmla="*/ 116681 h 169069"/>
                    <a:gd name="connsiteX7" fmla="*/ 14284 w 52386"/>
                    <a:gd name="connsiteY7" fmla="*/ 54769 h 169069"/>
                    <a:gd name="connsiteX8" fmla="*/ 4762 w 52386"/>
                    <a:gd name="connsiteY8" fmla="*/ 16668 h 169069"/>
                    <a:gd name="connsiteX0" fmla="*/ 0 w 169068"/>
                    <a:gd name="connsiteY0" fmla="*/ 0 h 340520"/>
                    <a:gd name="connsiteX1" fmla="*/ 169068 w 169068"/>
                    <a:gd name="connsiteY1" fmla="*/ 171451 h 340520"/>
                    <a:gd name="connsiteX2" fmla="*/ 147637 w 169068"/>
                    <a:gd name="connsiteY2" fmla="*/ 247651 h 340520"/>
                    <a:gd name="connsiteX3" fmla="*/ 157163 w 169068"/>
                    <a:gd name="connsiteY3" fmla="*/ 276226 h 340520"/>
                    <a:gd name="connsiteX4" fmla="*/ 154782 w 169068"/>
                    <a:gd name="connsiteY4" fmla="*/ 340520 h 340520"/>
                    <a:gd name="connsiteX5" fmla="*/ 123826 w 169068"/>
                    <a:gd name="connsiteY5" fmla="*/ 316707 h 340520"/>
                    <a:gd name="connsiteX6" fmla="*/ 116682 w 169068"/>
                    <a:gd name="connsiteY6" fmla="*/ 288132 h 340520"/>
                    <a:gd name="connsiteX7" fmla="*/ 130966 w 169068"/>
                    <a:gd name="connsiteY7" fmla="*/ 226220 h 340520"/>
                    <a:gd name="connsiteX8" fmla="*/ 0 w 169068"/>
                    <a:gd name="connsiteY8" fmla="*/ 0 h 340520"/>
                    <a:gd name="connsiteX0" fmla="*/ 0 w 169068"/>
                    <a:gd name="connsiteY0" fmla="*/ 0 h 340520"/>
                    <a:gd name="connsiteX1" fmla="*/ 76198 w 169068"/>
                    <a:gd name="connsiteY1" fmla="*/ 80964 h 340520"/>
                    <a:gd name="connsiteX2" fmla="*/ 169068 w 169068"/>
                    <a:gd name="connsiteY2" fmla="*/ 171451 h 340520"/>
                    <a:gd name="connsiteX3" fmla="*/ 147637 w 169068"/>
                    <a:gd name="connsiteY3" fmla="*/ 247651 h 340520"/>
                    <a:gd name="connsiteX4" fmla="*/ 157163 w 169068"/>
                    <a:gd name="connsiteY4" fmla="*/ 276226 h 340520"/>
                    <a:gd name="connsiteX5" fmla="*/ 154782 w 169068"/>
                    <a:gd name="connsiteY5" fmla="*/ 340520 h 340520"/>
                    <a:gd name="connsiteX6" fmla="*/ 123826 w 169068"/>
                    <a:gd name="connsiteY6" fmla="*/ 316707 h 340520"/>
                    <a:gd name="connsiteX7" fmla="*/ 116682 w 169068"/>
                    <a:gd name="connsiteY7" fmla="*/ 288132 h 340520"/>
                    <a:gd name="connsiteX8" fmla="*/ 130966 w 169068"/>
                    <a:gd name="connsiteY8" fmla="*/ 226220 h 340520"/>
                    <a:gd name="connsiteX9" fmla="*/ 0 w 169068"/>
                    <a:gd name="connsiteY9" fmla="*/ 0 h 340520"/>
                    <a:gd name="connsiteX0" fmla="*/ 0 w 169068"/>
                    <a:gd name="connsiteY0" fmla="*/ 0 h 340520"/>
                    <a:gd name="connsiteX1" fmla="*/ 76198 w 169068"/>
                    <a:gd name="connsiteY1" fmla="*/ 38102 h 340520"/>
                    <a:gd name="connsiteX2" fmla="*/ 169068 w 169068"/>
                    <a:gd name="connsiteY2" fmla="*/ 171451 h 340520"/>
                    <a:gd name="connsiteX3" fmla="*/ 147637 w 169068"/>
                    <a:gd name="connsiteY3" fmla="*/ 247651 h 340520"/>
                    <a:gd name="connsiteX4" fmla="*/ 157163 w 169068"/>
                    <a:gd name="connsiteY4" fmla="*/ 276226 h 340520"/>
                    <a:gd name="connsiteX5" fmla="*/ 154782 w 169068"/>
                    <a:gd name="connsiteY5" fmla="*/ 340520 h 340520"/>
                    <a:gd name="connsiteX6" fmla="*/ 123826 w 169068"/>
                    <a:gd name="connsiteY6" fmla="*/ 316707 h 340520"/>
                    <a:gd name="connsiteX7" fmla="*/ 116682 w 169068"/>
                    <a:gd name="connsiteY7" fmla="*/ 288132 h 340520"/>
                    <a:gd name="connsiteX8" fmla="*/ 130966 w 169068"/>
                    <a:gd name="connsiteY8" fmla="*/ 226220 h 340520"/>
                    <a:gd name="connsiteX9" fmla="*/ 0 w 169068"/>
                    <a:gd name="connsiteY9" fmla="*/ 0 h 340520"/>
                    <a:gd name="connsiteX0" fmla="*/ 1300 w 170368"/>
                    <a:gd name="connsiteY0" fmla="*/ 0 h 340520"/>
                    <a:gd name="connsiteX1" fmla="*/ 77498 w 170368"/>
                    <a:gd name="connsiteY1" fmla="*/ 38102 h 340520"/>
                    <a:gd name="connsiteX2" fmla="*/ 170368 w 170368"/>
                    <a:gd name="connsiteY2" fmla="*/ 171451 h 340520"/>
                    <a:gd name="connsiteX3" fmla="*/ 148937 w 170368"/>
                    <a:gd name="connsiteY3" fmla="*/ 247651 h 340520"/>
                    <a:gd name="connsiteX4" fmla="*/ 158463 w 170368"/>
                    <a:gd name="connsiteY4" fmla="*/ 276226 h 340520"/>
                    <a:gd name="connsiteX5" fmla="*/ 156082 w 170368"/>
                    <a:gd name="connsiteY5" fmla="*/ 340520 h 340520"/>
                    <a:gd name="connsiteX6" fmla="*/ 125126 w 170368"/>
                    <a:gd name="connsiteY6" fmla="*/ 316707 h 340520"/>
                    <a:gd name="connsiteX7" fmla="*/ 117982 w 170368"/>
                    <a:gd name="connsiteY7" fmla="*/ 288132 h 340520"/>
                    <a:gd name="connsiteX8" fmla="*/ 132266 w 170368"/>
                    <a:gd name="connsiteY8" fmla="*/ 226220 h 340520"/>
                    <a:gd name="connsiteX9" fmla="*/ 37016 w 170368"/>
                    <a:gd name="connsiteY9" fmla="*/ 64295 h 340520"/>
                    <a:gd name="connsiteX10" fmla="*/ 1300 w 170368"/>
                    <a:gd name="connsiteY10" fmla="*/ 0 h 340520"/>
                    <a:gd name="connsiteX0" fmla="*/ 1300 w 170368"/>
                    <a:gd name="connsiteY0" fmla="*/ 0 h 340520"/>
                    <a:gd name="connsiteX1" fmla="*/ 77498 w 170368"/>
                    <a:gd name="connsiteY1" fmla="*/ 38102 h 340520"/>
                    <a:gd name="connsiteX2" fmla="*/ 170368 w 170368"/>
                    <a:gd name="connsiteY2" fmla="*/ 171451 h 340520"/>
                    <a:gd name="connsiteX3" fmla="*/ 148937 w 170368"/>
                    <a:gd name="connsiteY3" fmla="*/ 247651 h 340520"/>
                    <a:gd name="connsiteX4" fmla="*/ 158463 w 170368"/>
                    <a:gd name="connsiteY4" fmla="*/ 276226 h 340520"/>
                    <a:gd name="connsiteX5" fmla="*/ 156082 w 170368"/>
                    <a:gd name="connsiteY5" fmla="*/ 340520 h 340520"/>
                    <a:gd name="connsiteX6" fmla="*/ 125126 w 170368"/>
                    <a:gd name="connsiteY6" fmla="*/ 316707 h 340520"/>
                    <a:gd name="connsiteX7" fmla="*/ 117982 w 170368"/>
                    <a:gd name="connsiteY7" fmla="*/ 288132 h 340520"/>
                    <a:gd name="connsiteX8" fmla="*/ 132266 w 170368"/>
                    <a:gd name="connsiteY8" fmla="*/ 226220 h 340520"/>
                    <a:gd name="connsiteX9" fmla="*/ 37016 w 170368"/>
                    <a:gd name="connsiteY9" fmla="*/ 64295 h 340520"/>
                    <a:gd name="connsiteX10" fmla="*/ 1300 w 170368"/>
                    <a:gd name="connsiteY10" fmla="*/ 0 h 340520"/>
                    <a:gd name="connsiteX0" fmla="*/ 0 w 169068"/>
                    <a:gd name="connsiteY0" fmla="*/ 0 h 340520"/>
                    <a:gd name="connsiteX1" fmla="*/ 76198 w 169068"/>
                    <a:gd name="connsiteY1" fmla="*/ 38102 h 340520"/>
                    <a:gd name="connsiteX2" fmla="*/ 169068 w 169068"/>
                    <a:gd name="connsiteY2" fmla="*/ 171451 h 340520"/>
                    <a:gd name="connsiteX3" fmla="*/ 147637 w 169068"/>
                    <a:gd name="connsiteY3" fmla="*/ 247651 h 340520"/>
                    <a:gd name="connsiteX4" fmla="*/ 157163 w 169068"/>
                    <a:gd name="connsiteY4" fmla="*/ 276226 h 340520"/>
                    <a:gd name="connsiteX5" fmla="*/ 154782 w 169068"/>
                    <a:gd name="connsiteY5" fmla="*/ 340520 h 340520"/>
                    <a:gd name="connsiteX6" fmla="*/ 123826 w 169068"/>
                    <a:gd name="connsiteY6" fmla="*/ 316707 h 340520"/>
                    <a:gd name="connsiteX7" fmla="*/ 116682 w 169068"/>
                    <a:gd name="connsiteY7" fmla="*/ 288132 h 340520"/>
                    <a:gd name="connsiteX8" fmla="*/ 130966 w 169068"/>
                    <a:gd name="connsiteY8" fmla="*/ 226220 h 340520"/>
                    <a:gd name="connsiteX9" fmla="*/ 35716 w 169068"/>
                    <a:gd name="connsiteY9" fmla="*/ 64295 h 340520"/>
                    <a:gd name="connsiteX10" fmla="*/ 0 w 169068"/>
                    <a:gd name="connsiteY10" fmla="*/ 0 h 340520"/>
                    <a:gd name="connsiteX0" fmla="*/ 23815 w 192883"/>
                    <a:gd name="connsiteY0" fmla="*/ 0 h 340520"/>
                    <a:gd name="connsiteX1" fmla="*/ 100013 w 192883"/>
                    <a:gd name="connsiteY1" fmla="*/ 38102 h 340520"/>
                    <a:gd name="connsiteX2" fmla="*/ 192883 w 192883"/>
                    <a:gd name="connsiteY2" fmla="*/ 171451 h 340520"/>
                    <a:gd name="connsiteX3" fmla="*/ 171452 w 192883"/>
                    <a:gd name="connsiteY3" fmla="*/ 247651 h 340520"/>
                    <a:gd name="connsiteX4" fmla="*/ 180978 w 192883"/>
                    <a:gd name="connsiteY4" fmla="*/ 276226 h 340520"/>
                    <a:gd name="connsiteX5" fmla="*/ 178597 w 192883"/>
                    <a:gd name="connsiteY5" fmla="*/ 340520 h 340520"/>
                    <a:gd name="connsiteX6" fmla="*/ 147641 w 192883"/>
                    <a:gd name="connsiteY6" fmla="*/ 316707 h 340520"/>
                    <a:gd name="connsiteX7" fmla="*/ 140497 w 192883"/>
                    <a:gd name="connsiteY7" fmla="*/ 288132 h 340520"/>
                    <a:gd name="connsiteX8" fmla="*/ 154781 w 192883"/>
                    <a:gd name="connsiteY8" fmla="*/ 226220 h 340520"/>
                    <a:gd name="connsiteX9" fmla="*/ 0 w 192883"/>
                    <a:gd name="connsiteY9" fmla="*/ 135733 h 340520"/>
                    <a:gd name="connsiteX10" fmla="*/ 23815 w 192883"/>
                    <a:gd name="connsiteY10" fmla="*/ 0 h 340520"/>
                    <a:gd name="connsiteX0" fmla="*/ 4765 w 173833"/>
                    <a:gd name="connsiteY0" fmla="*/ 0 h 340520"/>
                    <a:gd name="connsiteX1" fmla="*/ 80963 w 173833"/>
                    <a:gd name="connsiteY1" fmla="*/ 38102 h 340520"/>
                    <a:gd name="connsiteX2" fmla="*/ 173833 w 173833"/>
                    <a:gd name="connsiteY2" fmla="*/ 171451 h 340520"/>
                    <a:gd name="connsiteX3" fmla="*/ 152402 w 173833"/>
                    <a:gd name="connsiteY3" fmla="*/ 247651 h 340520"/>
                    <a:gd name="connsiteX4" fmla="*/ 161928 w 173833"/>
                    <a:gd name="connsiteY4" fmla="*/ 276226 h 340520"/>
                    <a:gd name="connsiteX5" fmla="*/ 159547 w 173833"/>
                    <a:gd name="connsiteY5" fmla="*/ 340520 h 340520"/>
                    <a:gd name="connsiteX6" fmla="*/ 128591 w 173833"/>
                    <a:gd name="connsiteY6" fmla="*/ 316707 h 340520"/>
                    <a:gd name="connsiteX7" fmla="*/ 121447 w 173833"/>
                    <a:gd name="connsiteY7" fmla="*/ 288132 h 340520"/>
                    <a:gd name="connsiteX8" fmla="*/ 135731 w 173833"/>
                    <a:gd name="connsiteY8" fmla="*/ 226220 h 340520"/>
                    <a:gd name="connsiteX9" fmla="*/ 0 w 173833"/>
                    <a:gd name="connsiteY9" fmla="*/ 133352 h 340520"/>
                    <a:gd name="connsiteX10" fmla="*/ 4765 w 173833"/>
                    <a:gd name="connsiteY10" fmla="*/ 0 h 340520"/>
                    <a:gd name="connsiteX0" fmla="*/ 4765 w 173833"/>
                    <a:gd name="connsiteY0" fmla="*/ 0 h 340520"/>
                    <a:gd name="connsiteX1" fmla="*/ 80963 w 173833"/>
                    <a:gd name="connsiteY1" fmla="*/ 38102 h 340520"/>
                    <a:gd name="connsiteX2" fmla="*/ 173833 w 173833"/>
                    <a:gd name="connsiteY2" fmla="*/ 171451 h 340520"/>
                    <a:gd name="connsiteX3" fmla="*/ 152402 w 173833"/>
                    <a:gd name="connsiteY3" fmla="*/ 247651 h 340520"/>
                    <a:gd name="connsiteX4" fmla="*/ 161928 w 173833"/>
                    <a:gd name="connsiteY4" fmla="*/ 276226 h 340520"/>
                    <a:gd name="connsiteX5" fmla="*/ 159547 w 173833"/>
                    <a:gd name="connsiteY5" fmla="*/ 340520 h 340520"/>
                    <a:gd name="connsiteX6" fmla="*/ 128591 w 173833"/>
                    <a:gd name="connsiteY6" fmla="*/ 316707 h 340520"/>
                    <a:gd name="connsiteX7" fmla="*/ 121447 w 173833"/>
                    <a:gd name="connsiteY7" fmla="*/ 288132 h 340520"/>
                    <a:gd name="connsiteX8" fmla="*/ 135731 w 173833"/>
                    <a:gd name="connsiteY8" fmla="*/ 226220 h 340520"/>
                    <a:gd name="connsiteX9" fmla="*/ 104776 w 173833"/>
                    <a:gd name="connsiteY9" fmla="*/ 202407 h 340520"/>
                    <a:gd name="connsiteX10" fmla="*/ 0 w 173833"/>
                    <a:gd name="connsiteY10" fmla="*/ 133352 h 340520"/>
                    <a:gd name="connsiteX11" fmla="*/ 4765 w 173833"/>
                    <a:gd name="connsiteY11" fmla="*/ 0 h 340520"/>
                    <a:gd name="connsiteX0" fmla="*/ 4765 w 173833"/>
                    <a:gd name="connsiteY0" fmla="*/ 0 h 340520"/>
                    <a:gd name="connsiteX1" fmla="*/ 80963 w 173833"/>
                    <a:gd name="connsiteY1" fmla="*/ 38102 h 340520"/>
                    <a:gd name="connsiteX2" fmla="*/ 173833 w 173833"/>
                    <a:gd name="connsiteY2" fmla="*/ 171451 h 340520"/>
                    <a:gd name="connsiteX3" fmla="*/ 152402 w 173833"/>
                    <a:gd name="connsiteY3" fmla="*/ 247651 h 340520"/>
                    <a:gd name="connsiteX4" fmla="*/ 161928 w 173833"/>
                    <a:gd name="connsiteY4" fmla="*/ 276226 h 340520"/>
                    <a:gd name="connsiteX5" fmla="*/ 159547 w 173833"/>
                    <a:gd name="connsiteY5" fmla="*/ 340520 h 340520"/>
                    <a:gd name="connsiteX6" fmla="*/ 128591 w 173833"/>
                    <a:gd name="connsiteY6" fmla="*/ 316707 h 340520"/>
                    <a:gd name="connsiteX7" fmla="*/ 121447 w 173833"/>
                    <a:gd name="connsiteY7" fmla="*/ 288132 h 340520"/>
                    <a:gd name="connsiteX8" fmla="*/ 135731 w 173833"/>
                    <a:gd name="connsiteY8" fmla="*/ 226220 h 340520"/>
                    <a:gd name="connsiteX9" fmla="*/ 50007 w 173833"/>
                    <a:gd name="connsiteY9" fmla="*/ 188120 h 340520"/>
                    <a:gd name="connsiteX10" fmla="*/ 0 w 173833"/>
                    <a:gd name="connsiteY10" fmla="*/ 133352 h 340520"/>
                    <a:gd name="connsiteX11" fmla="*/ 4765 w 173833"/>
                    <a:gd name="connsiteY11" fmla="*/ 0 h 340520"/>
                    <a:gd name="connsiteX0" fmla="*/ 4765 w 173833"/>
                    <a:gd name="connsiteY0" fmla="*/ 0 h 340520"/>
                    <a:gd name="connsiteX1" fmla="*/ 80963 w 173833"/>
                    <a:gd name="connsiteY1" fmla="*/ 38102 h 340520"/>
                    <a:gd name="connsiteX2" fmla="*/ 173833 w 173833"/>
                    <a:gd name="connsiteY2" fmla="*/ 171451 h 340520"/>
                    <a:gd name="connsiteX3" fmla="*/ 152402 w 173833"/>
                    <a:gd name="connsiteY3" fmla="*/ 247651 h 340520"/>
                    <a:gd name="connsiteX4" fmla="*/ 161928 w 173833"/>
                    <a:gd name="connsiteY4" fmla="*/ 276226 h 340520"/>
                    <a:gd name="connsiteX5" fmla="*/ 159547 w 173833"/>
                    <a:gd name="connsiteY5" fmla="*/ 340520 h 340520"/>
                    <a:gd name="connsiteX6" fmla="*/ 128591 w 173833"/>
                    <a:gd name="connsiteY6" fmla="*/ 316707 h 340520"/>
                    <a:gd name="connsiteX7" fmla="*/ 121447 w 173833"/>
                    <a:gd name="connsiteY7" fmla="*/ 288132 h 340520"/>
                    <a:gd name="connsiteX8" fmla="*/ 114300 w 173833"/>
                    <a:gd name="connsiteY8" fmla="*/ 207170 h 340520"/>
                    <a:gd name="connsiteX9" fmla="*/ 50007 w 173833"/>
                    <a:gd name="connsiteY9" fmla="*/ 188120 h 340520"/>
                    <a:gd name="connsiteX10" fmla="*/ 0 w 173833"/>
                    <a:gd name="connsiteY10" fmla="*/ 133352 h 340520"/>
                    <a:gd name="connsiteX11" fmla="*/ 4765 w 173833"/>
                    <a:gd name="connsiteY11" fmla="*/ 0 h 340520"/>
                    <a:gd name="connsiteX0" fmla="*/ 4765 w 173833"/>
                    <a:gd name="connsiteY0" fmla="*/ 0 h 340520"/>
                    <a:gd name="connsiteX1" fmla="*/ 80963 w 173833"/>
                    <a:gd name="connsiteY1" fmla="*/ 38102 h 340520"/>
                    <a:gd name="connsiteX2" fmla="*/ 173833 w 173833"/>
                    <a:gd name="connsiteY2" fmla="*/ 171451 h 340520"/>
                    <a:gd name="connsiteX3" fmla="*/ 152402 w 173833"/>
                    <a:gd name="connsiteY3" fmla="*/ 247651 h 340520"/>
                    <a:gd name="connsiteX4" fmla="*/ 161928 w 173833"/>
                    <a:gd name="connsiteY4" fmla="*/ 276226 h 340520"/>
                    <a:gd name="connsiteX5" fmla="*/ 159547 w 173833"/>
                    <a:gd name="connsiteY5" fmla="*/ 340520 h 340520"/>
                    <a:gd name="connsiteX6" fmla="*/ 128591 w 173833"/>
                    <a:gd name="connsiteY6" fmla="*/ 316707 h 340520"/>
                    <a:gd name="connsiteX7" fmla="*/ 114304 w 173833"/>
                    <a:gd name="connsiteY7" fmla="*/ 271463 h 340520"/>
                    <a:gd name="connsiteX8" fmla="*/ 114300 w 173833"/>
                    <a:gd name="connsiteY8" fmla="*/ 207170 h 340520"/>
                    <a:gd name="connsiteX9" fmla="*/ 50007 w 173833"/>
                    <a:gd name="connsiteY9" fmla="*/ 188120 h 340520"/>
                    <a:gd name="connsiteX10" fmla="*/ 0 w 173833"/>
                    <a:gd name="connsiteY10" fmla="*/ 133352 h 340520"/>
                    <a:gd name="connsiteX11" fmla="*/ 4765 w 173833"/>
                    <a:gd name="connsiteY11" fmla="*/ 0 h 340520"/>
                    <a:gd name="connsiteX0" fmla="*/ 4765 w 183358"/>
                    <a:gd name="connsiteY0" fmla="*/ 0 h 340520"/>
                    <a:gd name="connsiteX1" fmla="*/ 80963 w 183358"/>
                    <a:gd name="connsiteY1" fmla="*/ 38102 h 340520"/>
                    <a:gd name="connsiteX2" fmla="*/ 173833 w 183358"/>
                    <a:gd name="connsiteY2" fmla="*/ 171451 h 340520"/>
                    <a:gd name="connsiteX3" fmla="*/ 183358 w 183358"/>
                    <a:gd name="connsiteY3" fmla="*/ 245270 h 340520"/>
                    <a:gd name="connsiteX4" fmla="*/ 161928 w 183358"/>
                    <a:gd name="connsiteY4" fmla="*/ 276226 h 340520"/>
                    <a:gd name="connsiteX5" fmla="*/ 159547 w 183358"/>
                    <a:gd name="connsiteY5" fmla="*/ 340520 h 340520"/>
                    <a:gd name="connsiteX6" fmla="*/ 128591 w 183358"/>
                    <a:gd name="connsiteY6" fmla="*/ 316707 h 340520"/>
                    <a:gd name="connsiteX7" fmla="*/ 114304 w 183358"/>
                    <a:gd name="connsiteY7" fmla="*/ 271463 h 340520"/>
                    <a:gd name="connsiteX8" fmla="*/ 114300 w 183358"/>
                    <a:gd name="connsiteY8" fmla="*/ 207170 h 340520"/>
                    <a:gd name="connsiteX9" fmla="*/ 50007 w 183358"/>
                    <a:gd name="connsiteY9" fmla="*/ 188120 h 340520"/>
                    <a:gd name="connsiteX10" fmla="*/ 0 w 183358"/>
                    <a:gd name="connsiteY10" fmla="*/ 133352 h 340520"/>
                    <a:gd name="connsiteX11" fmla="*/ 4765 w 183358"/>
                    <a:gd name="connsiteY11" fmla="*/ 0 h 340520"/>
                    <a:gd name="connsiteX0" fmla="*/ 4765 w 183358"/>
                    <a:gd name="connsiteY0" fmla="*/ 0 h 340520"/>
                    <a:gd name="connsiteX1" fmla="*/ 80963 w 183358"/>
                    <a:gd name="connsiteY1" fmla="*/ 38102 h 340520"/>
                    <a:gd name="connsiteX2" fmla="*/ 135731 w 183358"/>
                    <a:gd name="connsiteY2" fmla="*/ 116682 h 340520"/>
                    <a:gd name="connsiteX3" fmla="*/ 173833 w 183358"/>
                    <a:gd name="connsiteY3" fmla="*/ 171451 h 340520"/>
                    <a:gd name="connsiteX4" fmla="*/ 183358 w 183358"/>
                    <a:gd name="connsiteY4" fmla="*/ 245270 h 340520"/>
                    <a:gd name="connsiteX5" fmla="*/ 161928 w 183358"/>
                    <a:gd name="connsiteY5" fmla="*/ 276226 h 340520"/>
                    <a:gd name="connsiteX6" fmla="*/ 159547 w 183358"/>
                    <a:gd name="connsiteY6" fmla="*/ 340520 h 340520"/>
                    <a:gd name="connsiteX7" fmla="*/ 128591 w 183358"/>
                    <a:gd name="connsiteY7" fmla="*/ 316707 h 340520"/>
                    <a:gd name="connsiteX8" fmla="*/ 114304 w 183358"/>
                    <a:gd name="connsiteY8" fmla="*/ 271463 h 340520"/>
                    <a:gd name="connsiteX9" fmla="*/ 114300 w 183358"/>
                    <a:gd name="connsiteY9" fmla="*/ 207170 h 340520"/>
                    <a:gd name="connsiteX10" fmla="*/ 50007 w 183358"/>
                    <a:gd name="connsiteY10" fmla="*/ 188120 h 340520"/>
                    <a:gd name="connsiteX11" fmla="*/ 0 w 183358"/>
                    <a:gd name="connsiteY11" fmla="*/ 133352 h 340520"/>
                    <a:gd name="connsiteX12" fmla="*/ 4765 w 183358"/>
                    <a:gd name="connsiteY12" fmla="*/ 0 h 340520"/>
                    <a:gd name="connsiteX0" fmla="*/ 4765 w 183358"/>
                    <a:gd name="connsiteY0" fmla="*/ 0 h 340520"/>
                    <a:gd name="connsiteX1" fmla="*/ 80963 w 183358"/>
                    <a:gd name="connsiteY1" fmla="*/ 38102 h 340520"/>
                    <a:gd name="connsiteX2" fmla="*/ 107156 w 183358"/>
                    <a:gd name="connsiteY2" fmla="*/ 138114 h 340520"/>
                    <a:gd name="connsiteX3" fmla="*/ 173833 w 183358"/>
                    <a:gd name="connsiteY3" fmla="*/ 171451 h 340520"/>
                    <a:gd name="connsiteX4" fmla="*/ 183358 w 183358"/>
                    <a:gd name="connsiteY4" fmla="*/ 245270 h 340520"/>
                    <a:gd name="connsiteX5" fmla="*/ 161928 w 183358"/>
                    <a:gd name="connsiteY5" fmla="*/ 276226 h 340520"/>
                    <a:gd name="connsiteX6" fmla="*/ 159547 w 183358"/>
                    <a:gd name="connsiteY6" fmla="*/ 340520 h 340520"/>
                    <a:gd name="connsiteX7" fmla="*/ 128591 w 183358"/>
                    <a:gd name="connsiteY7" fmla="*/ 316707 h 340520"/>
                    <a:gd name="connsiteX8" fmla="*/ 114304 w 183358"/>
                    <a:gd name="connsiteY8" fmla="*/ 271463 h 340520"/>
                    <a:gd name="connsiteX9" fmla="*/ 114300 w 183358"/>
                    <a:gd name="connsiteY9" fmla="*/ 207170 h 340520"/>
                    <a:gd name="connsiteX10" fmla="*/ 50007 w 183358"/>
                    <a:gd name="connsiteY10" fmla="*/ 188120 h 340520"/>
                    <a:gd name="connsiteX11" fmla="*/ 0 w 183358"/>
                    <a:gd name="connsiteY11" fmla="*/ 133352 h 340520"/>
                    <a:gd name="connsiteX12" fmla="*/ 4765 w 183358"/>
                    <a:gd name="connsiteY12" fmla="*/ 0 h 340520"/>
                    <a:gd name="connsiteX0" fmla="*/ 4765 w 183358"/>
                    <a:gd name="connsiteY0" fmla="*/ 0 h 340520"/>
                    <a:gd name="connsiteX1" fmla="*/ 80963 w 183358"/>
                    <a:gd name="connsiteY1" fmla="*/ 38102 h 340520"/>
                    <a:gd name="connsiteX2" fmla="*/ 107156 w 183358"/>
                    <a:gd name="connsiteY2" fmla="*/ 138114 h 340520"/>
                    <a:gd name="connsiteX3" fmla="*/ 173833 w 183358"/>
                    <a:gd name="connsiteY3" fmla="*/ 171451 h 340520"/>
                    <a:gd name="connsiteX4" fmla="*/ 183358 w 183358"/>
                    <a:gd name="connsiteY4" fmla="*/ 245270 h 340520"/>
                    <a:gd name="connsiteX5" fmla="*/ 178597 w 183358"/>
                    <a:gd name="connsiteY5" fmla="*/ 285751 h 340520"/>
                    <a:gd name="connsiteX6" fmla="*/ 159547 w 183358"/>
                    <a:gd name="connsiteY6" fmla="*/ 340520 h 340520"/>
                    <a:gd name="connsiteX7" fmla="*/ 128591 w 183358"/>
                    <a:gd name="connsiteY7" fmla="*/ 316707 h 340520"/>
                    <a:gd name="connsiteX8" fmla="*/ 114304 w 183358"/>
                    <a:gd name="connsiteY8" fmla="*/ 271463 h 340520"/>
                    <a:gd name="connsiteX9" fmla="*/ 114300 w 183358"/>
                    <a:gd name="connsiteY9" fmla="*/ 207170 h 340520"/>
                    <a:gd name="connsiteX10" fmla="*/ 50007 w 183358"/>
                    <a:gd name="connsiteY10" fmla="*/ 188120 h 340520"/>
                    <a:gd name="connsiteX11" fmla="*/ 0 w 183358"/>
                    <a:gd name="connsiteY11" fmla="*/ 133352 h 340520"/>
                    <a:gd name="connsiteX12" fmla="*/ 4765 w 183358"/>
                    <a:gd name="connsiteY12" fmla="*/ 0 h 340520"/>
                    <a:gd name="connsiteX0" fmla="*/ 4765 w 183358"/>
                    <a:gd name="connsiteY0" fmla="*/ 0 h 316707"/>
                    <a:gd name="connsiteX1" fmla="*/ 80963 w 183358"/>
                    <a:gd name="connsiteY1" fmla="*/ 38102 h 316707"/>
                    <a:gd name="connsiteX2" fmla="*/ 107156 w 183358"/>
                    <a:gd name="connsiteY2" fmla="*/ 138114 h 316707"/>
                    <a:gd name="connsiteX3" fmla="*/ 173833 w 183358"/>
                    <a:gd name="connsiteY3" fmla="*/ 171451 h 316707"/>
                    <a:gd name="connsiteX4" fmla="*/ 183358 w 183358"/>
                    <a:gd name="connsiteY4" fmla="*/ 245270 h 316707"/>
                    <a:gd name="connsiteX5" fmla="*/ 178597 w 183358"/>
                    <a:gd name="connsiteY5" fmla="*/ 285751 h 316707"/>
                    <a:gd name="connsiteX6" fmla="*/ 161929 w 183358"/>
                    <a:gd name="connsiteY6" fmla="*/ 311945 h 316707"/>
                    <a:gd name="connsiteX7" fmla="*/ 128591 w 183358"/>
                    <a:gd name="connsiteY7" fmla="*/ 316707 h 316707"/>
                    <a:gd name="connsiteX8" fmla="*/ 114304 w 183358"/>
                    <a:gd name="connsiteY8" fmla="*/ 271463 h 316707"/>
                    <a:gd name="connsiteX9" fmla="*/ 114300 w 183358"/>
                    <a:gd name="connsiteY9" fmla="*/ 207170 h 316707"/>
                    <a:gd name="connsiteX10" fmla="*/ 50007 w 183358"/>
                    <a:gd name="connsiteY10" fmla="*/ 188120 h 316707"/>
                    <a:gd name="connsiteX11" fmla="*/ 0 w 183358"/>
                    <a:gd name="connsiteY11" fmla="*/ 133352 h 316707"/>
                    <a:gd name="connsiteX12" fmla="*/ 4765 w 183358"/>
                    <a:gd name="connsiteY12" fmla="*/ 0 h 316707"/>
                    <a:gd name="connsiteX0" fmla="*/ 4765 w 183358"/>
                    <a:gd name="connsiteY0" fmla="*/ 0 h 311945"/>
                    <a:gd name="connsiteX1" fmla="*/ 80963 w 183358"/>
                    <a:gd name="connsiteY1" fmla="*/ 38102 h 311945"/>
                    <a:gd name="connsiteX2" fmla="*/ 107156 w 183358"/>
                    <a:gd name="connsiteY2" fmla="*/ 138114 h 311945"/>
                    <a:gd name="connsiteX3" fmla="*/ 173833 w 183358"/>
                    <a:gd name="connsiteY3" fmla="*/ 171451 h 311945"/>
                    <a:gd name="connsiteX4" fmla="*/ 183358 w 183358"/>
                    <a:gd name="connsiteY4" fmla="*/ 245270 h 311945"/>
                    <a:gd name="connsiteX5" fmla="*/ 178597 w 183358"/>
                    <a:gd name="connsiteY5" fmla="*/ 285751 h 311945"/>
                    <a:gd name="connsiteX6" fmla="*/ 161929 w 183358"/>
                    <a:gd name="connsiteY6" fmla="*/ 311945 h 311945"/>
                    <a:gd name="connsiteX7" fmla="*/ 138116 w 183358"/>
                    <a:gd name="connsiteY7" fmla="*/ 302419 h 311945"/>
                    <a:gd name="connsiteX8" fmla="*/ 114304 w 183358"/>
                    <a:gd name="connsiteY8" fmla="*/ 271463 h 311945"/>
                    <a:gd name="connsiteX9" fmla="*/ 114300 w 183358"/>
                    <a:gd name="connsiteY9" fmla="*/ 207170 h 311945"/>
                    <a:gd name="connsiteX10" fmla="*/ 50007 w 183358"/>
                    <a:gd name="connsiteY10" fmla="*/ 188120 h 311945"/>
                    <a:gd name="connsiteX11" fmla="*/ 0 w 183358"/>
                    <a:gd name="connsiteY11" fmla="*/ 133352 h 311945"/>
                    <a:gd name="connsiteX12" fmla="*/ 4765 w 183358"/>
                    <a:gd name="connsiteY12" fmla="*/ 0 h 311945"/>
                    <a:gd name="connsiteX0" fmla="*/ 4765 w 183358"/>
                    <a:gd name="connsiteY0" fmla="*/ 0 h 311945"/>
                    <a:gd name="connsiteX1" fmla="*/ 80963 w 183358"/>
                    <a:gd name="connsiteY1" fmla="*/ 38102 h 311945"/>
                    <a:gd name="connsiteX2" fmla="*/ 107156 w 183358"/>
                    <a:gd name="connsiteY2" fmla="*/ 138114 h 311945"/>
                    <a:gd name="connsiteX3" fmla="*/ 173833 w 183358"/>
                    <a:gd name="connsiteY3" fmla="*/ 171451 h 311945"/>
                    <a:gd name="connsiteX4" fmla="*/ 183358 w 183358"/>
                    <a:gd name="connsiteY4" fmla="*/ 245270 h 311945"/>
                    <a:gd name="connsiteX5" fmla="*/ 178597 w 183358"/>
                    <a:gd name="connsiteY5" fmla="*/ 285751 h 311945"/>
                    <a:gd name="connsiteX6" fmla="*/ 161929 w 183358"/>
                    <a:gd name="connsiteY6" fmla="*/ 311945 h 311945"/>
                    <a:gd name="connsiteX7" fmla="*/ 138116 w 183358"/>
                    <a:gd name="connsiteY7" fmla="*/ 302419 h 311945"/>
                    <a:gd name="connsiteX8" fmla="*/ 114304 w 183358"/>
                    <a:gd name="connsiteY8" fmla="*/ 271463 h 311945"/>
                    <a:gd name="connsiteX9" fmla="*/ 107157 w 183358"/>
                    <a:gd name="connsiteY9" fmla="*/ 226220 h 311945"/>
                    <a:gd name="connsiteX10" fmla="*/ 50007 w 183358"/>
                    <a:gd name="connsiteY10" fmla="*/ 188120 h 311945"/>
                    <a:gd name="connsiteX11" fmla="*/ 0 w 183358"/>
                    <a:gd name="connsiteY11" fmla="*/ 133352 h 311945"/>
                    <a:gd name="connsiteX12" fmla="*/ 4765 w 183358"/>
                    <a:gd name="connsiteY12" fmla="*/ 0 h 31194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</a:cxnLst>
                  <a:rect l="l" t="t" r="r" b="b"/>
                  <a:pathLst>
                    <a:path w="183358" h="311945">
                      <a:moveTo>
                        <a:pt x="4765" y="0"/>
                      </a:moveTo>
                      <a:lnTo>
                        <a:pt x="80963" y="38102"/>
                      </a:lnTo>
                      <a:lnTo>
                        <a:pt x="107156" y="138114"/>
                      </a:lnTo>
                      <a:lnTo>
                        <a:pt x="173833" y="171451"/>
                      </a:lnTo>
                      <a:lnTo>
                        <a:pt x="183358" y="245270"/>
                      </a:lnTo>
                      <a:lnTo>
                        <a:pt x="178597" y="285751"/>
                      </a:lnTo>
                      <a:cubicBezTo>
                        <a:pt x="177803" y="307182"/>
                        <a:pt x="162723" y="290514"/>
                        <a:pt x="161929" y="311945"/>
                      </a:cubicBezTo>
                      <a:lnTo>
                        <a:pt x="138116" y="302419"/>
                      </a:lnTo>
                      <a:lnTo>
                        <a:pt x="114304" y="271463"/>
                      </a:lnTo>
                      <a:cubicBezTo>
                        <a:pt x="114303" y="250032"/>
                        <a:pt x="107158" y="247651"/>
                        <a:pt x="107157" y="226220"/>
                      </a:cubicBezTo>
                      <a:lnTo>
                        <a:pt x="50007" y="188120"/>
                      </a:lnTo>
                      <a:lnTo>
                        <a:pt x="0" y="133352"/>
                      </a:lnTo>
                      <a:lnTo>
                        <a:pt x="4765" y="0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1" name="Freeform 80"/>
                <p:cNvSpPr/>
                <p:nvPr/>
              </p:nvSpPr>
              <p:spPr>
                <a:xfrm>
                  <a:off x="7255672" y="3219450"/>
                  <a:ext cx="52386" cy="169069"/>
                </a:xfrm>
                <a:custGeom>
                  <a:avLst/>
                  <a:gdLst>
                    <a:gd name="connsiteX0" fmla="*/ 0 w 942975"/>
                    <a:gd name="connsiteY0" fmla="*/ 83344 h 385763"/>
                    <a:gd name="connsiteX1" fmla="*/ 702469 w 942975"/>
                    <a:gd name="connsiteY1" fmla="*/ 0 h 385763"/>
                    <a:gd name="connsiteX2" fmla="*/ 942975 w 942975"/>
                    <a:gd name="connsiteY2" fmla="*/ 347663 h 385763"/>
                    <a:gd name="connsiteX3" fmla="*/ 435769 w 942975"/>
                    <a:gd name="connsiteY3" fmla="*/ 385763 h 385763"/>
                    <a:gd name="connsiteX4" fmla="*/ 76200 w 942975"/>
                    <a:gd name="connsiteY4" fmla="*/ 114300 h 385763"/>
                    <a:gd name="connsiteX5" fmla="*/ 66675 w 942975"/>
                    <a:gd name="connsiteY5" fmla="*/ 342900 h 385763"/>
                    <a:gd name="connsiteX0" fmla="*/ 0 w 966788"/>
                    <a:gd name="connsiteY0" fmla="*/ 83344 h 385763"/>
                    <a:gd name="connsiteX1" fmla="*/ 702469 w 966788"/>
                    <a:gd name="connsiteY1" fmla="*/ 0 h 385763"/>
                    <a:gd name="connsiteX2" fmla="*/ 966788 w 966788"/>
                    <a:gd name="connsiteY2" fmla="*/ 385763 h 385763"/>
                    <a:gd name="connsiteX3" fmla="*/ 435769 w 966788"/>
                    <a:gd name="connsiteY3" fmla="*/ 385763 h 385763"/>
                    <a:gd name="connsiteX4" fmla="*/ 76200 w 966788"/>
                    <a:gd name="connsiteY4" fmla="*/ 114300 h 385763"/>
                    <a:gd name="connsiteX5" fmla="*/ 66675 w 966788"/>
                    <a:gd name="connsiteY5" fmla="*/ 342900 h 385763"/>
                    <a:gd name="connsiteX0" fmla="*/ 0 w 969169"/>
                    <a:gd name="connsiteY0" fmla="*/ 0 h 302419"/>
                    <a:gd name="connsiteX1" fmla="*/ 969169 w 969169"/>
                    <a:gd name="connsiteY1" fmla="*/ 238125 h 302419"/>
                    <a:gd name="connsiteX2" fmla="*/ 966788 w 969169"/>
                    <a:gd name="connsiteY2" fmla="*/ 302419 h 302419"/>
                    <a:gd name="connsiteX3" fmla="*/ 435769 w 969169"/>
                    <a:gd name="connsiteY3" fmla="*/ 302419 h 302419"/>
                    <a:gd name="connsiteX4" fmla="*/ 76200 w 969169"/>
                    <a:gd name="connsiteY4" fmla="*/ 30956 h 302419"/>
                    <a:gd name="connsiteX5" fmla="*/ 66675 w 969169"/>
                    <a:gd name="connsiteY5" fmla="*/ 259556 h 302419"/>
                    <a:gd name="connsiteX0" fmla="*/ 0 w 969169"/>
                    <a:gd name="connsiteY0" fmla="*/ 0 h 302419"/>
                    <a:gd name="connsiteX1" fmla="*/ 711993 w 969169"/>
                    <a:gd name="connsiteY1" fmla="*/ 176213 h 302419"/>
                    <a:gd name="connsiteX2" fmla="*/ 969169 w 969169"/>
                    <a:gd name="connsiteY2" fmla="*/ 238125 h 302419"/>
                    <a:gd name="connsiteX3" fmla="*/ 966788 w 969169"/>
                    <a:gd name="connsiteY3" fmla="*/ 302419 h 302419"/>
                    <a:gd name="connsiteX4" fmla="*/ 435769 w 969169"/>
                    <a:gd name="connsiteY4" fmla="*/ 302419 h 302419"/>
                    <a:gd name="connsiteX5" fmla="*/ 76200 w 969169"/>
                    <a:gd name="connsiteY5" fmla="*/ 30956 h 302419"/>
                    <a:gd name="connsiteX6" fmla="*/ 66675 w 969169"/>
                    <a:gd name="connsiteY6" fmla="*/ 259556 h 302419"/>
                    <a:gd name="connsiteX0" fmla="*/ 0 w 969169"/>
                    <a:gd name="connsiteY0" fmla="*/ 0 h 302419"/>
                    <a:gd name="connsiteX1" fmla="*/ 950118 w 969169"/>
                    <a:gd name="connsiteY1" fmla="*/ 209550 h 302419"/>
                    <a:gd name="connsiteX2" fmla="*/ 969169 w 969169"/>
                    <a:gd name="connsiteY2" fmla="*/ 238125 h 302419"/>
                    <a:gd name="connsiteX3" fmla="*/ 966788 w 969169"/>
                    <a:gd name="connsiteY3" fmla="*/ 302419 h 302419"/>
                    <a:gd name="connsiteX4" fmla="*/ 435769 w 969169"/>
                    <a:gd name="connsiteY4" fmla="*/ 302419 h 302419"/>
                    <a:gd name="connsiteX5" fmla="*/ 76200 w 969169"/>
                    <a:gd name="connsiteY5" fmla="*/ 30956 h 302419"/>
                    <a:gd name="connsiteX6" fmla="*/ 66675 w 969169"/>
                    <a:gd name="connsiteY6" fmla="*/ 259556 h 302419"/>
                    <a:gd name="connsiteX0" fmla="*/ 0 w 969169"/>
                    <a:gd name="connsiteY0" fmla="*/ 0 h 302419"/>
                    <a:gd name="connsiteX1" fmla="*/ 664368 w 969169"/>
                    <a:gd name="connsiteY1" fmla="*/ 147638 h 302419"/>
                    <a:gd name="connsiteX2" fmla="*/ 950118 w 969169"/>
                    <a:gd name="connsiteY2" fmla="*/ 209550 h 302419"/>
                    <a:gd name="connsiteX3" fmla="*/ 969169 w 969169"/>
                    <a:gd name="connsiteY3" fmla="*/ 238125 h 302419"/>
                    <a:gd name="connsiteX4" fmla="*/ 966788 w 969169"/>
                    <a:gd name="connsiteY4" fmla="*/ 302419 h 302419"/>
                    <a:gd name="connsiteX5" fmla="*/ 435769 w 969169"/>
                    <a:gd name="connsiteY5" fmla="*/ 302419 h 302419"/>
                    <a:gd name="connsiteX6" fmla="*/ 76200 w 969169"/>
                    <a:gd name="connsiteY6" fmla="*/ 30956 h 302419"/>
                    <a:gd name="connsiteX7" fmla="*/ 66675 w 969169"/>
                    <a:gd name="connsiteY7" fmla="*/ 259556 h 302419"/>
                    <a:gd name="connsiteX0" fmla="*/ 0 w 981074"/>
                    <a:gd name="connsiteY0" fmla="*/ 0 h 302419"/>
                    <a:gd name="connsiteX1" fmla="*/ 981074 w 981074"/>
                    <a:gd name="connsiteY1" fmla="*/ 133350 h 302419"/>
                    <a:gd name="connsiteX2" fmla="*/ 950118 w 981074"/>
                    <a:gd name="connsiteY2" fmla="*/ 209550 h 302419"/>
                    <a:gd name="connsiteX3" fmla="*/ 969169 w 981074"/>
                    <a:gd name="connsiteY3" fmla="*/ 238125 h 302419"/>
                    <a:gd name="connsiteX4" fmla="*/ 966788 w 981074"/>
                    <a:gd name="connsiteY4" fmla="*/ 302419 h 302419"/>
                    <a:gd name="connsiteX5" fmla="*/ 435769 w 981074"/>
                    <a:gd name="connsiteY5" fmla="*/ 302419 h 302419"/>
                    <a:gd name="connsiteX6" fmla="*/ 76200 w 981074"/>
                    <a:gd name="connsiteY6" fmla="*/ 30956 h 302419"/>
                    <a:gd name="connsiteX7" fmla="*/ 66675 w 981074"/>
                    <a:gd name="connsiteY7" fmla="*/ 259556 h 302419"/>
                    <a:gd name="connsiteX0" fmla="*/ 866775 w 914399"/>
                    <a:gd name="connsiteY0" fmla="*/ 119062 h 271463"/>
                    <a:gd name="connsiteX1" fmla="*/ 914399 w 914399"/>
                    <a:gd name="connsiteY1" fmla="*/ 102394 h 271463"/>
                    <a:gd name="connsiteX2" fmla="*/ 883443 w 914399"/>
                    <a:gd name="connsiteY2" fmla="*/ 178594 h 271463"/>
                    <a:gd name="connsiteX3" fmla="*/ 902494 w 914399"/>
                    <a:gd name="connsiteY3" fmla="*/ 207169 h 271463"/>
                    <a:gd name="connsiteX4" fmla="*/ 900113 w 914399"/>
                    <a:gd name="connsiteY4" fmla="*/ 271463 h 271463"/>
                    <a:gd name="connsiteX5" fmla="*/ 369094 w 914399"/>
                    <a:gd name="connsiteY5" fmla="*/ 271463 h 271463"/>
                    <a:gd name="connsiteX6" fmla="*/ 9525 w 914399"/>
                    <a:gd name="connsiteY6" fmla="*/ 0 h 271463"/>
                    <a:gd name="connsiteX7" fmla="*/ 0 w 914399"/>
                    <a:gd name="connsiteY7" fmla="*/ 228600 h 271463"/>
                    <a:gd name="connsiteX0" fmla="*/ 857250 w 904874"/>
                    <a:gd name="connsiteY0" fmla="*/ 119062 h 271463"/>
                    <a:gd name="connsiteX1" fmla="*/ 904874 w 904874"/>
                    <a:gd name="connsiteY1" fmla="*/ 102394 h 271463"/>
                    <a:gd name="connsiteX2" fmla="*/ 873918 w 904874"/>
                    <a:gd name="connsiteY2" fmla="*/ 178594 h 271463"/>
                    <a:gd name="connsiteX3" fmla="*/ 892969 w 904874"/>
                    <a:gd name="connsiteY3" fmla="*/ 207169 h 271463"/>
                    <a:gd name="connsiteX4" fmla="*/ 890588 w 904874"/>
                    <a:gd name="connsiteY4" fmla="*/ 271463 h 271463"/>
                    <a:gd name="connsiteX5" fmla="*/ 359569 w 904874"/>
                    <a:gd name="connsiteY5" fmla="*/ 271463 h 271463"/>
                    <a:gd name="connsiteX6" fmla="*/ 0 w 904874"/>
                    <a:gd name="connsiteY6" fmla="*/ 0 h 271463"/>
                    <a:gd name="connsiteX0" fmla="*/ 857250 w 904874"/>
                    <a:gd name="connsiteY0" fmla="*/ 119062 h 271463"/>
                    <a:gd name="connsiteX1" fmla="*/ 904874 w 904874"/>
                    <a:gd name="connsiteY1" fmla="*/ 102394 h 271463"/>
                    <a:gd name="connsiteX2" fmla="*/ 873918 w 904874"/>
                    <a:gd name="connsiteY2" fmla="*/ 178594 h 271463"/>
                    <a:gd name="connsiteX3" fmla="*/ 892969 w 904874"/>
                    <a:gd name="connsiteY3" fmla="*/ 207169 h 271463"/>
                    <a:gd name="connsiteX4" fmla="*/ 890588 w 904874"/>
                    <a:gd name="connsiteY4" fmla="*/ 271463 h 271463"/>
                    <a:gd name="connsiteX5" fmla="*/ 359569 w 904874"/>
                    <a:gd name="connsiteY5" fmla="*/ 271463 h 271463"/>
                    <a:gd name="connsiteX6" fmla="*/ 0 w 904874"/>
                    <a:gd name="connsiteY6" fmla="*/ 0 h 271463"/>
                    <a:gd name="connsiteX7" fmla="*/ 857250 w 904874"/>
                    <a:gd name="connsiteY7" fmla="*/ 119062 h 271463"/>
                    <a:gd name="connsiteX0" fmla="*/ 857250 w 904874"/>
                    <a:gd name="connsiteY0" fmla="*/ 119062 h 271463"/>
                    <a:gd name="connsiteX1" fmla="*/ 904874 w 904874"/>
                    <a:gd name="connsiteY1" fmla="*/ 102394 h 271463"/>
                    <a:gd name="connsiteX2" fmla="*/ 873918 w 904874"/>
                    <a:gd name="connsiteY2" fmla="*/ 178594 h 271463"/>
                    <a:gd name="connsiteX3" fmla="*/ 892969 w 904874"/>
                    <a:gd name="connsiteY3" fmla="*/ 207169 h 271463"/>
                    <a:gd name="connsiteX4" fmla="*/ 890588 w 904874"/>
                    <a:gd name="connsiteY4" fmla="*/ 271463 h 271463"/>
                    <a:gd name="connsiteX5" fmla="*/ 859632 w 904874"/>
                    <a:gd name="connsiteY5" fmla="*/ 247650 h 271463"/>
                    <a:gd name="connsiteX6" fmla="*/ 0 w 904874"/>
                    <a:gd name="connsiteY6" fmla="*/ 0 h 271463"/>
                    <a:gd name="connsiteX7" fmla="*/ 857250 w 904874"/>
                    <a:gd name="connsiteY7" fmla="*/ 119062 h 271463"/>
                    <a:gd name="connsiteX0" fmla="*/ 4762 w 52386"/>
                    <a:gd name="connsiteY0" fmla="*/ 16668 h 169069"/>
                    <a:gd name="connsiteX1" fmla="*/ 52386 w 52386"/>
                    <a:gd name="connsiteY1" fmla="*/ 0 h 169069"/>
                    <a:gd name="connsiteX2" fmla="*/ 21430 w 52386"/>
                    <a:gd name="connsiteY2" fmla="*/ 76200 h 169069"/>
                    <a:gd name="connsiteX3" fmla="*/ 40481 w 52386"/>
                    <a:gd name="connsiteY3" fmla="*/ 104775 h 169069"/>
                    <a:gd name="connsiteX4" fmla="*/ 38100 w 52386"/>
                    <a:gd name="connsiteY4" fmla="*/ 169069 h 169069"/>
                    <a:gd name="connsiteX5" fmla="*/ 7144 w 52386"/>
                    <a:gd name="connsiteY5" fmla="*/ 145256 h 169069"/>
                    <a:gd name="connsiteX6" fmla="*/ 0 w 52386"/>
                    <a:gd name="connsiteY6" fmla="*/ 116681 h 169069"/>
                    <a:gd name="connsiteX7" fmla="*/ 4762 w 52386"/>
                    <a:gd name="connsiteY7" fmla="*/ 16668 h 169069"/>
                    <a:gd name="connsiteX0" fmla="*/ 4762 w 52386"/>
                    <a:gd name="connsiteY0" fmla="*/ 16668 h 169069"/>
                    <a:gd name="connsiteX1" fmla="*/ 52386 w 52386"/>
                    <a:gd name="connsiteY1" fmla="*/ 0 h 169069"/>
                    <a:gd name="connsiteX2" fmla="*/ 21430 w 52386"/>
                    <a:gd name="connsiteY2" fmla="*/ 76200 h 169069"/>
                    <a:gd name="connsiteX3" fmla="*/ 40481 w 52386"/>
                    <a:gd name="connsiteY3" fmla="*/ 104775 h 169069"/>
                    <a:gd name="connsiteX4" fmla="*/ 38100 w 52386"/>
                    <a:gd name="connsiteY4" fmla="*/ 169069 h 169069"/>
                    <a:gd name="connsiteX5" fmla="*/ 7144 w 52386"/>
                    <a:gd name="connsiteY5" fmla="*/ 145256 h 169069"/>
                    <a:gd name="connsiteX6" fmla="*/ 0 w 52386"/>
                    <a:gd name="connsiteY6" fmla="*/ 116681 h 169069"/>
                    <a:gd name="connsiteX7" fmla="*/ 4759 w 52386"/>
                    <a:gd name="connsiteY7" fmla="*/ 54769 h 169069"/>
                    <a:gd name="connsiteX8" fmla="*/ 4762 w 52386"/>
                    <a:gd name="connsiteY8" fmla="*/ 16668 h 169069"/>
                    <a:gd name="connsiteX0" fmla="*/ 4762 w 52386"/>
                    <a:gd name="connsiteY0" fmla="*/ 16668 h 169069"/>
                    <a:gd name="connsiteX1" fmla="*/ 52386 w 52386"/>
                    <a:gd name="connsiteY1" fmla="*/ 0 h 169069"/>
                    <a:gd name="connsiteX2" fmla="*/ 21430 w 52386"/>
                    <a:gd name="connsiteY2" fmla="*/ 76200 h 169069"/>
                    <a:gd name="connsiteX3" fmla="*/ 40481 w 52386"/>
                    <a:gd name="connsiteY3" fmla="*/ 104775 h 169069"/>
                    <a:gd name="connsiteX4" fmla="*/ 38100 w 52386"/>
                    <a:gd name="connsiteY4" fmla="*/ 169069 h 169069"/>
                    <a:gd name="connsiteX5" fmla="*/ 7144 w 52386"/>
                    <a:gd name="connsiteY5" fmla="*/ 145256 h 169069"/>
                    <a:gd name="connsiteX6" fmla="*/ 0 w 52386"/>
                    <a:gd name="connsiteY6" fmla="*/ 116681 h 169069"/>
                    <a:gd name="connsiteX7" fmla="*/ 14284 w 52386"/>
                    <a:gd name="connsiteY7" fmla="*/ 54769 h 169069"/>
                    <a:gd name="connsiteX8" fmla="*/ 4762 w 52386"/>
                    <a:gd name="connsiteY8" fmla="*/ 16668 h 169069"/>
                    <a:gd name="connsiteX0" fmla="*/ 4762 w 52386"/>
                    <a:gd name="connsiteY0" fmla="*/ 16668 h 169069"/>
                    <a:gd name="connsiteX1" fmla="*/ 52386 w 52386"/>
                    <a:gd name="connsiteY1" fmla="*/ 0 h 169069"/>
                    <a:gd name="connsiteX2" fmla="*/ 30955 w 52386"/>
                    <a:gd name="connsiteY2" fmla="*/ 76200 h 169069"/>
                    <a:gd name="connsiteX3" fmla="*/ 40481 w 52386"/>
                    <a:gd name="connsiteY3" fmla="*/ 104775 h 169069"/>
                    <a:gd name="connsiteX4" fmla="*/ 38100 w 52386"/>
                    <a:gd name="connsiteY4" fmla="*/ 169069 h 169069"/>
                    <a:gd name="connsiteX5" fmla="*/ 7144 w 52386"/>
                    <a:gd name="connsiteY5" fmla="*/ 145256 h 169069"/>
                    <a:gd name="connsiteX6" fmla="*/ 0 w 52386"/>
                    <a:gd name="connsiteY6" fmla="*/ 116681 h 169069"/>
                    <a:gd name="connsiteX7" fmla="*/ 14284 w 52386"/>
                    <a:gd name="connsiteY7" fmla="*/ 54769 h 169069"/>
                    <a:gd name="connsiteX8" fmla="*/ 4762 w 52386"/>
                    <a:gd name="connsiteY8" fmla="*/ 16668 h 1690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</a:cxnLst>
                  <a:rect l="l" t="t" r="r" b="b"/>
                  <a:pathLst>
                    <a:path w="52386" h="169069">
                      <a:moveTo>
                        <a:pt x="4762" y="16668"/>
                      </a:moveTo>
                      <a:lnTo>
                        <a:pt x="52386" y="0"/>
                      </a:lnTo>
                      <a:lnTo>
                        <a:pt x="30955" y="76200"/>
                      </a:lnTo>
                      <a:lnTo>
                        <a:pt x="40481" y="104775"/>
                      </a:lnTo>
                      <a:cubicBezTo>
                        <a:pt x="39687" y="126206"/>
                        <a:pt x="38894" y="147638"/>
                        <a:pt x="38100" y="169069"/>
                      </a:cubicBezTo>
                      <a:lnTo>
                        <a:pt x="7144" y="145256"/>
                      </a:lnTo>
                      <a:lnTo>
                        <a:pt x="0" y="116681"/>
                      </a:lnTo>
                      <a:lnTo>
                        <a:pt x="14284" y="54769"/>
                      </a:lnTo>
                      <a:cubicBezTo>
                        <a:pt x="14285" y="42069"/>
                        <a:pt x="4761" y="29368"/>
                        <a:pt x="4762" y="16668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2" name="Freeform 81"/>
                <p:cNvSpPr/>
                <p:nvPr/>
              </p:nvSpPr>
              <p:spPr>
                <a:xfrm>
                  <a:off x="3636170" y="773906"/>
                  <a:ext cx="1235869" cy="1212057"/>
                </a:xfrm>
                <a:custGeom>
                  <a:avLst/>
                  <a:gdLst>
                    <a:gd name="connsiteX0" fmla="*/ 340519 w 1297782"/>
                    <a:gd name="connsiteY0" fmla="*/ 73819 h 1212057"/>
                    <a:gd name="connsiteX1" fmla="*/ 280988 w 1297782"/>
                    <a:gd name="connsiteY1" fmla="*/ 100013 h 1212057"/>
                    <a:gd name="connsiteX2" fmla="*/ 221457 w 1297782"/>
                    <a:gd name="connsiteY2" fmla="*/ 116682 h 1212057"/>
                    <a:gd name="connsiteX3" fmla="*/ 195263 w 1297782"/>
                    <a:gd name="connsiteY3" fmla="*/ 130969 h 1212057"/>
                    <a:gd name="connsiteX4" fmla="*/ 128588 w 1297782"/>
                    <a:gd name="connsiteY4" fmla="*/ 145257 h 1212057"/>
                    <a:gd name="connsiteX5" fmla="*/ 104775 w 1297782"/>
                    <a:gd name="connsiteY5" fmla="*/ 171450 h 1212057"/>
                    <a:gd name="connsiteX6" fmla="*/ 90488 w 1297782"/>
                    <a:gd name="connsiteY6" fmla="*/ 190500 h 1212057"/>
                    <a:gd name="connsiteX7" fmla="*/ 52388 w 1297782"/>
                    <a:gd name="connsiteY7" fmla="*/ 211932 h 1212057"/>
                    <a:gd name="connsiteX8" fmla="*/ 38100 w 1297782"/>
                    <a:gd name="connsiteY8" fmla="*/ 226219 h 1212057"/>
                    <a:gd name="connsiteX9" fmla="*/ 19050 w 1297782"/>
                    <a:gd name="connsiteY9" fmla="*/ 247650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21457 w 1297782"/>
                    <a:gd name="connsiteY2" fmla="*/ 116682 h 1212057"/>
                    <a:gd name="connsiteX3" fmla="*/ 195263 w 1297782"/>
                    <a:gd name="connsiteY3" fmla="*/ 130969 h 1212057"/>
                    <a:gd name="connsiteX4" fmla="*/ 128588 w 1297782"/>
                    <a:gd name="connsiteY4" fmla="*/ 145257 h 1212057"/>
                    <a:gd name="connsiteX5" fmla="*/ 104775 w 1297782"/>
                    <a:gd name="connsiteY5" fmla="*/ 171450 h 1212057"/>
                    <a:gd name="connsiteX6" fmla="*/ 90488 w 1297782"/>
                    <a:gd name="connsiteY6" fmla="*/ 190500 h 1212057"/>
                    <a:gd name="connsiteX7" fmla="*/ 52388 w 1297782"/>
                    <a:gd name="connsiteY7" fmla="*/ 211932 h 1212057"/>
                    <a:gd name="connsiteX8" fmla="*/ 38100 w 1297782"/>
                    <a:gd name="connsiteY8" fmla="*/ 226219 h 1212057"/>
                    <a:gd name="connsiteX9" fmla="*/ 19050 w 1297782"/>
                    <a:gd name="connsiteY9" fmla="*/ 247650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52414 w 1297782"/>
                    <a:gd name="connsiteY2" fmla="*/ 145257 h 1212057"/>
                    <a:gd name="connsiteX3" fmla="*/ 195263 w 1297782"/>
                    <a:gd name="connsiteY3" fmla="*/ 130969 h 1212057"/>
                    <a:gd name="connsiteX4" fmla="*/ 128588 w 1297782"/>
                    <a:gd name="connsiteY4" fmla="*/ 145257 h 1212057"/>
                    <a:gd name="connsiteX5" fmla="*/ 104775 w 1297782"/>
                    <a:gd name="connsiteY5" fmla="*/ 171450 h 1212057"/>
                    <a:gd name="connsiteX6" fmla="*/ 90488 w 1297782"/>
                    <a:gd name="connsiteY6" fmla="*/ 190500 h 1212057"/>
                    <a:gd name="connsiteX7" fmla="*/ 52388 w 1297782"/>
                    <a:gd name="connsiteY7" fmla="*/ 211932 h 1212057"/>
                    <a:gd name="connsiteX8" fmla="*/ 38100 w 1297782"/>
                    <a:gd name="connsiteY8" fmla="*/ 226219 h 1212057"/>
                    <a:gd name="connsiteX9" fmla="*/ 19050 w 1297782"/>
                    <a:gd name="connsiteY9" fmla="*/ 247650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52414 w 1297782"/>
                    <a:gd name="connsiteY2" fmla="*/ 145257 h 1212057"/>
                    <a:gd name="connsiteX3" fmla="*/ 209551 w 1297782"/>
                    <a:gd name="connsiteY3" fmla="*/ 161925 h 1212057"/>
                    <a:gd name="connsiteX4" fmla="*/ 128588 w 1297782"/>
                    <a:gd name="connsiteY4" fmla="*/ 145257 h 1212057"/>
                    <a:gd name="connsiteX5" fmla="*/ 104775 w 1297782"/>
                    <a:gd name="connsiteY5" fmla="*/ 171450 h 1212057"/>
                    <a:gd name="connsiteX6" fmla="*/ 90488 w 1297782"/>
                    <a:gd name="connsiteY6" fmla="*/ 190500 h 1212057"/>
                    <a:gd name="connsiteX7" fmla="*/ 52388 w 1297782"/>
                    <a:gd name="connsiteY7" fmla="*/ 211932 h 1212057"/>
                    <a:gd name="connsiteX8" fmla="*/ 38100 w 1297782"/>
                    <a:gd name="connsiteY8" fmla="*/ 226219 h 1212057"/>
                    <a:gd name="connsiteX9" fmla="*/ 19050 w 1297782"/>
                    <a:gd name="connsiteY9" fmla="*/ 247650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52414 w 1297782"/>
                    <a:gd name="connsiteY2" fmla="*/ 145257 h 1212057"/>
                    <a:gd name="connsiteX3" fmla="*/ 209551 w 1297782"/>
                    <a:gd name="connsiteY3" fmla="*/ 161925 h 1212057"/>
                    <a:gd name="connsiteX4" fmla="*/ 166688 w 1297782"/>
                    <a:gd name="connsiteY4" fmla="*/ 169069 h 1212057"/>
                    <a:gd name="connsiteX5" fmla="*/ 104775 w 1297782"/>
                    <a:gd name="connsiteY5" fmla="*/ 171450 h 1212057"/>
                    <a:gd name="connsiteX6" fmla="*/ 90488 w 1297782"/>
                    <a:gd name="connsiteY6" fmla="*/ 190500 h 1212057"/>
                    <a:gd name="connsiteX7" fmla="*/ 52388 w 1297782"/>
                    <a:gd name="connsiteY7" fmla="*/ 211932 h 1212057"/>
                    <a:gd name="connsiteX8" fmla="*/ 38100 w 1297782"/>
                    <a:gd name="connsiteY8" fmla="*/ 226219 h 1212057"/>
                    <a:gd name="connsiteX9" fmla="*/ 19050 w 1297782"/>
                    <a:gd name="connsiteY9" fmla="*/ 247650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52414 w 1297782"/>
                    <a:gd name="connsiteY2" fmla="*/ 145257 h 1212057"/>
                    <a:gd name="connsiteX3" fmla="*/ 209551 w 1297782"/>
                    <a:gd name="connsiteY3" fmla="*/ 161925 h 1212057"/>
                    <a:gd name="connsiteX4" fmla="*/ 166688 w 1297782"/>
                    <a:gd name="connsiteY4" fmla="*/ 169069 h 1212057"/>
                    <a:gd name="connsiteX5" fmla="*/ 140493 w 1297782"/>
                    <a:gd name="connsiteY5" fmla="*/ 200025 h 1212057"/>
                    <a:gd name="connsiteX6" fmla="*/ 90488 w 1297782"/>
                    <a:gd name="connsiteY6" fmla="*/ 190500 h 1212057"/>
                    <a:gd name="connsiteX7" fmla="*/ 52388 w 1297782"/>
                    <a:gd name="connsiteY7" fmla="*/ 211932 h 1212057"/>
                    <a:gd name="connsiteX8" fmla="*/ 38100 w 1297782"/>
                    <a:gd name="connsiteY8" fmla="*/ 226219 h 1212057"/>
                    <a:gd name="connsiteX9" fmla="*/ 19050 w 1297782"/>
                    <a:gd name="connsiteY9" fmla="*/ 247650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52414 w 1297782"/>
                    <a:gd name="connsiteY2" fmla="*/ 145257 h 1212057"/>
                    <a:gd name="connsiteX3" fmla="*/ 209551 w 1297782"/>
                    <a:gd name="connsiteY3" fmla="*/ 161925 h 1212057"/>
                    <a:gd name="connsiteX4" fmla="*/ 166688 w 1297782"/>
                    <a:gd name="connsiteY4" fmla="*/ 169069 h 1212057"/>
                    <a:gd name="connsiteX5" fmla="*/ 140493 w 1297782"/>
                    <a:gd name="connsiteY5" fmla="*/ 200025 h 1212057"/>
                    <a:gd name="connsiteX6" fmla="*/ 154782 w 1297782"/>
                    <a:gd name="connsiteY6" fmla="*/ 230981 h 1212057"/>
                    <a:gd name="connsiteX7" fmla="*/ 52388 w 1297782"/>
                    <a:gd name="connsiteY7" fmla="*/ 211932 h 1212057"/>
                    <a:gd name="connsiteX8" fmla="*/ 38100 w 1297782"/>
                    <a:gd name="connsiteY8" fmla="*/ 226219 h 1212057"/>
                    <a:gd name="connsiteX9" fmla="*/ 19050 w 1297782"/>
                    <a:gd name="connsiteY9" fmla="*/ 247650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52414 w 1297782"/>
                    <a:gd name="connsiteY2" fmla="*/ 145257 h 1212057"/>
                    <a:gd name="connsiteX3" fmla="*/ 209551 w 1297782"/>
                    <a:gd name="connsiteY3" fmla="*/ 161925 h 1212057"/>
                    <a:gd name="connsiteX4" fmla="*/ 166688 w 1297782"/>
                    <a:gd name="connsiteY4" fmla="*/ 169069 h 1212057"/>
                    <a:gd name="connsiteX5" fmla="*/ 140493 w 1297782"/>
                    <a:gd name="connsiteY5" fmla="*/ 200025 h 1212057"/>
                    <a:gd name="connsiteX6" fmla="*/ 154782 w 1297782"/>
                    <a:gd name="connsiteY6" fmla="*/ 230981 h 1212057"/>
                    <a:gd name="connsiteX7" fmla="*/ 114300 w 1297782"/>
                    <a:gd name="connsiteY7" fmla="*/ 223839 h 1212057"/>
                    <a:gd name="connsiteX8" fmla="*/ 38100 w 1297782"/>
                    <a:gd name="connsiteY8" fmla="*/ 226219 h 1212057"/>
                    <a:gd name="connsiteX9" fmla="*/ 19050 w 1297782"/>
                    <a:gd name="connsiteY9" fmla="*/ 247650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52414 w 1297782"/>
                    <a:gd name="connsiteY2" fmla="*/ 145257 h 1212057"/>
                    <a:gd name="connsiteX3" fmla="*/ 209551 w 1297782"/>
                    <a:gd name="connsiteY3" fmla="*/ 161925 h 1212057"/>
                    <a:gd name="connsiteX4" fmla="*/ 166688 w 1297782"/>
                    <a:gd name="connsiteY4" fmla="*/ 169069 h 1212057"/>
                    <a:gd name="connsiteX5" fmla="*/ 140493 w 1297782"/>
                    <a:gd name="connsiteY5" fmla="*/ 200025 h 1212057"/>
                    <a:gd name="connsiteX6" fmla="*/ 154782 w 1297782"/>
                    <a:gd name="connsiteY6" fmla="*/ 230981 h 1212057"/>
                    <a:gd name="connsiteX7" fmla="*/ 114300 w 1297782"/>
                    <a:gd name="connsiteY7" fmla="*/ 223839 h 1212057"/>
                    <a:gd name="connsiteX8" fmla="*/ 69056 w 1297782"/>
                    <a:gd name="connsiteY8" fmla="*/ 242888 h 1212057"/>
                    <a:gd name="connsiteX9" fmla="*/ 19050 w 1297782"/>
                    <a:gd name="connsiteY9" fmla="*/ 247650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52414 w 1297782"/>
                    <a:gd name="connsiteY2" fmla="*/ 145257 h 1212057"/>
                    <a:gd name="connsiteX3" fmla="*/ 209551 w 1297782"/>
                    <a:gd name="connsiteY3" fmla="*/ 161925 h 1212057"/>
                    <a:gd name="connsiteX4" fmla="*/ 166688 w 1297782"/>
                    <a:gd name="connsiteY4" fmla="*/ 169069 h 1212057"/>
                    <a:gd name="connsiteX5" fmla="*/ 140493 w 1297782"/>
                    <a:gd name="connsiteY5" fmla="*/ 200025 h 1212057"/>
                    <a:gd name="connsiteX6" fmla="*/ 154782 w 1297782"/>
                    <a:gd name="connsiteY6" fmla="*/ 230981 h 1212057"/>
                    <a:gd name="connsiteX7" fmla="*/ 114300 w 1297782"/>
                    <a:gd name="connsiteY7" fmla="*/ 223839 h 1212057"/>
                    <a:gd name="connsiteX8" fmla="*/ 69056 w 1297782"/>
                    <a:gd name="connsiteY8" fmla="*/ 242888 h 1212057"/>
                    <a:gd name="connsiteX9" fmla="*/ 100013 w 1297782"/>
                    <a:gd name="connsiteY9" fmla="*/ 273844 h 1212057"/>
                    <a:gd name="connsiteX10" fmla="*/ 7144 w 1297782"/>
                    <a:gd name="connsiteY10" fmla="*/ 259557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40519 w 1297782"/>
                    <a:gd name="connsiteY0" fmla="*/ 73819 h 1212057"/>
                    <a:gd name="connsiteX1" fmla="*/ 309563 w 1297782"/>
                    <a:gd name="connsiteY1" fmla="*/ 111919 h 1212057"/>
                    <a:gd name="connsiteX2" fmla="*/ 252414 w 1297782"/>
                    <a:gd name="connsiteY2" fmla="*/ 145257 h 1212057"/>
                    <a:gd name="connsiteX3" fmla="*/ 209551 w 1297782"/>
                    <a:gd name="connsiteY3" fmla="*/ 161925 h 1212057"/>
                    <a:gd name="connsiteX4" fmla="*/ 166688 w 1297782"/>
                    <a:gd name="connsiteY4" fmla="*/ 169069 h 1212057"/>
                    <a:gd name="connsiteX5" fmla="*/ 140493 w 1297782"/>
                    <a:gd name="connsiteY5" fmla="*/ 200025 h 1212057"/>
                    <a:gd name="connsiteX6" fmla="*/ 154782 w 1297782"/>
                    <a:gd name="connsiteY6" fmla="*/ 230981 h 1212057"/>
                    <a:gd name="connsiteX7" fmla="*/ 114300 w 1297782"/>
                    <a:gd name="connsiteY7" fmla="*/ 223839 h 1212057"/>
                    <a:gd name="connsiteX8" fmla="*/ 69056 w 1297782"/>
                    <a:gd name="connsiteY8" fmla="*/ 242888 h 1212057"/>
                    <a:gd name="connsiteX9" fmla="*/ 100013 w 1297782"/>
                    <a:gd name="connsiteY9" fmla="*/ 273844 h 1212057"/>
                    <a:gd name="connsiteX10" fmla="*/ 85725 w 1297782"/>
                    <a:gd name="connsiteY10" fmla="*/ 290514 h 1212057"/>
                    <a:gd name="connsiteX11" fmla="*/ 0 w 1297782"/>
                    <a:gd name="connsiteY11" fmla="*/ 292894 h 1212057"/>
                    <a:gd name="connsiteX12" fmla="*/ 9525 w 1297782"/>
                    <a:gd name="connsiteY12" fmla="*/ 311944 h 1212057"/>
                    <a:gd name="connsiteX13" fmla="*/ 45244 w 1297782"/>
                    <a:gd name="connsiteY13" fmla="*/ 330994 h 1212057"/>
                    <a:gd name="connsiteX14" fmla="*/ 69057 w 1297782"/>
                    <a:gd name="connsiteY14" fmla="*/ 338138 h 1212057"/>
                    <a:gd name="connsiteX15" fmla="*/ 90488 w 1297782"/>
                    <a:gd name="connsiteY15" fmla="*/ 342900 h 1212057"/>
                    <a:gd name="connsiteX16" fmla="*/ 157163 w 1297782"/>
                    <a:gd name="connsiteY16" fmla="*/ 361950 h 1212057"/>
                    <a:gd name="connsiteX17" fmla="*/ 183357 w 1297782"/>
                    <a:gd name="connsiteY17" fmla="*/ 357188 h 1212057"/>
                    <a:gd name="connsiteX18" fmla="*/ 226219 w 1297782"/>
                    <a:gd name="connsiteY18" fmla="*/ 383382 h 1212057"/>
                    <a:gd name="connsiteX19" fmla="*/ 226219 w 1297782"/>
                    <a:gd name="connsiteY19" fmla="*/ 383382 h 1212057"/>
                    <a:gd name="connsiteX20" fmla="*/ 164307 w 1297782"/>
                    <a:gd name="connsiteY20" fmla="*/ 402432 h 1212057"/>
                    <a:gd name="connsiteX21" fmla="*/ 92869 w 1297782"/>
                    <a:gd name="connsiteY21" fmla="*/ 433388 h 1212057"/>
                    <a:gd name="connsiteX22" fmla="*/ 66675 w 1297782"/>
                    <a:gd name="connsiteY22" fmla="*/ 459582 h 1212057"/>
                    <a:gd name="connsiteX23" fmla="*/ 76200 w 1297782"/>
                    <a:gd name="connsiteY23" fmla="*/ 492919 h 1212057"/>
                    <a:gd name="connsiteX24" fmla="*/ 52388 w 1297782"/>
                    <a:gd name="connsiteY24" fmla="*/ 554832 h 1212057"/>
                    <a:gd name="connsiteX25" fmla="*/ 59532 w 1297782"/>
                    <a:gd name="connsiteY25" fmla="*/ 576263 h 1212057"/>
                    <a:gd name="connsiteX26" fmla="*/ 76200 w 1297782"/>
                    <a:gd name="connsiteY26" fmla="*/ 621507 h 1212057"/>
                    <a:gd name="connsiteX27" fmla="*/ 45244 w 1297782"/>
                    <a:gd name="connsiteY27" fmla="*/ 661988 h 1212057"/>
                    <a:gd name="connsiteX28" fmla="*/ 45244 w 1297782"/>
                    <a:gd name="connsiteY28" fmla="*/ 661988 h 1212057"/>
                    <a:gd name="connsiteX29" fmla="*/ 50007 w 1297782"/>
                    <a:gd name="connsiteY29" fmla="*/ 704850 h 1212057"/>
                    <a:gd name="connsiteX30" fmla="*/ 40482 w 1297782"/>
                    <a:gd name="connsiteY30" fmla="*/ 719138 h 1212057"/>
                    <a:gd name="connsiteX31" fmla="*/ 61913 w 1297782"/>
                    <a:gd name="connsiteY31" fmla="*/ 752475 h 1212057"/>
                    <a:gd name="connsiteX32" fmla="*/ 188119 w 1297782"/>
                    <a:gd name="connsiteY32" fmla="*/ 904875 h 1212057"/>
                    <a:gd name="connsiteX33" fmla="*/ 352425 w 1297782"/>
                    <a:gd name="connsiteY33" fmla="*/ 1019175 h 1212057"/>
                    <a:gd name="connsiteX34" fmla="*/ 471488 w 1297782"/>
                    <a:gd name="connsiteY34" fmla="*/ 1128713 h 1212057"/>
                    <a:gd name="connsiteX35" fmla="*/ 576263 w 1297782"/>
                    <a:gd name="connsiteY35" fmla="*/ 1212057 h 1212057"/>
                    <a:gd name="connsiteX36" fmla="*/ 771525 w 1297782"/>
                    <a:gd name="connsiteY36" fmla="*/ 1195388 h 1212057"/>
                    <a:gd name="connsiteX37" fmla="*/ 1073944 w 1297782"/>
                    <a:gd name="connsiteY37" fmla="*/ 1083469 h 1212057"/>
                    <a:gd name="connsiteX38" fmla="*/ 1228725 w 1297782"/>
                    <a:gd name="connsiteY38" fmla="*/ 585788 h 1212057"/>
                    <a:gd name="connsiteX39" fmla="*/ 1297782 w 1297782"/>
                    <a:gd name="connsiteY39" fmla="*/ 223838 h 1212057"/>
                    <a:gd name="connsiteX40" fmla="*/ 1154907 w 1297782"/>
                    <a:gd name="connsiteY40" fmla="*/ 190500 h 1212057"/>
                    <a:gd name="connsiteX41" fmla="*/ 940594 w 1297782"/>
                    <a:gd name="connsiteY41" fmla="*/ 164307 h 1212057"/>
                    <a:gd name="connsiteX42" fmla="*/ 731044 w 1297782"/>
                    <a:gd name="connsiteY42" fmla="*/ 71438 h 1212057"/>
                    <a:gd name="connsiteX43" fmla="*/ 595313 w 1297782"/>
                    <a:gd name="connsiteY43" fmla="*/ 21432 h 1212057"/>
                    <a:gd name="connsiteX44" fmla="*/ 466725 w 1297782"/>
                    <a:gd name="connsiteY44" fmla="*/ 0 h 1212057"/>
                    <a:gd name="connsiteX45" fmla="*/ 340519 w 1297782"/>
                    <a:gd name="connsiteY45" fmla="*/ 73819 h 1212057"/>
                    <a:gd name="connsiteX0" fmla="*/ 330994 w 1288257"/>
                    <a:gd name="connsiteY0" fmla="*/ 73819 h 1212057"/>
                    <a:gd name="connsiteX1" fmla="*/ 300038 w 1288257"/>
                    <a:gd name="connsiteY1" fmla="*/ 111919 h 1212057"/>
                    <a:gd name="connsiteX2" fmla="*/ 242889 w 1288257"/>
                    <a:gd name="connsiteY2" fmla="*/ 145257 h 1212057"/>
                    <a:gd name="connsiteX3" fmla="*/ 200026 w 1288257"/>
                    <a:gd name="connsiteY3" fmla="*/ 161925 h 1212057"/>
                    <a:gd name="connsiteX4" fmla="*/ 157163 w 1288257"/>
                    <a:gd name="connsiteY4" fmla="*/ 169069 h 1212057"/>
                    <a:gd name="connsiteX5" fmla="*/ 130968 w 1288257"/>
                    <a:gd name="connsiteY5" fmla="*/ 200025 h 1212057"/>
                    <a:gd name="connsiteX6" fmla="*/ 145257 w 1288257"/>
                    <a:gd name="connsiteY6" fmla="*/ 230981 h 1212057"/>
                    <a:gd name="connsiteX7" fmla="*/ 104775 w 1288257"/>
                    <a:gd name="connsiteY7" fmla="*/ 223839 h 1212057"/>
                    <a:gd name="connsiteX8" fmla="*/ 59531 w 1288257"/>
                    <a:gd name="connsiteY8" fmla="*/ 242888 h 1212057"/>
                    <a:gd name="connsiteX9" fmla="*/ 90488 w 1288257"/>
                    <a:gd name="connsiteY9" fmla="*/ 273844 h 1212057"/>
                    <a:gd name="connsiteX10" fmla="*/ 76200 w 1288257"/>
                    <a:gd name="connsiteY10" fmla="*/ 290514 h 1212057"/>
                    <a:gd name="connsiteX11" fmla="*/ 147637 w 1288257"/>
                    <a:gd name="connsiteY11" fmla="*/ 307182 h 1212057"/>
                    <a:gd name="connsiteX12" fmla="*/ 0 w 1288257"/>
                    <a:gd name="connsiteY12" fmla="*/ 311944 h 1212057"/>
                    <a:gd name="connsiteX13" fmla="*/ 35719 w 1288257"/>
                    <a:gd name="connsiteY13" fmla="*/ 330994 h 1212057"/>
                    <a:gd name="connsiteX14" fmla="*/ 59532 w 1288257"/>
                    <a:gd name="connsiteY14" fmla="*/ 338138 h 1212057"/>
                    <a:gd name="connsiteX15" fmla="*/ 80963 w 1288257"/>
                    <a:gd name="connsiteY15" fmla="*/ 342900 h 1212057"/>
                    <a:gd name="connsiteX16" fmla="*/ 147638 w 1288257"/>
                    <a:gd name="connsiteY16" fmla="*/ 361950 h 1212057"/>
                    <a:gd name="connsiteX17" fmla="*/ 173832 w 1288257"/>
                    <a:gd name="connsiteY17" fmla="*/ 357188 h 1212057"/>
                    <a:gd name="connsiteX18" fmla="*/ 216694 w 1288257"/>
                    <a:gd name="connsiteY18" fmla="*/ 383382 h 1212057"/>
                    <a:gd name="connsiteX19" fmla="*/ 216694 w 1288257"/>
                    <a:gd name="connsiteY19" fmla="*/ 383382 h 1212057"/>
                    <a:gd name="connsiteX20" fmla="*/ 154782 w 1288257"/>
                    <a:gd name="connsiteY20" fmla="*/ 402432 h 1212057"/>
                    <a:gd name="connsiteX21" fmla="*/ 83344 w 1288257"/>
                    <a:gd name="connsiteY21" fmla="*/ 433388 h 1212057"/>
                    <a:gd name="connsiteX22" fmla="*/ 57150 w 1288257"/>
                    <a:gd name="connsiteY22" fmla="*/ 459582 h 1212057"/>
                    <a:gd name="connsiteX23" fmla="*/ 66675 w 1288257"/>
                    <a:gd name="connsiteY23" fmla="*/ 492919 h 1212057"/>
                    <a:gd name="connsiteX24" fmla="*/ 42863 w 1288257"/>
                    <a:gd name="connsiteY24" fmla="*/ 554832 h 1212057"/>
                    <a:gd name="connsiteX25" fmla="*/ 50007 w 1288257"/>
                    <a:gd name="connsiteY25" fmla="*/ 576263 h 1212057"/>
                    <a:gd name="connsiteX26" fmla="*/ 66675 w 1288257"/>
                    <a:gd name="connsiteY26" fmla="*/ 621507 h 1212057"/>
                    <a:gd name="connsiteX27" fmla="*/ 35719 w 1288257"/>
                    <a:gd name="connsiteY27" fmla="*/ 661988 h 1212057"/>
                    <a:gd name="connsiteX28" fmla="*/ 35719 w 1288257"/>
                    <a:gd name="connsiteY28" fmla="*/ 661988 h 1212057"/>
                    <a:gd name="connsiteX29" fmla="*/ 40482 w 1288257"/>
                    <a:gd name="connsiteY29" fmla="*/ 704850 h 1212057"/>
                    <a:gd name="connsiteX30" fmla="*/ 30957 w 1288257"/>
                    <a:gd name="connsiteY30" fmla="*/ 719138 h 1212057"/>
                    <a:gd name="connsiteX31" fmla="*/ 52388 w 1288257"/>
                    <a:gd name="connsiteY31" fmla="*/ 752475 h 1212057"/>
                    <a:gd name="connsiteX32" fmla="*/ 178594 w 1288257"/>
                    <a:gd name="connsiteY32" fmla="*/ 904875 h 1212057"/>
                    <a:gd name="connsiteX33" fmla="*/ 342900 w 1288257"/>
                    <a:gd name="connsiteY33" fmla="*/ 1019175 h 1212057"/>
                    <a:gd name="connsiteX34" fmla="*/ 461963 w 1288257"/>
                    <a:gd name="connsiteY34" fmla="*/ 1128713 h 1212057"/>
                    <a:gd name="connsiteX35" fmla="*/ 566738 w 1288257"/>
                    <a:gd name="connsiteY35" fmla="*/ 1212057 h 1212057"/>
                    <a:gd name="connsiteX36" fmla="*/ 762000 w 1288257"/>
                    <a:gd name="connsiteY36" fmla="*/ 1195388 h 1212057"/>
                    <a:gd name="connsiteX37" fmla="*/ 1064419 w 1288257"/>
                    <a:gd name="connsiteY37" fmla="*/ 1083469 h 1212057"/>
                    <a:gd name="connsiteX38" fmla="*/ 1219200 w 1288257"/>
                    <a:gd name="connsiteY38" fmla="*/ 585788 h 1212057"/>
                    <a:gd name="connsiteX39" fmla="*/ 1288257 w 1288257"/>
                    <a:gd name="connsiteY39" fmla="*/ 223838 h 1212057"/>
                    <a:gd name="connsiteX40" fmla="*/ 1145382 w 1288257"/>
                    <a:gd name="connsiteY40" fmla="*/ 190500 h 1212057"/>
                    <a:gd name="connsiteX41" fmla="*/ 931069 w 1288257"/>
                    <a:gd name="connsiteY41" fmla="*/ 164307 h 1212057"/>
                    <a:gd name="connsiteX42" fmla="*/ 721519 w 1288257"/>
                    <a:gd name="connsiteY42" fmla="*/ 71438 h 1212057"/>
                    <a:gd name="connsiteX43" fmla="*/ 585788 w 1288257"/>
                    <a:gd name="connsiteY43" fmla="*/ 21432 h 1212057"/>
                    <a:gd name="connsiteX44" fmla="*/ 457200 w 1288257"/>
                    <a:gd name="connsiteY44" fmla="*/ 0 h 1212057"/>
                    <a:gd name="connsiteX45" fmla="*/ 330994 w 1288257"/>
                    <a:gd name="connsiteY45" fmla="*/ 73819 h 1212057"/>
                    <a:gd name="connsiteX0" fmla="*/ 300037 w 1257300"/>
                    <a:gd name="connsiteY0" fmla="*/ 73819 h 1212057"/>
                    <a:gd name="connsiteX1" fmla="*/ 269081 w 1257300"/>
                    <a:gd name="connsiteY1" fmla="*/ 111919 h 1212057"/>
                    <a:gd name="connsiteX2" fmla="*/ 211932 w 1257300"/>
                    <a:gd name="connsiteY2" fmla="*/ 145257 h 1212057"/>
                    <a:gd name="connsiteX3" fmla="*/ 169069 w 1257300"/>
                    <a:gd name="connsiteY3" fmla="*/ 161925 h 1212057"/>
                    <a:gd name="connsiteX4" fmla="*/ 126206 w 1257300"/>
                    <a:gd name="connsiteY4" fmla="*/ 169069 h 1212057"/>
                    <a:gd name="connsiteX5" fmla="*/ 100011 w 1257300"/>
                    <a:gd name="connsiteY5" fmla="*/ 200025 h 1212057"/>
                    <a:gd name="connsiteX6" fmla="*/ 114300 w 1257300"/>
                    <a:gd name="connsiteY6" fmla="*/ 230981 h 1212057"/>
                    <a:gd name="connsiteX7" fmla="*/ 73818 w 1257300"/>
                    <a:gd name="connsiteY7" fmla="*/ 223839 h 1212057"/>
                    <a:gd name="connsiteX8" fmla="*/ 28574 w 1257300"/>
                    <a:gd name="connsiteY8" fmla="*/ 242888 h 1212057"/>
                    <a:gd name="connsiteX9" fmla="*/ 59531 w 1257300"/>
                    <a:gd name="connsiteY9" fmla="*/ 273844 h 1212057"/>
                    <a:gd name="connsiteX10" fmla="*/ 45243 w 1257300"/>
                    <a:gd name="connsiteY10" fmla="*/ 290514 h 1212057"/>
                    <a:gd name="connsiteX11" fmla="*/ 116680 w 1257300"/>
                    <a:gd name="connsiteY11" fmla="*/ 307182 h 1212057"/>
                    <a:gd name="connsiteX12" fmla="*/ 169068 w 1257300"/>
                    <a:gd name="connsiteY12" fmla="*/ 295275 h 1212057"/>
                    <a:gd name="connsiteX13" fmla="*/ 4762 w 1257300"/>
                    <a:gd name="connsiteY13" fmla="*/ 330994 h 1212057"/>
                    <a:gd name="connsiteX14" fmla="*/ 28575 w 1257300"/>
                    <a:gd name="connsiteY14" fmla="*/ 338138 h 1212057"/>
                    <a:gd name="connsiteX15" fmla="*/ 50006 w 1257300"/>
                    <a:gd name="connsiteY15" fmla="*/ 342900 h 1212057"/>
                    <a:gd name="connsiteX16" fmla="*/ 116681 w 1257300"/>
                    <a:gd name="connsiteY16" fmla="*/ 361950 h 1212057"/>
                    <a:gd name="connsiteX17" fmla="*/ 142875 w 1257300"/>
                    <a:gd name="connsiteY17" fmla="*/ 357188 h 1212057"/>
                    <a:gd name="connsiteX18" fmla="*/ 185737 w 1257300"/>
                    <a:gd name="connsiteY18" fmla="*/ 383382 h 1212057"/>
                    <a:gd name="connsiteX19" fmla="*/ 185737 w 1257300"/>
                    <a:gd name="connsiteY19" fmla="*/ 383382 h 1212057"/>
                    <a:gd name="connsiteX20" fmla="*/ 123825 w 1257300"/>
                    <a:gd name="connsiteY20" fmla="*/ 402432 h 1212057"/>
                    <a:gd name="connsiteX21" fmla="*/ 52387 w 1257300"/>
                    <a:gd name="connsiteY21" fmla="*/ 433388 h 1212057"/>
                    <a:gd name="connsiteX22" fmla="*/ 26193 w 1257300"/>
                    <a:gd name="connsiteY22" fmla="*/ 459582 h 1212057"/>
                    <a:gd name="connsiteX23" fmla="*/ 35718 w 1257300"/>
                    <a:gd name="connsiteY23" fmla="*/ 492919 h 1212057"/>
                    <a:gd name="connsiteX24" fmla="*/ 11906 w 1257300"/>
                    <a:gd name="connsiteY24" fmla="*/ 554832 h 1212057"/>
                    <a:gd name="connsiteX25" fmla="*/ 19050 w 1257300"/>
                    <a:gd name="connsiteY25" fmla="*/ 576263 h 1212057"/>
                    <a:gd name="connsiteX26" fmla="*/ 35718 w 1257300"/>
                    <a:gd name="connsiteY26" fmla="*/ 621507 h 1212057"/>
                    <a:gd name="connsiteX27" fmla="*/ 4762 w 1257300"/>
                    <a:gd name="connsiteY27" fmla="*/ 661988 h 1212057"/>
                    <a:gd name="connsiteX28" fmla="*/ 4762 w 1257300"/>
                    <a:gd name="connsiteY28" fmla="*/ 661988 h 1212057"/>
                    <a:gd name="connsiteX29" fmla="*/ 9525 w 1257300"/>
                    <a:gd name="connsiteY29" fmla="*/ 704850 h 1212057"/>
                    <a:gd name="connsiteX30" fmla="*/ 0 w 1257300"/>
                    <a:gd name="connsiteY30" fmla="*/ 719138 h 1212057"/>
                    <a:gd name="connsiteX31" fmla="*/ 21431 w 1257300"/>
                    <a:gd name="connsiteY31" fmla="*/ 752475 h 1212057"/>
                    <a:gd name="connsiteX32" fmla="*/ 147637 w 1257300"/>
                    <a:gd name="connsiteY32" fmla="*/ 904875 h 1212057"/>
                    <a:gd name="connsiteX33" fmla="*/ 311943 w 1257300"/>
                    <a:gd name="connsiteY33" fmla="*/ 1019175 h 1212057"/>
                    <a:gd name="connsiteX34" fmla="*/ 431006 w 1257300"/>
                    <a:gd name="connsiteY34" fmla="*/ 1128713 h 1212057"/>
                    <a:gd name="connsiteX35" fmla="*/ 535781 w 1257300"/>
                    <a:gd name="connsiteY35" fmla="*/ 1212057 h 1212057"/>
                    <a:gd name="connsiteX36" fmla="*/ 731043 w 1257300"/>
                    <a:gd name="connsiteY36" fmla="*/ 1195388 h 1212057"/>
                    <a:gd name="connsiteX37" fmla="*/ 1033462 w 1257300"/>
                    <a:gd name="connsiteY37" fmla="*/ 1083469 h 1212057"/>
                    <a:gd name="connsiteX38" fmla="*/ 1188243 w 1257300"/>
                    <a:gd name="connsiteY38" fmla="*/ 585788 h 1212057"/>
                    <a:gd name="connsiteX39" fmla="*/ 1257300 w 1257300"/>
                    <a:gd name="connsiteY39" fmla="*/ 223838 h 1212057"/>
                    <a:gd name="connsiteX40" fmla="*/ 1114425 w 1257300"/>
                    <a:gd name="connsiteY40" fmla="*/ 190500 h 1212057"/>
                    <a:gd name="connsiteX41" fmla="*/ 900112 w 1257300"/>
                    <a:gd name="connsiteY41" fmla="*/ 164307 h 1212057"/>
                    <a:gd name="connsiteX42" fmla="*/ 690562 w 1257300"/>
                    <a:gd name="connsiteY42" fmla="*/ 71438 h 1212057"/>
                    <a:gd name="connsiteX43" fmla="*/ 554831 w 1257300"/>
                    <a:gd name="connsiteY43" fmla="*/ 21432 h 1212057"/>
                    <a:gd name="connsiteX44" fmla="*/ 426243 w 1257300"/>
                    <a:gd name="connsiteY44" fmla="*/ 0 h 1212057"/>
                    <a:gd name="connsiteX45" fmla="*/ 300037 w 1257300"/>
                    <a:gd name="connsiteY45" fmla="*/ 73819 h 1212057"/>
                    <a:gd name="connsiteX0" fmla="*/ 300037 w 1257300"/>
                    <a:gd name="connsiteY0" fmla="*/ 73819 h 1212057"/>
                    <a:gd name="connsiteX1" fmla="*/ 269081 w 1257300"/>
                    <a:gd name="connsiteY1" fmla="*/ 111919 h 1212057"/>
                    <a:gd name="connsiteX2" fmla="*/ 211932 w 1257300"/>
                    <a:gd name="connsiteY2" fmla="*/ 145257 h 1212057"/>
                    <a:gd name="connsiteX3" fmla="*/ 169069 w 1257300"/>
                    <a:gd name="connsiteY3" fmla="*/ 161925 h 1212057"/>
                    <a:gd name="connsiteX4" fmla="*/ 126206 w 1257300"/>
                    <a:gd name="connsiteY4" fmla="*/ 169069 h 1212057"/>
                    <a:gd name="connsiteX5" fmla="*/ 100011 w 1257300"/>
                    <a:gd name="connsiteY5" fmla="*/ 200025 h 1212057"/>
                    <a:gd name="connsiteX6" fmla="*/ 114300 w 1257300"/>
                    <a:gd name="connsiteY6" fmla="*/ 230981 h 1212057"/>
                    <a:gd name="connsiteX7" fmla="*/ 73818 w 1257300"/>
                    <a:gd name="connsiteY7" fmla="*/ 223839 h 1212057"/>
                    <a:gd name="connsiteX8" fmla="*/ 28574 w 1257300"/>
                    <a:gd name="connsiteY8" fmla="*/ 242888 h 1212057"/>
                    <a:gd name="connsiteX9" fmla="*/ 59531 w 1257300"/>
                    <a:gd name="connsiteY9" fmla="*/ 273844 h 1212057"/>
                    <a:gd name="connsiteX10" fmla="*/ 45243 w 1257300"/>
                    <a:gd name="connsiteY10" fmla="*/ 290514 h 1212057"/>
                    <a:gd name="connsiteX11" fmla="*/ 116680 w 1257300"/>
                    <a:gd name="connsiteY11" fmla="*/ 307182 h 1212057"/>
                    <a:gd name="connsiteX12" fmla="*/ 169068 w 1257300"/>
                    <a:gd name="connsiteY12" fmla="*/ 295275 h 1212057"/>
                    <a:gd name="connsiteX13" fmla="*/ 183356 w 1257300"/>
                    <a:gd name="connsiteY13" fmla="*/ 321469 h 1212057"/>
                    <a:gd name="connsiteX14" fmla="*/ 28575 w 1257300"/>
                    <a:gd name="connsiteY14" fmla="*/ 338138 h 1212057"/>
                    <a:gd name="connsiteX15" fmla="*/ 50006 w 1257300"/>
                    <a:gd name="connsiteY15" fmla="*/ 342900 h 1212057"/>
                    <a:gd name="connsiteX16" fmla="*/ 116681 w 1257300"/>
                    <a:gd name="connsiteY16" fmla="*/ 361950 h 1212057"/>
                    <a:gd name="connsiteX17" fmla="*/ 142875 w 1257300"/>
                    <a:gd name="connsiteY17" fmla="*/ 357188 h 1212057"/>
                    <a:gd name="connsiteX18" fmla="*/ 185737 w 1257300"/>
                    <a:gd name="connsiteY18" fmla="*/ 383382 h 1212057"/>
                    <a:gd name="connsiteX19" fmla="*/ 185737 w 1257300"/>
                    <a:gd name="connsiteY19" fmla="*/ 383382 h 1212057"/>
                    <a:gd name="connsiteX20" fmla="*/ 123825 w 1257300"/>
                    <a:gd name="connsiteY20" fmla="*/ 402432 h 1212057"/>
                    <a:gd name="connsiteX21" fmla="*/ 52387 w 1257300"/>
                    <a:gd name="connsiteY21" fmla="*/ 433388 h 1212057"/>
                    <a:gd name="connsiteX22" fmla="*/ 26193 w 1257300"/>
                    <a:gd name="connsiteY22" fmla="*/ 459582 h 1212057"/>
                    <a:gd name="connsiteX23" fmla="*/ 35718 w 1257300"/>
                    <a:gd name="connsiteY23" fmla="*/ 492919 h 1212057"/>
                    <a:gd name="connsiteX24" fmla="*/ 11906 w 1257300"/>
                    <a:gd name="connsiteY24" fmla="*/ 554832 h 1212057"/>
                    <a:gd name="connsiteX25" fmla="*/ 19050 w 1257300"/>
                    <a:gd name="connsiteY25" fmla="*/ 576263 h 1212057"/>
                    <a:gd name="connsiteX26" fmla="*/ 35718 w 1257300"/>
                    <a:gd name="connsiteY26" fmla="*/ 621507 h 1212057"/>
                    <a:gd name="connsiteX27" fmla="*/ 4762 w 1257300"/>
                    <a:gd name="connsiteY27" fmla="*/ 661988 h 1212057"/>
                    <a:gd name="connsiteX28" fmla="*/ 4762 w 1257300"/>
                    <a:gd name="connsiteY28" fmla="*/ 661988 h 1212057"/>
                    <a:gd name="connsiteX29" fmla="*/ 9525 w 1257300"/>
                    <a:gd name="connsiteY29" fmla="*/ 704850 h 1212057"/>
                    <a:gd name="connsiteX30" fmla="*/ 0 w 1257300"/>
                    <a:gd name="connsiteY30" fmla="*/ 719138 h 1212057"/>
                    <a:gd name="connsiteX31" fmla="*/ 21431 w 1257300"/>
                    <a:gd name="connsiteY31" fmla="*/ 752475 h 1212057"/>
                    <a:gd name="connsiteX32" fmla="*/ 147637 w 1257300"/>
                    <a:gd name="connsiteY32" fmla="*/ 904875 h 1212057"/>
                    <a:gd name="connsiteX33" fmla="*/ 311943 w 1257300"/>
                    <a:gd name="connsiteY33" fmla="*/ 1019175 h 1212057"/>
                    <a:gd name="connsiteX34" fmla="*/ 431006 w 1257300"/>
                    <a:gd name="connsiteY34" fmla="*/ 1128713 h 1212057"/>
                    <a:gd name="connsiteX35" fmla="*/ 535781 w 1257300"/>
                    <a:gd name="connsiteY35" fmla="*/ 1212057 h 1212057"/>
                    <a:gd name="connsiteX36" fmla="*/ 731043 w 1257300"/>
                    <a:gd name="connsiteY36" fmla="*/ 1195388 h 1212057"/>
                    <a:gd name="connsiteX37" fmla="*/ 1033462 w 1257300"/>
                    <a:gd name="connsiteY37" fmla="*/ 1083469 h 1212057"/>
                    <a:gd name="connsiteX38" fmla="*/ 1188243 w 1257300"/>
                    <a:gd name="connsiteY38" fmla="*/ 585788 h 1212057"/>
                    <a:gd name="connsiteX39" fmla="*/ 1257300 w 1257300"/>
                    <a:gd name="connsiteY39" fmla="*/ 223838 h 1212057"/>
                    <a:gd name="connsiteX40" fmla="*/ 1114425 w 1257300"/>
                    <a:gd name="connsiteY40" fmla="*/ 190500 h 1212057"/>
                    <a:gd name="connsiteX41" fmla="*/ 900112 w 1257300"/>
                    <a:gd name="connsiteY41" fmla="*/ 164307 h 1212057"/>
                    <a:gd name="connsiteX42" fmla="*/ 690562 w 1257300"/>
                    <a:gd name="connsiteY42" fmla="*/ 71438 h 1212057"/>
                    <a:gd name="connsiteX43" fmla="*/ 554831 w 1257300"/>
                    <a:gd name="connsiteY43" fmla="*/ 21432 h 1212057"/>
                    <a:gd name="connsiteX44" fmla="*/ 426243 w 1257300"/>
                    <a:gd name="connsiteY44" fmla="*/ 0 h 1212057"/>
                    <a:gd name="connsiteX45" fmla="*/ 300037 w 1257300"/>
                    <a:gd name="connsiteY45" fmla="*/ 73819 h 1212057"/>
                    <a:gd name="connsiteX0" fmla="*/ 354806 w 1312069"/>
                    <a:gd name="connsiteY0" fmla="*/ 73819 h 1212057"/>
                    <a:gd name="connsiteX1" fmla="*/ 323850 w 1312069"/>
                    <a:gd name="connsiteY1" fmla="*/ 111919 h 1212057"/>
                    <a:gd name="connsiteX2" fmla="*/ 266701 w 1312069"/>
                    <a:gd name="connsiteY2" fmla="*/ 145257 h 1212057"/>
                    <a:gd name="connsiteX3" fmla="*/ 223838 w 1312069"/>
                    <a:gd name="connsiteY3" fmla="*/ 161925 h 1212057"/>
                    <a:gd name="connsiteX4" fmla="*/ 180975 w 1312069"/>
                    <a:gd name="connsiteY4" fmla="*/ 169069 h 1212057"/>
                    <a:gd name="connsiteX5" fmla="*/ 154780 w 1312069"/>
                    <a:gd name="connsiteY5" fmla="*/ 200025 h 1212057"/>
                    <a:gd name="connsiteX6" fmla="*/ 169069 w 1312069"/>
                    <a:gd name="connsiteY6" fmla="*/ 230981 h 1212057"/>
                    <a:gd name="connsiteX7" fmla="*/ 128587 w 1312069"/>
                    <a:gd name="connsiteY7" fmla="*/ 223839 h 1212057"/>
                    <a:gd name="connsiteX8" fmla="*/ 83343 w 1312069"/>
                    <a:gd name="connsiteY8" fmla="*/ 242888 h 1212057"/>
                    <a:gd name="connsiteX9" fmla="*/ 114300 w 1312069"/>
                    <a:gd name="connsiteY9" fmla="*/ 273844 h 1212057"/>
                    <a:gd name="connsiteX10" fmla="*/ 100012 w 1312069"/>
                    <a:gd name="connsiteY10" fmla="*/ 290514 h 1212057"/>
                    <a:gd name="connsiteX11" fmla="*/ 171449 w 1312069"/>
                    <a:gd name="connsiteY11" fmla="*/ 307182 h 1212057"/>
                    <a:gd name="connsiteX12" fmla="*/ 223837 w 1312069"/>
                    <a:gd name="connsiteY12" fmla="*/ 295275 h 1212057"/>
                    <a:gd name="connsiteX13" fmla="*/ 238125 w 1312069"/>
                    <a:gd name="connsiteY13" fmla="*/ 321469 h 1212057"/>
                    <a:gd name="connsiteX14" fmla="*/ 83344 w 1312069"/>
                    <a:gd name="connsiteY14" fmla="*/ 338138 h 1212057"/>
                    <a:gd name="connsiteX15" fmla="*/ 0 w 1312069"/>
                    <a:gd name="connsiteY15" fmla="*/ 421481 h 1212057"/>
                    <a:gd name="connsiteX16" fmla="*/ 171450 w 1312069"/>
                    <a:gd name="connsiteY16" fmla="*/ 361950 h 1212057"/>
                    <a:gd name="connsiteX17" fmla="*/ 197644 w 1312069"/>
                    <a:gd name="connsiteY17" fmla="*/ 357188 h 1212057"/>
                    <a:gd name="connsiteX18" fmla="*/ 240506 w 1312069"/>
                    <a:gd name="connsiteY18" fmla="*/ 383382 h 1212057"/>
                    <a:gd name="connsiteX19" fmla="*/ 240506 w 1312069"/>
                    <a:gd name="connsiteY19" fmla="*/ 383382 h 1212057"/>
                    <a:gd name="connsiteX20" fmla="*/ 178594 w 1312069"/>
                    <a:gd name="connsiteY20" fmla="*/ 402432 h 1212057"/>
                    <a:gd name="connsiteX21" fmla="*/ 107156 w 1312069"/>
                    <a:gd name="connsiteY21" fmla="*/ 433388 h 1212057"/>
                    <a:gd name="connsiteX22" fmla="*/ 80962 w 1312069"/>
                    <a:gd name="connsiteY22" fmla="*/ 459582 h 1212057"/>
                    <a:gd name="connsiteX23" fmla="*/ 90487 w 1312069"/>
                    <a:gd name="connsiteY23" fmla="*/ 492919 h 1212057"/>
                    <a:gd name="connsiteX24" fmla="*/ 66675 w 1312069"/>
                    <a:gd name="connsiteY24" fmla="*/ 554832 h 1212057"/>
                    <a:gd name="connsiteX25" fmla="*/ 73819 w 1312069"/>
                    <a:gd name="connsiteY25" fmla="*/ 576263 h 1212057"/>
                    <a:gd name="connsiteX26" fmla="*/ 90487 w 1312069"/>
                    <a:gd name="connsiteY26" fmla="*/ 621507 h 1212057"/>
                    <a:gd name="connsiteX27" fmla="*/ 59531 w 1312069"/>
                    <a:gd name="connsiteY27" fmla="*/ 661988 h 1212057"/>
                    <a:gd name="connsiteX28" fmla="*/ 59531 w 1312069"/>
                    <a:gd name="connsiteY28" fmla="*/ 661988 h 1212057"/>
                    <a:gd name="connsiteX29" fmla="*/ 64294 w 1312069"/>
                    <a:gd name="connsiteY29" fmla="*/ 704850 h 1212057"/>
                    <a:gd name="connsiteX30" fmla="*/ 54769 w 1312069"/>
                    <a:gd name="connsiteY30" fmla="*/ 719138 h 1212057"/>
                    <a:gd name="connsiteX31" fmla="*/ 76200 w 1312069"/>
                    <a:gd name="connsiteY31" fmla="*/ 752475 h 1212057"/>
                    <a:gd name="connsiteX32" fmla="*/ 202406 w 1312069"/>
                    <a:gd name="connsiteY32" fmla="*/ 904875 h 1212057"/>
                    <a:gd name="connsiteX33" fmla="*/ 366712 w 1312069"/>
                    <a:gd name="connsiteY33" fmla="*/ 1019175 h 1212057"/>
                    <a:gd name="connsiteX34" fmla="*/ 485775 w 1312069"/>
                    <a:gd name="connsiteY34" fmla="*/ 1128713 h 1212057"/>
                    <a:gd name="connsiteX35" fmla="*/ 590550 w 1312069"/>
                    <a:gd name="connsiteY35" fmla="*/ 1212057 h 1212057"/>
                    <a:gd name="connsiteX36" fmla="*/ 785812 w 1312069"/>
                    <a:gd name="connsiteY36" fmla="*/ 1195388 h 1212057"/>
                    <a:gd name="connsiteX37" fmla="*/ 1088231 w 1312069"/>
                    <a:gd name="connsiteY37" fmla="*/ 1083469 h 1212057"/>
                    <a:gd name="connsiteX38" fmla="*/ 1243012 w 1312069"/>
                    <a:gd name="connsiteY38" fmla="*/ 585788 h 1212057"/>
                    <a:gd name="connsiteX39" fmla="*/ 1312069 w 1312069"/>
                    <a:gd name="connsiteY39" fmla="*/ 223838 h 1212057"/>
                    <a:gd name="connsiteX40" fmla="*/ 1169194 w 1312069"/>
                    <a:gd name="connsiteY40" fmla="*/ 190500 h 1212057"/>
                    <a:gd name="connsiteX41" fmla="*/ 954881 w 1312069"/>
                    <a:gd name="connsiteY41" fmla="*/ 164307 h 1212057"/>
                    <a:gd name="connsiteX42" fmla="*/ 745331 w 1312069"/>
                    <a:gd name="connsiteY42" fmla="*/ 71438 h 1212057"/>
                    <a:gd name="connsiteX43" fmla="*/ 609600 w 1312069"/>
                    <a:gd name="connsiteY43" fmla="*/ 21432 h 1212057"/>
                    <a:gd name="connsiteX44" fmla="*/ 481012 w 1312069"/>
                    <a:gd name="connsiteY44" fmla="*/ 0 h 1212057"/>
                    <a:gd name="connsiteX45" fmla="*/ 354806 w 1312069"/>
                    <a:gd name="connsiteY45" fmla="*/ 73819 h 1212057"/>
                    <a:gd name="connsiteX0" fmla="*/ 354806 w 1312069"/>
                    <a:gd name="connsiteY0" fmla="*/ 73819 h 1212057"/>
                    <a:gd name="connsiteX1" fmla="*/ 323850 w 1312069"/>
                    <a:gd name="connsiteY1" fmla="*/ 111919 h 1212057"/>
                    <a:gd name="connsiteX2" fmla="*/ 266701 w 1312069"/>
                    <a:gd name="connsiteY2" fmla="*/ 145257 h 1212057"/>
                    <a:gd name="connsiteX3" fmla="*/ 223838 w 1312069"/>
                    <a:gd name="connsiteY3" fmla="*/ 161925 h 1212057"/>
                    <a:gd name="connsiteX4" fmla="*/ 180975 w 1312069"/>
                    <a:gd name="connsiteY4" fmla="*/ 169069 h 1212057"/>
                    <a:gd name="connsiteX5" fmla="*/ 154780 w 1312069"/>
                    <a:gd name="connsiteY5" fmla="*/ 200025 h 1212057"/>
                    <a:gd name="connsiteX6" fmla="*/ 169069 w 1312069"/>
                    <a:gd name="connsiteY6" fmla="*/ 230981 h 1212057"/>
                    <a:gd name="connsiteX7" fmla="*/ 128587 w 1312069"/>
                    <a:gd name="connsiteY7" fmla="*/ 223839 h 1212057"/>
                    <a:gd name="connsiteX8" fmla="*/ 83343 w 1312069"/>
                    <a:gd name="connsiteY8" fmla="*/ 242888 h 1212057"/>
                    <a:gd name="connsiteX9" fmla="*/ 114300 w 1312069"/>
                    <a:gd name="connsiteY9" fmla="*/ 273844 h 1212057"/>
                    <a:gd name="connsiteX10" fmla="*/ 100012 w 1312069"/>
                    <a:gd name="connsiteY10" fmla="*/ 290514 h 1212057"/>
                    <a:gd name="connsiteX11" fmla="*/ 171449 w 1312069"/>
                    <a:gd name="connsiteY11" fmla="*/ 307182 h 1212057"/>
                    <a:gd name="connsiteX12" fmla="*/ 223837 w 1312069"/>
                    <a:gd name="connsiteY12" fmla="*/ 295275 h 1212057"/>
                    <a:gd name="connsiteX13" fmla="*/ 238125 w 1312069"/>
                    <a:gd name="connsiteY13" fmla="*/ 321469 h 1212057"/>
                    <a:gd name="connsiteX14" fmla="*/ 297657 w 1312069"/>
                    <a:gd name="connsiteY14" fmla="*/ 350044 h 1212057"/>
                    <a:gd name="connsiteX15" fmla="*/ 0 w 1312069"/>
                    <a:gd name="connsiteY15" fmla="*/ 421481 h 1212057"/>
                    <a:gd name="connsiteX16" fmla="*/ 171450 w 1312069"/>
                    <a:gd name="connsiteY16" fmla="*/ 361950 h 1212057"/>
                    <a:gd name="connsiteX17" fmla="*/ 197644 w 1312069"/>
                    <a:gd name="connsiteY17" fmla="*/ 357188 h 1212057"/>
                    <a:gd name="connsiteX18" fmla="*/ 240506 w 1312069"/>
                    <a:gd name="connsiteY18" fmla="*/ 383382 h 1212057"/>
                    <a:gd name="connsiteX19" fmla="*/ 240506 w 1312069"/>
                    <a:gd name="connsiteY19" fmla="*/ 383382 h 1212057"/>
                    <a:gd name="connsiteX20" fmla="*/ 178594 w 1312069"/>
                    <a:gd name="connsiteY20" fmla="*/ 402432 h 1212057"/>
                    <a:gd name="connsiteX21" fmla="*/ 107156 w 1312069"/>
                    <a:gd name="connsiteY21" fmla="*/ 433388 h 1212057"/>
                    <a:gd name="connsiteX22" fmla="*/ 80962 w 1312069"/>
                    <a:gd name="connsiteY22" fmla="*/ 459582 h 1212057"/>
                    <a:gd name="connsiteX23" fmla="*/ 90487 w 1312069"/>
                    <a:gd name="connsiteY23" fmla="*/ 492919 h 1212057"/>
                    <a:gd name="connsiteX24" fmla="*/ 66675 w 1312069"/>
                    <a:gd name="connsiteY24" fmla="*/ 554832 h 1212057"/>
                    <a:gd name="connsiteX25" fmla="*/ 73819 w 1312069"/>
                    <a:gd name="connsiteY25" fmla="*/ 576263 h 1212057"/>
                    <a:gd name="connsiteX26" fmla="*/ 90487 w 1312069"/>
                    <a:gd name="connsiteY26" fmla="*/ 621507 h 1212057"/>
                    <a:gd name="connsiteX27" fmla="*/ 59531 w 1312069"/>
                    <a:gd name="connsiteY27" fmla="*/ 661988 h 1212057"/>
                    <a:gd name="connsiteX28" fmla="*/ 59531 w 1312069"/>
                    <a:gd name="connsiteY28" fmla="*/ 661988 h 1212057"/>
                    <a:gd name="connsiteX29" fmla="*/ 64294 w 1312069"/>
                    <a:gd name="connsiteY29" fmla="*/ 704850 h 1212057"/>
                    <a:gd name="connsiteX30" fmla="*/ 54769 w 1312069"/>
                    <a:gd name="connsiteY30" fmla="*/ 719138 h 1212057"/>
                    <a:gd name="connsiteX31" fmla="*/ 76200 w 1312069"/>
                    <a:gd name="connsiteY31" fmla="*/ 752475 h 1212057"/>
                    <a:gd name="connsiteX32" fmla="*/ 202406 w 1312069"/>
                    <a:gd name="connsiteY32" fmla="*/ 904875 h 1212057"/>
                    <a:gd name="connsiteX33" fmla="*/ 366712 w 1312069"/>
                    <a:gd name="connsiteY33" fmla="*/ 1019175 h 1212057"/>
                    <a:gd name="connsiteX34" fmla="*/ 485775 w 1312069"/>
                    <a:gd name="connsiteY34" fmla="*/ 1128713 h 1212057"/>
                    <a:gd name="connsiteX35" fmla="*/ 590550 w 1312069"/>
                    <a:gd name="connsiteY35" fmla="*/ 1212057 h 1212057"/>
                    <a:gd name="connsiteX36" fmla="*/ 785812 w 1312069"/>
                    <a:gd name="connsiteY36" fmla="*/ 1195388 h 1212057"/>
                    <a:gd name="connsiteX37" fmla="*/ 1088231 w 1312069"/>
                    <a:gd name="connsiteY37" fmla="*/ 1083469 h 1212057"/>
                    <a:gd name="connsiteX38" fmla="*/ 1243012 w 1312069"/>
                    <a:gd name="connsiteY38" fmla="*/ 585788 h 1212057"/>
                    <a:gd name="connsiteX39" fmla="*/ 1312069 w 1312069"/>
                    <a:gd name="connsiteY39" fmla="*/ 223838 h 1212057"/>
                    <a:gd name="connsiteX40" fmla="*/ 1169194 w 1312069"/>
                    <a:gd name="connsiteY40" fmla="*/ 190500 h 1212057"/>
                    <a:gd name="connsiteX41" fmla="*/ 954881 w 1312069"/>
                    <a:gd name="connsiteY41" fmla="*/ 164307 h 1212057"/>
                    <a:gd name="connsiteX42" fmla="*/ 745331 w 1312069"/>
                    <a:gd name="connsiteY42" fmla="*/ 71438 h 1212057"/>
                    <a:gd name="connsiteX43" fmla="*/ 609600 w 1312069"/>
                    <a:gd name="connsiteY43" fmla="*/ 21432 h 1212057"/>
                    <a:gd name="connsiteX44" fmla="*/ 481012 w 1312069"/>
                    <a:gd name="connsiteY44" fmla="*/ 0 h 1212057"/>
                    <a:gd name="connsiteX45" fmla="*/ 354806 w 1312069"/>
                    <a:gd name="connsiteY45" fmla="*/ 73819 h 1212057"/>
                    <a:gd name="connsiteX0" fmla="*/ 300037 w 1257300"/>
                    <a:gd name="connsiteY0" fmla="*/ 73819 h 1212057"/>
                    <a:gd name="connsiteX1" fmla="*/ 269081 w 1257300"/>
                    <a:gd name="connsiteY1" fmla="*/ 111919 h 1212057"/>
                    <a:gd name="connsiteX2" fmla="*/ 211932 w 1257300"/>
                    <a:gd name="connsiteY2" fmla="*/ 145257 h 1212057"/>
                    <a:gd name="connsiteX3" fmla="*/ 169069 w 1257300"/>
                    <a:gd name="connsiteY3" fmla="*/ 161925 h 1212057"/>
                    <a:gd name="connsiteX4" fmla="*/ 126206 w 1257300"/>
                    <a:gd name="connsiteY4" fmla="*/ 169069 h 1212057"/>
                    <a:gd name="connsiteX5" fmla="*/ 100011 w 1257300"/>
                    <a:gd name="connsiteY5" fmla="*/ 200025 h 1212057"/>
                    <a:gd name="connsiteX6" fmla="*/ 114300 w 1257300"/>
                    <a:gd name="connsiteY6" fmla="*/ 230981 h 1212057"/>
                    <a:gd name="connsiteX7" fmla="*/ 73818 w 1257300"/>
                    <a:gd name="connsiteY7" fmla="*/ 223839 h 1212057"/>
                    <a:gd name="connsiteX8" fmla="*/ 28574 w 1257300"/>
                    <a:gd name="connsiteY8" fmla="*/ 242888 h 1212057"/>
                    <a:gd name="connsiteX9" fmla="*/ 59531 w 1257300"/>
                    <a:gd name="connsiteY9" fmla="*/ 273844 h 1212057"/>
                    <a:gd name="connsiteX10" fmla="*/ 45243 w 1257300"/>
                    <a:gd name="connsiteY10" fmla="*/ 290514 h 1212057"/>
                    <a:gd name="connsiteX11" fmla="*/ 116680 w 1257300"/>
                    <a:gd name="connsiteY11" fmla="*/ 307182 h 1212057"/>
                    <a:gd name="connsiteX12" fmla="*/ 169068 w 1257300"/>
                    <a:gd name="connsiteY12" fmla="*/ 295275 h 1212057"/>
                    <a:gd name="connsiteX13" fmla="*/ 183356 w 1257300"/>
                    <a:gd name="connsiteY13" fmla="*/ 321469 h 1212057"/>
                    <a:gd name="connsiteX14" fmla="*/ 242888 w 1257300"/>
                    <a:gd name="connsiteY14" fmla="*/ 350044 h 1212057"/>
                    <a:gd name="connsiteX15" fmla="*/ 266700 w 1257300"/>
                    <a:gd name="connsiteY15" fmla="*/ 383381 h 1212057"/>
                    <a:gd name="connsiteX16" fmla="*/ 116681 w 1257300"/>
                    <a:gd name="connsiteY16" fmla="*/ 361950 h 1212057"/>
                    <a:gd name="connsiteX17" fmla="*/ 142875 w 1257300"/>
                    <a:gd name="connsiteY17" fmla="*/ 357188 h 1212057"/>
                    <a:gd name="connsiteX18" fmla="*/ 185737 w 1257300"/>
                    <a:gd name="connsiteY18" fmla="*/ 383382 h 1212057"/>
                    <a:gd name="connsiteX19" fmla="*/ 185737 w 1257300"/>
                    <a:gd name="connsiteY19" fmla="*/ 383382 h 1212057"/>
                    <a:gd name="connsiteX20" fmla="*/ 123825 w 1257300"/>
                    <a:gd name="connsiteY20" fmla="*/ 402432 h 1212057"/>
                    <a:gd name="connsiteX21" fmla="*/ 52387 w 1257300"/>
                    <a:gd name="connsiteY21" fmla="*/ 433388 h 1212057"/>
                    <a:gd name="connsiteX22" fmla="*/ 26193 w 1257300"/>
                    <a:gd name="connsiteY22" fmla="*/ 459582 h 1212057"/>
                    <a:gd name="connsiteX23" fmla="*/ 35718 w 1257300"/>
                    <a:gd name="connsiteY23" fmla="*/ 492919 h 1212057"/>
                    <a:gd name="connsiteX24" fmla="*/ 11906 w 1257300"/>
                    <a:gd name="connsiteY24" fmla="*/ 554832 h 1212057"/>
                    <a:gd name="connsiteX25" fmla="*/ 19050 w 1257300"/>
                    <a:gd name="connsiteY25" fmla="*/ 576263 h 1212057"/>
                    <a:gd name="connsiteX26" fmla="*/ 35718 w 1257300"/>
                    <a:gd name="connsiteY26" fmla="*/ 621507 h 1212057"/>
                    <a:gd name="connsiteX27" fmla="*/ 4762 w 1257300"/>
                    <a:gd name="connsiteY27" fmla="*/ 661988 h 1212057"/>
                    <a:gd name="connsiteX28" fmla="*/ 4762 w 1257300"/>
                    <a:gd name="connsiteY28" fmla="*/ 661988 h 1212057"/>
                    <a:gd name="connsiteX29" fmla="*/ 9525 w 1257300"/>
                    <a:gd name="connsiteY29" fmla="*/ 704850 h 1212057"/>
                    <a:gd name="connsiteX30" fmla="*/ 0 w 1257300"/>
                    <a:gd name="connsiteY30" fmla="*/ 719138 h 1212057"/>
                    <a:gd name="connsiteX31" fmla="*/ 21431 w 1257300"/>
                    <a:gd name="connsiteY31" fmla="*/ 752475 h 1212057"/>
                    <a:gd name="connsiteX32" fmla="*/ 147637 w 1257300"/>
                    <a:gd name="connsiteY32" fmla="*/ 904875 h 1212057"/>
                    <a:gd name="connsiteX33" fmla="*/ 311943 w 1257300"/>
                    <a:gd name="connsiteY33" fmla="*/ 1019175 h 1212057"/>
                    <a:gd name="connsiteX34" fmla="*/ 431006 w 1257300"/>
                    <a:gd name="connsiteY34" fmla="*/ 1128713 h 1212057"/>
                    <a:gd name="connsiteX35" fmla="*/ 535781 w 1257300"/>
                    <a:gd name="connsiteY35" fmla="*/ 1212057 h 1212057"/>
                    <a:gd name="connsiteX36" fmla="*/ 731043 w 1257300"/>
                    <a:gd name="connsiteY36" fmla="*/ 1195388 h 1212057"/>
                    <a:gd name="connsiteX37" fmla="*/ 1033462 w 1257300"/>
                    <a:gd name="connsiteY37" fmla="*/ 1083469 h 1212057"/>
                    <a:gd name="connsiteX38" fmla="*/ 1188243 w 1257300"/>
                    <a:gd name="connsiteY38" fmla="*/ 585788 h 1212057"/>
                    <a:gd name="connsiteX39" fmla="*/ 1257300 w 1257300"/>
                    <a:gd name="connsiteY39" fmla="*/ 223838 h 1212057"/>
                    <a:gd name="connsiteX40" fmla="*/ 1114425 w 1257300"/>
                    <a:gd name="connsiteY40" fmla="*/ 190500 h 1212057"/>
                    <a:gd name="connsiteX41" fmla="*/ 900112 w 1257300"/>
                    <a:gd name="connsiteY41" fmla="*/ 164307 h 1212057"/>
                    <a:gd name="connsiteX42" fmla="*/ 690562 w 1257300"/>
                    <a:gd name="connsiteY42" fmla="*/ 71438 h 1212057"/>
                    <a:gd name="connsiteX43" fmla="*/ 554831 w 1257300"/>
                    <a:gd name="connsiteY43" fmla="*/ 21432 h 1212057"/>
                    <a:gd name="connsiteX44" fmla="*/ 426243 w 1257300"/>
                    <a:gd name="connsiteY44" fmla="*/ 0 h 1212057"/>
                    <a:gd name="connsiteX45" fmla="*/ 300037 w 1257300"/>
                    <a:gd name="connsiteY45" fmla="*/ 73819 h 1212057"/>
                    <a:gd name="connsiteX0" fmla="*/ 295275 w 1252538"/>
                    <a:gd name="connsiteY0" fmla="*/ 73819 h 1212057"/>
                    <a:gd name="connsiteX1" fmla="*/ 264319 w 1252538"/>
                    <a:gd name="connsiteY1" fmla="*/ 111919 h 1212057"/>
                    <a:gd name="connsiteX2" fmla="*/ 207170 w 1252538"/>
                    <a:gd name="connsiteY2" fmla="*/ 145257 h 1212057"/>
                    <a:gd name="connsiteX3" fmla="*/ 164307 w 1252538"/>
                    <a:gd name="connsiteY3" fmla="*/ 161925 h 1212057"/>
                    <a:gd name="connsiteX4" fmla="*/ 121444 w 1252538"/>
                    <a:gd name="connsiteY4" fmla="*/ 169069 h 1212057"/>
                    <a:gd name="connsiteX5" fmla="*/ 95249 w 1252538"/>
                    <a:gd name="connsiteY5" fmla="*/ 200025 h 1212057"/>
                    <a:gd name="connsiteX6" fmla="*/ 109538 w 1252538"/>
                    <a:gd name="connsiteY6" fmla="*/ 230981 h 1212057"/>
                    <a:gd name="connsiteX7" fmla="*/ 69056 w 1252538"/>
                    <a:gd name="connsiteY7" fmla="*/ 223839 h 1212057"/>
                    <a:gd name="connsiteX8" fmla="*/ 23812 w 1252538"/>
                    <a:gd name="connsiteY8" fmla="*/ 242888 h 1212057"/>
                    <a:gd name="connsiteX9" fmla="*/ 54769 w 1252538"/>
                    <a:gd name="connsiteY9" fmla="*/ 273844 h 1212057"/>
                    <a:gd name="connsiteX10" fmla="*/ 40481 w 1252538"/>
                    <a:gd name="connsiteY10" fmla="*/ 290514 h 1212057"/>
                    <a:gd name="connsiteX11" fmla="*/ 111918 w 1252538"/>
                    <a:gd name="connsiteY11" fmla="*/ 307182 h 1212057"/>
                    <a:gd name="connsiteX12" fmla="*/ 164306 w 1252538"/>
                    <a:gd name="connsiteY12" fmla="*/ 295275 h 1212057"/>
                    <a:gd name="connsiteX13" fmla="*/ 178594 w 1252538"/>
                    <a:gd name="connsiteY13" fmla="*/ 321469 h 1212057"/>
                    <a:gd name="connsiteX14" fmla="*/ 238126 w 1252538"/>
                    <a:gd name="connsiteY14" fmla="*/ 350044 h 1212057"/>
                    <a:gd name="connsiteX15" fmla="*/ 261938 w 1252538"/>
                    <a:gd name="connsiteY15" fmla="*/ 383381 h 1212057"/>
                    <a:gd name="connsiteX16" fmla="*/ 111919 w 1252538"/>
                    <a:gd name="connsiteY16" fmla="*/ 361950 h 1212057"/>
                    <a:gd name="connsiteX17" fmla="*/ 138113 w 1252538"/>
                    <a:gd name="connsiteY17" fmla="*/ 357188 h 1212057"/>
                    <a:gd name="connsiteX18" fmla="*/ 180975 w 1252538"/>
                    <a:gd name="connsiteY18" fmla="*/ 383382 h 1212057"/>
                    <a:gd name="connsiteX19" fmla="*/ 180975 w 1252538"/>
                    <a:gd name="connsiteY19" fmla="*/ 383382 h 1212057"/>
                    <a:gd name="connsiteX20" fmla="*/ 119063 w 1252538"/>
                    <a:gd name="connsiteY20" fmla="*/ 402432 h 1212057"/>
                    <a:gd name="connsiteX21" fmla="*/ 47625 w 1252538"/>
                    <a:gd name="connsiteY21" fmla="*/ 433388 h 1212057"/>
                    <a:gd name="connsiteX22" fmla="*/ 21431 w 1252538"/>
                    <a:gd name="connsiteY22" fmla="*/ 459582 h 1212057"/>
                    <a:gd name="connsiteX23" fmla="*/ 30956 w 1252538"/>
                    <a:gd name="connsiteY23" fmla="*/ 492919 h 1212057"/>
                    <a:gd name="connsiteX24" fmla="*/ 7144 w 1252538"/>
                    <a:gd name="connsiteY24" fmla="*/ 554832 h 1212057"/>
                    <a:gd name="connsiteX25" fmla="*/ 14288 w 1252538"/>
                    <a:gd name="connsiteY25" fmla="*/ 576263 h 1212057"/>
                    <a:gd name="connsiteX26" fmla="*/ 30956 w 1252538"/>
                    <a:gd name="connsiteY26" fmla="*/ 621507 h 1212057"/>
                    <a:gd name="connsiteX27" fmla="*/ 0 w 1252538"/>
                    <a:gd name="connsiteY27" fmla="*/ 661988 h 1212057"/>
                    <a:gd name="connsiteX28" fmla="*/ 0 w 1252538"/>
                    <a:gd name="connsiteY28" fmla="*/ 661988 h 1212057"/>
                    <a:gd name="connsiteX29" fmla="*/ 4763 w 1252538"/>
                    <a:gd name="connsiteY29" fmla="*/ 704850 h 1212057"/>
                    <a:gd name="connsiteX30" fmla="*/ 50007 w 1252538"/>
                    <a:gd name="connsiteY30" fmla="*/ 728663 h 1212057"/>
                    <a:gd name="connsiteX31" fmla="*/ 16669 w 1252538"/>
                    <a:gd name="connsiteY31" fmla="*/ 752475 h 1212057"/>
                    <a:gd name="connsiteX32" fmla="*/ 142875 w 1252538"/>
                    <a:gd name="connsiteY32" fmla="*/ 904875 h 1212057"/>
                    <a:gd name="connsiteX33" fmla="*/ 307181 w 1252538"/>
                    <a:gd name="connsiteY33" fmla="*/ 1019175 h 1212057"/>
                    <a:gd name="connsiteX34" fmla="*/ 426244 w 1252538"/>
                    <a:gd name="connsiteY34" fmla="*/ 1128713 h 1212057"/>
                    <a:gd name="connsiteX35" fmla="*/ 531019 w 1252538"/>
                    <a:gd name="connsiteY35" fmla="*/ 1212057 h 1212057"/>
                    <a:gd name="connsiteX36" fmla="*/ 726281 w 1252538"/>
                    <a:gd name="connsiteY36" fmla="*/ 1195388 h 1212057"/>
                    <a:gd name="connsiteX37" fmla="*/ 1028700 w 1252538"/>
                    <a:gd name="connsiteY37" fmla="*/ 1083469 h 1212057"/>
                    <a:gd name="connsiteX38" fmla="*/ 1183481 w 1252538"/>
                    <a:gd name="connsiteY38" fmla="*/ 585788 h 1212057"/>
                    <a:gd name="connsiteX39" fmla="*/ 1252538 w 1252538"/>
                    <a:gd name="connsiteY39" fmla="*/ 223838 h 1212057"/>
                    <a:gd name="connsiteX40" fmla="*/ 1109663 w 1252538"/>
                    <a:gd name="connsiteY40" fmla="*/ 190500 h 1212057"/>
                    <a:gd name="connsiteX41" fmla="*/ 895350 w 1252538"/>
                    <a:gd name="connsiteY41" fmla="*/ 164307 h 1212057"/>
                    <a:gd name="connsiteX42" fmla="*/ 685800 w 1252538"/>
                    <a:gd name="connsiteY42" fmla="*/ 71438 h 1212057"/>
                    <a:gd name="connsiteX43" fmla="*/ 550069 w 1252538"/>
                    <a:gd name="connsiteY43" fmla="*/ 21432 h 1212057"/>
                    <a:gd name="connsiteX44" fmla="*/ 421481 w 1252538"/>
                    <a:gd name="connsiteY44" fmla="*/ 0 h 1212057"/>
                    <a:gd name="connsiteX45" fmla="*/ 295275 w 1252538"/>
                    <a:gd name="connsiteY45" fmla="*/ 73819 h 1212057"/>
                    <a:gd name="connsiteX0" fmla="*/ 295275 w 1252538"/>
                    <a:gd name="connsiteY0" fmla="*/ 73819 h 1212057"/>
                    <a:gd name="connsiteX1" fmla="*/ 264319 w 1252538"/>
                    <a:gd name="connsiteY1" fmla="*/ 111919 h 1212057"/>
                    <a:gd name="connsiteX2" fmla="*/ 207170 w 1252538"/>
                    <a:gd name="connsiteY2" fmla="*/ 145257 h 1212057"/>
                    <a:gd name="connsiteX3" fmla="*/ 164307 w 1252538"/>
                    <a:gd name="connsiteY3" fmla="*/ 161925 h 1212057"/>
                    <a:gd name="connsiteX4" fmla="*/ 121444 w 1252538"/>
                    <a:gd name="connsiteY4" fmla="*/ 169069 h 1212057"/>
                    <a:gd name="connsiteX5" fmla="*/ 95249 w 1252538"/>
                    <a:gd name="connsiteY5" fmla="*/ 200025 h 1212057"/>
                    <a:gd name="connsiteX6" fmla="*/ 109538 w 1252538"/>
                    <a:gd name="connsiteY6" fmla="*/ 230981 h 1212057"/>
                    <a:gd name="connsiteX7" fmla="*/ 69056 w 1252538"/>
                    <a:gd name="connsiteY7" fmla="*/ 223839 h 1212057"/>
                    <a:gd name="connsiteX8" fmla="*/ 23812 w 1252538"/>
                    <a:gd name="connsiteY8" fmla="*/ 242888 h 1212057"/>
                    <a:gd name="connsiteX9" fmla="*/ 54769 w 1252538"/>
                    <a:gd name="connsiteY9" fmla="*/ 273844 h 1212057"/>
                    <a:gd name="connsiteX10" fmla="*/ 40481 w 1252538"/>
                    <a:gd name="connsiteY10" fmla="*/ 290514 h 1212057"/>
                    <a:gd name="connsiteX11" fmla="*/ 111918 w 1252538"/>
                    <a:gd name="connsiteY11" fmla="*/ 307182 h 1212057"/>
                    <a:gd name="connsiteX12" fmla="*/ 164306 w 1252538"/>
                    <a:gd name="connsiteY12" fmla="*/ 295275 h 1212057"/>
                    <a:gd name="connsiteX13" fmla="*/ 178594 w 1252538"/>
                    <a:gd name="connsiteY13" fmla="*/ 321469 h 1212057"/>
                    <a:gd name="connsiteX14" fmla="*/ 238126 w 1252538"/>
                    <a:gd name="connsiteY14" fmla="*/ 350044 h 1212057"/>
                    <a:gd name="connsiteX15" fmla="*/ 261938 w 1252538"/>
                    <a:gd name="connsiteY15" fmla="*/ 383381 h 1212057"/>
                    <a:gd name="connsiteX16" fmla="*/ 111919 w 1252538"/>
                    <a:gd name="connsiteY16" fmla="*/ 361950 h 1212057"/>
                    <a:gd name="connsiteX17" fmla="*/ 138113 w 1252538"/>
                    <a:gd name="connsiteY17" fmla="*/ 357188 h 1212057"/>
                    <a:gd name="connsiteX18" fmla="*/ 180975 w 1252538"/>
                    <a:gd name="connsiteY18" fmla="*/ 383382 h 1212057"/>
                    <a:gd name="connsiteX19" fmla="*/ 180975 w 1252538"/>
                    <a:gd name="connsiteY19" fmla="*/ 383382 h 1212057"/>
                    <a:gd name="connsiteX20" fmla="*/ 119063 w 1252538"/>
                    <a:gd name="connsiteY20" fmla="*/ 402432 h 1212057"/>
                    <a:gd name="connsiteX21" fmla="*/ 47625 w 1252538"/>
                    <a:gd name="connsiteY21" fmla="*/ 433388 h 1212057"/>
                    <a:gd name="connsiteX22" fmla="*/ 21431 w 1252538"/>
                    <a:gd name="connsiteY22" fmla="*/ 459582 h 1212057"/>
                    <a:gd name="connsiteX23" fmla="*/ 30956 w 1252538"/>
                    <a:gd name="connsiteY23" fmla="*/ 492919 h 1212057"/>
                    <a:gd name="connsiteX24" fmla="*/ 7144 w 1252538"/>
                    <a:gd name="connsiteY24" fmla="*/ 554832 h 1212057"/>
                    <a:gd name="connsiteX25" fmla="*/ 14288 w 1252538"/>
                    <a:gd name="connsiteY25" fmla="*/ 576263 h 1212057"/>
                    <a:gd name="connsiteX26" fmla="*/ 30956 w 1252538"/>
                    <a:gd name="connsiteY26" fmla="*/ 621507 h 1212057"/>
                    <a:gd name="connsiteX27" fmla="*/ 0 w 1252538"/>
                    <a:gd name="connsiteY27" fmla="*/ 661988 h 1212057"/>
                    <a:gd name="connsiteX28" fmla="*/ 0 w 1252538"/>
                    <a:gd name="connsiteY28" fmla="*/ 661988 h 1212057"/>
                    <a:gd name="connsiteX29" fmla="*/ 38100 w 1252538"/>
                    <a:gd name="connsiteY29" fmla="*/ 697706 h 1212057"/>
                    <a:gd name="connsiteX30" fmla="*/ 50007 w 1252538"/>
                    <a:gd name="connsiteY30" fmla="*/ 728663 h 1212057"/>
                    <a:gd name="connsiteX31" fmla="*/ 16669 w 1252538"/>
                    <a:gd name="connsiteY31" fmla="*/ 752475 h 1212057"/>
                    <a:gd name="connsiteX32" fmla="*/ 142875 w 1252538"/>
                    <a:gd name="connsiteY32" fmla="*/ 904875 h 1212057"/>
                    <a:gd name="connsiteX33" fmla="*/ 307181 w 1252538"/>
                    <a:gd name="connsiteY33" fmla="*/ 1019175 h 1212057"/>
                    <a:gd name="connsiteX34" fmla="*/ 426244 w 1252538"/>
                    <a:gd name="connsiteY34" fmla="*/ 1128713 h 1212057"/>
                    <a:gd name="connsiteX35" fmla="*/ 531019 w 1252538"/>
                    <a:gd name="connsiteY35" fmla="*/ 1212057 h 1212057"/>
                    <a:gd name="connsiteX36" fmla="*/ 726281 w 1252538"/>
                    <a:gd name="connsiteY36" fmla="*/ 1195388 h 1212057"/>
                    <a:gd name="connsiteX37" fmla="*/ 1028700 w 1252538"/>
                    <a:gd name="connsiteY37" fmla="*/ 1083469 h 1212057"/>
                    <a:gd name="connsiteX38" fmla="*/ 1183481 w 1252538"/>
                    <a:gd name="connsiteY38" fmla="*/ 585788 h 1212057"/>
                    <a:gd name="connsiteX39" fmla="*/ 1252538 w 1252538"/>
                    <a:gd name="connsiteY39" fmla="*/ 223838 h 1212057"/>
                    <a:gd name="connsiteX40" fmla="*/ 1109663 w 1252538"/>
                    <a:gd name="connsiteY40" fmla="*/ 190500 h 1212057"/>
                    <a:gd name="connsiteX41" fmla="*/ 895350 w 1252538"/>
                    <a:gd name="connsiteY41" fmla="*/ 164307 h 1212057"/>
                    <a:gd name="connsiteX42" fmla="*/ 685800 w 1252538"/>
                    <a:gd name="connsiteY42" fmla="*/ 71438 h 1212057"/>
                    <a:gd name="connsiteX43" fmla="*/ 550069 w 1252538"/>
                    <a:gd name="connsiteY43" fmla="*/ 21432 h 1212057"/>
                    <a:gd name="connsiteX44" fmla="*/ 421481 w 1252538"/>
                    <a:gd name="connsiteY44" fmla="*/ 0 h 1212057"/>
                    <a:gd name="connsiteX45" fmla="*/ 295275 w 1252538"/>
                    <a:gd name="connsiteY45" fmla="*/ 73819 h 1212057"/>
                    <a:gd name="connsiteX0" fmla="*/ 295275 w 1252538"/>
                    <a:gd name="connsiteY0" fmla="*/ 73819 h 1212057"/>
                    <a:gd name="connsiteX1" fmla="*/ 264319 w 1252538"/>
                    <a:gd name="connsiteY1" fmla="*/ 111919 h 1212057"/>
                    <a:gd name="connsiteX2" fmla="*/ 207170 w 1252538"/>
                    <a:gd name="connsiteY2" fmla="*/ 145257 h 1212057"/>
                    <a:gd name="connsiteX3" fmla="*/ 164307 w 1252538"/>
                    <a:gd name="connsiteY3" fmla="*/ 161925 h 1212057"/>
                    <a:gd name="connsiteX4" fmla="*/ 121444 w 1252538"/>
                    <a:gd name="connsiteY4" fmla="*/ 169069 h 1212057"/>
                    <a:gd name="connsiteX5" fmla="*/ 95249 w 1252538"/>
                    <a:gd name="connsiteY5" fmla="*/ 200025 h 1212057"/>
                    <a:gd name="connsiteX6" fmla="*/ 109538 w 1252538"/>
                    <a:gd name="connsiteY6" fmla="*/ 230981 h 1212057"/>
                    <a:gd name="connsiteX7" fmla="*/ 69056 w 1252538"/>
                    <a:gd name="connsiteY7" fmla="*/ 223839 h 1212057"/>
                    <a:gd name="connsiteX8" fmla="*/ 23812 w 1252538"/>
                    <a:gd name="connsiteY8" fmla="*/ 242888 h 1212057"/>
                    <a:gd name="connsiteX9" fmla="*/ 54769 w 1252538"/>
                    <a:gd name="connsiteY9" fmla="*/ 273844 h 1212057"/>
                    <a:gd name="connsiteX10" fmla="*/ 40481 w 1252538"/>
                    <a:gd name="connsiteY10" fmla="*/ 290514 h 1212057"/>
                    <a:gd name="connsiteX11" fmla="*/ 111918 w 1252538"/>
                    <a:gd name="connsiteY11" fmla="*/ 307182 h 1212057"/>
                    <a:gd name="connsiteX12" fmla="*/ 164306 w 1252538"/>
                    <a:gd name="connsiteY12" fmla="*/ 295275 h 1212057"/>
                    <a:gd name="connsiteX13" fmla="*/ 178594 w 1252538"/>
                    <a:gd name="connsiteY13" fmla="*/ 321469 h 1212057"/>
                    <a:gd name="connsiteX14" fmla="*/ 238126 w 1252538"/>
                    <a:gd name="connsiteY14" fmla="*/ 350044 h 1212057"/>
                    <a:gd name="connsiteX15" fmla="*/ 261938 w 1252538"/>
                    <a:gd name="connsiteY15" fmla="*/ 383381 h 1212057"/>
                    <a:gd name="connsiteX16" fmla="*/ 111919 w 1252538"/>
                    <a:gd name="connsiteY16" fmla="*/ 361950 h 1212057"/>
                    <a:gd name="connsiteX17" fmla="*/ 138113 w 1252538"/>
                    <a:gd name="connsiteY17" fmla="*/ 357188 h 1212057"/>
                    <a:gd name="connsiteX18" fmla="*/ 180975 w 1252538"/>
                    <a:gd name="connsiteY18" fmla="*/ 383382 h 1212057"/>
                    <a:gd name="connsiteX19" fmla="*/ 180975 w 1252538"/>
                    <a:gd name="connsiteY19" fmla="*/ 383382 h 1212057"/>
                    <a:gd name="connsiteX20" fmla="*/ 119063 w 1252538"/>
                    <a:gd name="connsiteY20" fmla="*/ 402432 h 1212057"/>
                    <a:gd name="connsiteX21" fmla="*/ 47625 w 1252538"/>
                    <a:gd name="connsiteY21" fmla="*/ 433388 h 1212057"/>
                    <a:gd name="connsiteX22" fmla="*/ 21431 w 1252538"/>
                    <a:gd name="connsiteY22" fmla="*/ 459582 h 1212057"/>
                    <a:gd name="connsiteX23" fmla="*/ 30956 w 1252538"/>
                    <a:gd name="connsiteY23" fmla="*/ 492919 h 1212057"/>
                    <a:gd name="connsiteX24" fmla="*/ 7144 w 1252538"/>
                    <a:gd name="connsiteY24" fmla="*/ 554832 h 1212057"/>
                    <a:gd name="connsiteX25" fmla="*/ 14288 w 1252538"/>
                    <a:gd name="connsiteY25" fmla="*/ 576263 h 1212057"/>
                    <a:gd name="connsiteX26" fmla="*/ 61912 w 1252538"/>
                    <a:gd name="connsiteY26" fmla="*/ 626269 h 1212057"/>
                    <a:gd name="connsiteX27" fmla="*/ 0 w 1252538"/>
                    <a:gd name="connsiteY27" fmla="*/ 661988 h 1212057"/>
                    <a:gd name="connsiteX28" fmla="*/ 0 w 1252538"/>
                    <a:gd name="connsiteY28" fmla="*/ 661988 h 1212057"/>
                    <a:gd name="connsiteX29" fmla="*/ 38100 w 1252538"/>
                    <a:gd name="connsiteY29" fmla="*/ 697706 h 1212057"/>
                    <a:gd name="connsiteX30" fmla="*/ 50007 w 1252538"/>
                    <a:gd name="connsiteY30" fmla="*/ 728663 h 1212057"/>
                    <a:gd name="connsiteX31" fmla="*/ 16669 w 1252538"/>
                    <a:gd name="connsiteY31" fmla="*/ 752475 h 1212057"/>
                    <a:gd name="connsiteX32" fmla="*/ 142875 w 1252538"/>
                    <a:gd name="connsiteY32" fmla="*/ 904875 h 1212057"/>
                    <a:gd name="connsiteX33" fmla="*/ 307181 w 1252538"/>
                    <a:gd name="connsiteY33" fmla="*/ 1019175 h 1212057"/>
                    <a:gd name="connsiteX34" fmla="*/ 426244 w 1252538"/>
                    <a:gd name="connsiteY34" fmla="*/ 1128713 h 1212057"/>
                    <a:gd name="connsiteX35" fmla="*/ 531019 w 1252538"/>
                    <a:gd name="connsiteY35" fmla="*/ 1212057 h 1212057"/>
                    <a:gd name="connsiteX36" fmla="*/ 726281 w 1252538"/>
                    <a:gd name="connsiteY36" fmla="*/ 1195388 h 1212057"/>
                    <a:gd name="connsiteX37" fmla="*/ 1028700 w 1252538"/>
                    <a:gd name="connsiteY37" fmla="*/ 1083469 h 1212057"/>
                    <a:gd name="connsiteX38" fmla="*/ 1183481 w 1252538"/>
                    <a:gd name="connsiteY38" fmla="*/ 585788 h 1212057"/>
                    <a:gd name="connsiteX39" fmla="*/ 1252538 w 1252538"/>
                    <a:gd name="connsiteY39" fmla="*/ 223838 h 1212057"/>
                    <a:gd name="connsiteX40" fmla="*/ 1109663 w 1252538"/>
                    <a:gd name="connsiteY40" fmla="*/ 190500 h 1212057"/>
                    <a:gd name="connsiteX41" fmla="*/ 895350 w 1252538"/>
                    <a:gd name="connsiteY41" fmla="*/ 164307 h 1212057"/>
                    <a:gd name="connsiteX42" fmla="*/ 685800 w 1252538"/>
                    <a:gd name="connsiteY42" fmla="*/ 71438 h 1212057"/>
                    <a:gd name="connsiteX43" fmla="*/ 550069 w 1252538"/>
                    <a:gd name="connsiteY43" fmla="*/ 21432 h 1212057"/>
                    <a:gd name="connsiteX44" fmla="*/ 421481 w 1252538"/>
                    <a:gd name="connsiteY44" fmla="*/ 0 h 1212057"/>
                    <a:gd name="connsiteX45" fmla="*/ 295275 w 1252538"/>
                    <a:gd name="connsiteY45" fmla="*/ 73819 h 1212057"/>
                    <a:gd name="connsiteX0" fmla="*/ 295400 w 1252663"/>
                    <a:gd name="connsiteY0" fmla="*/ 73819 h 1212057"/>
                    <a:gd name="connsiteX1" fmla="*/ 264444 w 1252663"/>
                    <a:gd name="connsiteY1" fmla="*/ 111919 h 1212057"/>
                    <a:gd name="connsiteX2" fmla="*/ 207295 w 1252663"/>
                    <a:gd name="connsiteY2" fmla="*/ 145257 h 1212057"/>
                    <a:gd name="connsiteX3" fmla="*/ 164432 w 1252663"/>
                    <a:gd name="connsiteY3" fmla="*/ 161925 h 1212057"/>
                    <a:gd name="connsiteX4" fmla="*/ 121569 w 1252663"/>
                    <a:gd name="connsiteY4" fmla="*/ 169069 h 1212057"/>
                    <a:gd name="connsiteX5" fmla="*/ 95374 w 1252663"/>
                    <a:gd name="connsiteY5" fmla="*/ 200025 h 1212057"/>
                    <a:gd name="connsiteX6" fmla="*/ 109663 w 1252663"/>
                    <a:gd name="connsiteY6" fmla="*/ 230981 h 1212057"/>
                    <a:gd name="connsiteX7" fmla="*/ 69181 w 1252663"/>
                    <a:gd name="connsiteY7" fmla="*/ 223839 h 1212057"/>
                    <a:gd name="connsiteX8" fmla="*/ 23937 w 1252663"/>
                    <a:gd name="connsiteY8" fmla="*/ 242888 h 1212057"/>
                    <a:gd name="connsiteX9" fmla="*/ 54894 w 1252663"/>
                    <a:gd name="connsiteY9" fmla="*/ 273844 h 1212057"/>
                    <a:gd name="connsiteX10" fmla="*/ 40606 w 1252663"/>
                    <a:gd name="connsiteY10" fmla="*/ 290514 h 1212057"/>
                    <a:gd name="connsiteX11" fmla="*/ 112043 w 1252663"/>
                    <a:gd name="connsiteY11" fmla="*/ 307182 h 1212057"/>
                    <a:gd name="connsiteX12" fmla="*/ 164431 w 1252663"/>
                    <a:gd name="connsiteY12" fmla="*/ 295275 h 1212057"/>
                    <a:gd name="connsiteX13" fmla="*/ 178719 w 1252663"/>
                    <a:gd name="connsiteY13" fmla="*/ 321469 h 1212057"/>
                    <a:gd name="connsiteX14" fmla="*/ 238251 w 1252663"/>
                    <a:gd name="connsiteY14" fmla="*/ 350044 h 1212057"/>
                    <a:gd name="connsiteX15" fmla="*/ 262063 w 1252663"/>
                    <a:gd name="connsiteY15" fmla="*/ 383381 h 1212057"/>
                    <a:gd name="connsiteX16" fmla="*/ 112044 w 1252663"/>
                    <a:gd name="connsiteY16" fmla="*/ 361950 h 1212057"/>
                    <a:gd name="connsiteX17" fmla="*/ 138238 w 1252663"/>
                    <a:gd name="connsiteY17" fmla="*/ 357188 h 1212057"/>
                    <a:gd name="connsiteX18" fmla="*/ 181100 w 1252663"/>
                    <a:gd name="connsiteY18" fmla="*/ 383382 h 1212057"/>
                    <a:gd name="connsiteX19" fmla="*/ 181100 w 1252663"/>
                    <a:gd name="connsiteY19" fmla="*/ 383382 h 1212057"/>
                    <a:gd name="connsiteX20" fmla="*/ 119188 w 1252663"/>
                    <a:gd name="connsiteY20" fmla="*/ 402432 h 1212057"/>
                    <a:gd name="connsiteX21" fmla="*/ 47750 w 1252663"/>
                    <a:gd name="connsiteY21" fmla="*/ 433388 h 1212057"/>
                    <a:gd name="connsiteX22" fmla="*/ 21556 w 1252663"/>
                    <a:gd name="connsiteY22" fmla="*/ 459582 h 1212057"/>
                    <a:gd name="connsiteX23" fmla="*/ 31081 w 1252663"/>
                    <a:gd name="connsiteY23" fmla="*/ 492919 h 1212057"/>
                    <a:gd name="connsiteX24" fmla="*/ 7269 w 1252663"/>
                    <a:gd name="connsiteY24" fmla="*/ 554832 h 1212057"/>
                    <a:gd name="connsiteX25" fmla="*/ 14413 w 1252663"/>
                    <a:gd name="connsiteY25" fmla="*/ 576263 h 1212057"/>
                    <a:gd name="connsiteX26" fmla="*/ 62037 w 1252663"/>
                    <a:gd name="connsiteY26" fmla="*/ 626269 h 1212057"/>
                    <a:gd name="connsiteX27" fmla="*/ 125 w 1252663"/>
                    <a:gd name="connsiteY27" fmla="*/ 661988 h 1212057"/>
                    <a:gd name="connsiteX28" fmla="*/ 78706 w 1252663"/>
                    <a:gd name="connsiteY28" fmla="*/ 688182 h 1212057"/>
                    <a:gd name="connsiteX29" fmla="*/ 38225 w 1252663"/>
                    <a:gd name="connsiteY29" fmla="*/ 697706 h 1212057"/>
                    <a:gd name="connsiteX30" fmla="*/ 50132 w 1252663"/>
                    <a:gd name="connsiteY30" fmla="*/ 728663 h 1212057"/>
                    <a:gd name="connsiteX31" fmla="*/ 16794 w 1252663"/>
                    <a:gd name="connsiteY31" fmla="*/ 752475 h 1212057"/>
                    <a:gd name="connsiteX32" fmla="*/ 143000 w 1252663"/>
                    <a:gd name="connsiteY32" fmla="*/ 904875 h 1212057"/>
                    <a:gd name="connsiteX33" fmla="*/ 307306 w 1252663"/>
                    <a:gd name="connsiteY33" fmla="*/ 1019175 h 1212057"/>
                    <a:gd name="connsiteX34" fmla="*/ 426369 w 1252663"/>
                    <a:gd name="connsiteY34" fmla="*/ 1128713 h 1212057"/>
                    <a:gd name="connsiteX35" fmla="*/ 531144 w 1252663"/>
                    <a:gd name="connsiteY35" fmla="*/ 1212057 h 1212057"/>
                    <a:gd name="connsiteX36" fmla="*/ 726406 w 1252663"/>
                    <a:gd name="connsiteY36" fmla="*/ 1195388 h 1212057"/>
                    <a:gd name="connsiteX37" fmla="*/ 1028825 w 1252663"/>
                    <a:gd name="connsiteY37" fmla="*/ 1083469 h 1212057"/>
                    <a:gd name="connsiteX38" fmla="*/ 1183606 w 1252663"/>
                    <a:gd name="connsiteY38" fmla="*/ 585788 h 1212057"/>
                    <a:gd name="connsiteX39" fmla="*/ 1252663 w 1252663"/>
                    <a:gd name="connsiteY39" fmla="*/ 223838 h 1212057"/>
                    <a:gd name="connsiteX40" fmla="*/ 1109788 w 1252663"/>
                    <a:gd name="connsiteY40" fmla="*/ 190500 h 1212057"/>
                    <a:gd name="connsiteX41" fmla="*/ 895475 w 1252663"/>
                    <a:gd name="connsiteY41" fmla="*/ 164307 h 1212057"/>
                    <a:gd name="connsiteX42" fmla="*/ 685925 w 1252663"/>
                    <a:gd name="connsiteY42" fmla="*/ 71438 h 1212057"/>
                    <a:gd name="connsiteX43" fmla="*/ 550194 w 1252663"/>
                    <a:gd name="connsiteY43" fmla="*/ 21432 h 1212057"/>
                    <a:gd name="connsiteX44" fmla="*/ 421606 w 1252663"/>
                    <a:gd name="connsiteY44" fmla="*/ 0 h 1212057"/>
                    <a:gd name="connsiteX45" fmla="*/ 295400 w 1252663"/>
                    <a:gd name="connsiteY45" fmla="*/ 73819 h 1212057"/>
                    <a:gd name="connsiteX0" fmla="*/ 288131 w 1245394"/>
                    <a:gd name="connsiteY0" fmla="*/ 73819 h 1212057"/>
                    <a:gd name="connsiteX1" fmla="*/ 257175 w 1245394"/>
                    <a:gd name="connsiteY1" fmla="*/ 111919 h 1212057"/>
                    <a:gd name="connsiteX2" fmla="*/ 200026 w 1245394"/>
                    <a:gd name="connsiteY2" fmla="*/ 145257 h 1212057"/>
                    <a:gd name="connsiteX3" fmla="*/ 157163 w 1245394"/>
                    <a:gd name="connsiteY3" fmla="*/ 161925 h 1212057"/>
                    <a:gd name="connsiteX4" fmla="*/ 114300 w 1245394"/>
                    <a:gd name="connsiteY4" fmla="*/ 169069 h 1212057"/>
                    <a:gd name="connsiteX5" fmla="*/ 88105 w 1245394"/>
                    <a:gd name="connsiteY5" fmla="*/ 200025 h 1212057"/>
                    <a:gd name="connsiteX6" fmla="*/ 102394 w 1245394"/>
                    <a:gd name="connsiteY6" fmla="*/ 230981 h 1212057"/>
                    <a:gd name="connsiteX7" fmla="*/ 61912 w 1245394"/>
                    <a:gd name="connsiteY7" fmla="*/ 223839 h 1212057"/>
                    <a:gd name="connsiteX8" fmla="*/ 16668 w 1245394"/>
                    <a:gd name="connsiteY8" fmla="*/ 242888 h 1212057"/>
                    <a:gd name="connsiteX9" fmla="*/ 47625 w 1245394"/>
                    <a:gd name="connsiteY9" fmla="*/ 273844 h 1212057"/>
                    <a:gd name="connsiteX10" fmla="*/ 33337 w 1245394"/>
                    <a:gd name="connsiteY10" fmla="*/ 290514 h 1212057"/>
                    <a:gd name="connsiteX11" fmla="*/ 104774 w 1245394"/>
                    <a:gd name="connsiteY11" fmla="*/ 307182 h 1212057"/>
                    <a:gd name="connsiteX12" fmla="*/ 157162 w 1245394"/>
                    <a:gd name="connsiteY12" fmla="*/ 295275 h 1212057"/>
                    <a:gd name="connsiteX13" fmla="*/ 171450 w 1245394"/>
                    <a:gd name="connsiteY13" fmla="*/ 321469 h 1212057"/>
                    <a:gd name="connsiteX14" fmla="*/ 230982 w 1245394"/>
                    <a:gd name="connsiteY14" fmla="*/ 350044 h 1212057"/>
                    <a:gd name="connsiteX15" fmla="*/ 254794 w 1245394"/>
                    <a:gd name="connsiteY15" fmla="*/ 383381 h 1212057"/>
                    <a:gd name="connsiteX16" fmla="*/ 104775 w 1245394"/>
                    <a:gd name="connsiteY16" fmla="*/ 361950 h 1212057"/>
                    <a:gd name="connsiteX17" fmla="*/ 130969 w 1245394"/>
                    <a:gd name="connsiteY17" fmla="*/ 357188 h 1212057"/>
                    <a:gd name="connsiteX18" fmla="*/ 173831 w 1245394"/>
                    <a:gd name="connsiteY18" fmla="*/ 383382 h 1212057"/>
                    <a:gd name="connsiteX19" fmla="*/ 173831 w 1245394"/>
                    <a:gd name="connsiteY19" fmla="*/ 383382 h 1212057"/>
                    <a:gd name="connsiteX20" fmla="*/ 111919 w 1245394"/>
                    <a:gd name="connsiteY20" fmla="*/ 402432 h 1212057"/>
                    <a:gd name="connsiteX21" fmla="*/ 40481 w 1245394"/>
                    <a:gd name="connsiteY21" fmla="*/ 433388 h 1212057"/>
                    <a:gd name="connsiteX22" fmla="*/ 14287 w 1245394"/>
                    <a:gd name="connsiteY22" fmla="*/ 459582 h 1212057"/>
                    <a:gd name="connsiteX23" fmla="*/ 23812 w 1245394"/>
                    <a:gd name="connsiteY23" fmla="*/ 492919 h 1212057"/>
                    <a:gd name="connsiteX24" fmla="*/ 0 w 1245394"/>
                    <a:gd name="connsiteY24" fmla="*/ 554832 h 1212057"/>
                    <a:gd name="connsiteX25" fmla="*/ 7144 w 1245394"/>
                    <a:gd name="connsiteY25" fmla="*/ 576263 h 1212057"/>
                    <a:gd name="connsiteX26" fmla="*/ 54768 w 1245394"/>
                    <a:gd name="connsiteY26" fmla="*/ 626269 h 1212057"/>
                    <a:gd name="connsiteX27" fmla="*/ 64294 w 1245394"/>
                    <a:gd name="connsiteY27" fmla="*/ 654844 h 1212057"/>
                    <a:gd name="connsiteX28" fmla="*/ 71437 w 1245394"/>
                    <a:gd name="connsiteY28" fmla="*/ 688182 h 1212057"/>
                    <a:gd name="connsiteX29" fmla="*/ 30956 w 1245394"/>
                    <a:gd name="connsiteY29" fmla="*/ 697706 h 1212057"/>
                    <a:gd name="connsiteX30" fmla="*/ 42863 w 1245394"/>
                    <a:gd name="connsiteY30" fmla="*/ 728663 h 1212057"/>
                    <a:gd name="connsiteX31" fmla="*/ 9525 w 1245394"/>
                    <a:gd name="connsiteY31" fmla="*/ 752475 h 1212057"/>
                    <a:gd name="connsiteX32" fmla="*/ 135731 w 1245394"/>
                    <a:gd name="connsiteY32" fmla="*/ 904875 h 1212057"/>
                    <a:gd name="connsiteX33" fmla="*/ 300037 w 1245394"/>
                    <a:gd name="connsiteY33" fmla="*/ 1019175 h 1212057"/>
                    <a:gd name="connsiteX34" fmla="*/ 419100 w 1245394"/>
                    <a:gd name="connsiteY34" fmla="*/ 1128713 h 1212057"/>
                    <a:gd name="connsiteX35" fmla="*/ 523875 w 1245394"/>
                    <a:gd name="connsiteY35" fmla="*/ 1212057 h 1212057"/>
                    <a:gd name="connsiteX36" fmla="*/ 719137 w 1245394"/>
                    <a:gd name="connsiteY36" fmla="*/ 1195388 h 1212057"/>
                    <a:gd name="connsiteX37" fmla="*/ 1021556 w 1245394"/>
                    <a:gd name="connsiteY37" fmla="*/ 1083469 h 1212057"/>
                    <a:gd name="connsiteX38" fmla="*/ 1176337 w 1245394"/>
                    <a:gd name="connsiteY38" fmla="*/ 585788 h 1212057"/>
                    <a:gd name="connsiteX39" fmla="*/ 1245394 w 1245394"/>
                    <a:gd name="connsiteY39" fmla="*/ 223838 h 1212057"/>
                    <a:gd name="connsiteX40" fmla="*/ 1102519 w 1245394"/>
                    <a:gd name="connsiteY40" fmla="*/ 190500 h 1212057"/>
                    <a:gd name="connsiteX41" fmla="*/ 888206 w 1245394"/>
                    <a:gd name="connsiteY41" fmla="*/ 164307 h 1212057"/>
                    <a:gd name="connsiteX42" fmla="*/ 678656 w 1245394"/>
                    <a:gd name="connsiteY42" fmla="*/ 71438 h 1212057"/>
                    <a:gd name="connsiteX43" fmla="*/ 542925 w 1245394"/>
                    <a:gd name="connsiteY43" fmla="*/ 21432 h 1212057"/>
                    <a:gd name="connsiteX44" fmla="*/ 414337 w 1245394"/>
                    <a:gd name="connsiteY44" fmla="*/ 0 h 1212057"/>
                    <a:gd name="connsiteX45" fmla="*/ 288131 w 1245394"/>
                    <a:gd name="connsiteY45" fmla="*/ 73819 h 1212057"/>
                    <a:gd name="connsiteX0" fmla="*/ 288131 w 1245394"/>
                    <a:gd name="connsiteY0" fmla="*/ 73819 h 1212057"/>
                    <a:gd name="connsiteX1" fmla="*/ 257175 w 1245394"/>
                    <a:gd name="connsiteY1" fmla="*/ 111919 h 1212057"/>
                    <a:gd name="connsiteX2" fmla="*/ 200026 w 1245394"/>
                    <a:gd name="connsiteY2" fmla="*/ 145257 h 1212057"/>
                    <a:gd name="connsiteX3" fmla="*/ 157163 w 1245394"/>
                    <a:gd name="connsiteY3" fmla="*/ 161925 h 1212057"/>
                    <a:gd name="connsiteX4" fmla="*/ 114300 w 1245394"/>
                    <a:gd name="connsiteY4" fmla="*/ 169069 h 1212057"/>
                    <a:gd name="connsiteX5" fmla="*/ 88105 w 1245394"/>
                    <a:gd name="connsiteY5" fmla="*/ 200025 h 1212057"/>
                    <a:gd name="connsiteX6" fmla="*/ 102394 w 1245394"/>
                    <a:gd name="connsiteY6" fmla="*/ 230981 h 1212057"/>
                    <a:gd name="connsiteX7" fmla="*/ 61912 w 1245394"/>
                    <a:gd name="connsiteY7" fmla="*/ 223839 h 1212057"/>
                    <a:gd name="connsiteX8" fmla="*/ 16668 w 1245394"/>
                    <a:gd name="connsiteY8" fmla="*/ 242888 h 1212057"/>
                    <a:gd name="connsiteX9" fmla="*/ 47625 w 1245394"/>
                    <a:gd name="connsiteY9" fmla="*/ 273844 h 1212057"/>
                    <a:gd name="connsiteX10" fmla="*/ 33337 w 1245394"/>
                    <a:gd name="connsiteY10" fmla="*/ 290514 h 1212057"/>
                    <a:gd name="connsiteX11" fmla="*/ 104774 w 1245394"/>
                    <a:gd name="connsiteY11" fmla="*/ 307182 h 1212057"/>
                    <a:gd name="connsiteX12" fmla="*/ 157162 w 1245394"/>
                    <a:gd name="connsiteY12" fmla="*/ 295275 h 1212057"/>
                    <a:gd name="connsiteX13" fmla="*/ 171450 w 1245394"/>
                    <a:gd name="connsiteY13" fmla="*/ 321469 h 1212057"/>
                    <a:gd name="connsiteX14" fmla="*/ 230982 w 1245394"/>
                    <a:gd name="connsiteY14" fmla="*/ 350044 h 1212057"/>
                    <a:gd name="connsiteX15" fmla="*/ 254794 w 1245394"/>
                    <a:gd name="connsiteY15" fmla="*/ 383381 h 1212057"/>
                    <a:gd name="connsiteX16" fmla="*/ 104775 w 1245394"/>
                    <a:gd name="connsiteY16" fmla="*/ 361950 h 1212057"/>
                    <a:gd name="connsiteX17" fmla="*/ 130969 w 1245394"/>
                    <a:gd name="connsiteY17" fmla="*/ 357188 h 1212057"/>
                    <a:gd name="connsiteX18" fmla="*/ 173831 w 1245394"/>
                    <a:gd name="connsiteY18" fmla="*/ 383382 h 1212057"/>
                    <a:gd name="connsiteX19" fmla="*/ 173831 w 1245394"/>
                    <a:gd name="connsiteY19" fmla="*/ 383382 h 1212057"/>
                    <a:gd name="connsiteX20" fmla="*/ 111919 w 1245394"/>
                    <a:gd name="connsiteY20" fmla="*/ 402432 h 1212057"/>
                    <a:gd name="connsiteX21" fmla="*/ 40481 w 1245394"/>
                    <a:gd name="connsiteY21" fmla="*/ 433388 h 1212057"/>
                    <a:gd name="connsiteX22" fmla="*/ 14287 w 1245394"/>
                    <a:gd name="connsiteY22" fmla="*/ 459582 h 1212057"/>
                    <a:gd name="connsiteX23" fmla="*/ 23812 w 1245394"/>
                    <a:gd name="connsiteY23" fmla="*/ 492919 h 1212057"/>
                    <a:gd name="connsiteX24" fmla="*/ 0 w 1245394"/>
                    <a:gd name="connsiteY24" fmla="*/ 554832 h 1212057"/>
                    <a:gd name="connsiteX25" fmla="*/ 78581 w 1245394"/>
                    <a:gd name="connsiteY25" fmla="*/ 583406 h 1212057"/>
                    <a:gd name="connsiteX26" fmla="*/ 54768 w 1245394"/>
                    <a:gd name="connsiteY26" fmla="*/ 626269 h 1212057"/>
                    <a:gd name="connsiteX27" fmla="*/ 64294 w 1245394"/>
                    <a:gd name="connsiteY27" fmla="*/ 654844 h 1212057"/>
                    <a:gd name="connsiteX28" fmla="*/ 71437 w 1245394"/>
                    <a:gd name="connsiteY28" fmla="*/ 688182 h 1212057"/>
                    <a:gd name="connsiteX29" fmla="*/ 30956 w 1245394"/>
                    <a:gd name="connsiteY29" fmla="*/ 697706 h 1212057"/>
                    <a:gd name="connsiteX30" fmla="*/ 42863 w 1245394"/>
                    <a:gd name="connsiteY30" fmla="*/ 728663 h 1212057"/>
                    <a:gd name="connsiteX31" fmla="*/ 9525 w 1245394"/>
                    <a:gd name="connsiteY31" fmla="*/ 752475 h 1212057"/>
                    <a:gd name="connsiteX32" fmla="*/ 135731 w 1245394"/>
                    <a:gd name="connsiteY32" fmla="*/ 904875 h 1212057"/>
                    <a:gd name="connsiteX33" fmla="*/ 300037 w 1245394"/>
                    <a:gd name="connsiteY33" fmla="*/ 1019175 h 1212057"/>
                    <a:gd name="connsiteX34" fmla="*/ 419100 w 1245394"/>
                    <a:gd name="connsiteY34" fmla="*/ 1128713 h 1212057"/>
                    <a:gd name="connsiteX35" fmla="*/ 523875 w 1245394"/>
                    <a:gd name="connsiteY35" fmla="*/ 1212057 h 1212057"/>
                    <a:gd name="connsiteX36" fmla="*/ 719137 w 1245394"/>
                    <a:gd name="connsiteY36" fmla="*/ 1195388 h 1212057"/>
                    <a:gd name="connsiteX37" fmla="*/ 1021556 w 1245394"/>
                    <a:gd name="connsiteY37" fmla="*/ 1083469 h 1212057"/>
                    <a:gd name="connsiteX38" fmla="*/ 1176337 w 1245394"/>
                    <a:gd name="connsiteY38" fmla="*/ 585788 h 1212057"/>
                    <a:gd name="connsiteX39" fmla="*/ 1245394 w 1245394"/>
                    <a:gd name="connsiteY39" fmla="*/ 223838 h 1212057"/>
                    <a:gd name="connsiteX40" fmla="*/ 1102519 w 1245394"/>
                    <a:gd name="connsiteY40" fmla="*/ 190500 h 1212057"/>
                    <a:gd name="connsiteX41" fmla="*/ 888206 w 1245394"/>
                    <a:gd name="connsiteY41" fmla="*/ 164307 h 1212057"/>
                    <a:gd name="connsiteX42" fmla="*/ 678656 w 1245394"/>
                    <a:gd name="connsiteY42" fmla="*/ 71438 h 1212057"/>
                    <a:gd name="connsiteX43" fmla="*/ 542925 w 1245394"/>
                    <a:gd name="connsiteY43" fmla="*/ 21432 h 1212057"/>
                    <a:gd name="connsiteX44" fmla="*/ 414337 w 1245394"/>
                    <a:gd name="connsiteY44" fmla="*/ 0 h 1212057"/>
                    <a:gd name="connsiteX45" fmla="*/ 288131 w 1245394"/>
                    <a:gd name="connsiteY45" fmla="*/ 73819 h 1212057"/>
                    <a:gd name="connsiteX0" fmla="*/ 278606 w 1235869"/>
                    <a:gd name="connsiteY0" fmla="*/ 73819 h 1212057"/>
                    <a:gd name="connsiteX1" fmla="*/ 247650 w 1235869"/>
                    <a:gd name="connsiteY1" fmla="*/ 111919 h 1212057"/>
                    <a:gd name="connsiteX2" fmla="*/ 190501 w 1235869"/>
                    <a:gd name="connsiteY2" fmla="*/ 145257 h 1212057"/>
                    <a:gd name="connsiteX3" fmla="*/ 147638 w 1235869"/>
                    <a:gd name="connsiteY3" fmla="*/ 161925 h 1212057"/>
                    <a:gd name="connsiteX4" fmla="*/ 104775 w 1235869"/>
                    <a:gd name="connsiteY4" fmla="*/ 169069 h 1212057"/>
                    <a:gd name="connsiteX5" fmla="*/ 78580 w 1235869"/>
                    <a:gd name="connsiteY5" fmla="*/ 200025 h 1212057"/>
                    <a:gd name="connsiteX6" fmla="*/ 92869 w 1235869"/>
                    <a:gd name="connsiteY6" fmla="*/ 230981 h 1212057"/>
                    <a:gd name="connsiteX7" fmla="*/ 52387 w 1235869"/>
                    <a:gd name="connsiteY7" fmla="*/ 223839 h 1212057"/>
                    <a:gd name="connsiteX8" fmla="*/ 7143 w 1235869"/>
                    <a:gd name="connsiteY8" fmla="*/ 242888 h 1212057"/>
                    <a:gd name="connsiteX9" fmla="*/ 38100 w 1235869"/>
                    <a:gd name="connsiteY9" fmla="*/ 273844 h 1212057"/>
                    <a:gd name="connsiteX10" fmla="*/ 23812 w 1235869"/>
                    <a:gd name="connsiteY10" fmla="*/ 290514 h 1212057"/>
                    <a:gd name="connsiteX11" fmla="*/ 95249 w 1235869"/>
                    <a:gd name="connsiteY11" fmla="*/ 307182 h 1212057"/>
                    <a:gd name="connsiteX12" fmla="*/ 147637 w 1235869"/>
                    <a:gd name="connsiteY12" fmla="*/ 295275 h 1212057"/>
                    <a:gd name="connsiteX13" fmla="*/ 161925 w 1235869"/>
                    <a:gd name="connsiteY13" fmla="*/ 321469 h 1212057"/>
                    <a:gd name="connsiteX14" fmla="*/ 221457 w 1235869"/>
                    <a:gd name="connsiteY14" fmla="*/ 350044 h 1212057"/>
                    <a:gd name="connsiteX15" fmla="*/ 245269 w 1235869"/>
                    <a:gd name="connsiteY15" fmla="*/ 383381 h 1212057"/>
                    <a:gd name="connsiteX16" fmla="*/ 95250 w 1235869"/>
                    <a:gd name="connsiteY16" fmla="*/ 361950 h 1212057"/>
                    <a:gd name="connsiteX17" fmla="*/ 121444 w 1235869"/>
                    <a:gd name="connsiteY17" fmla="*/ 357188 h 1212057"/>
                    <a:gd name="connsiteX18" fmla="*/ 164306 w 1235869"/>
                    <a:gd name="connsiteY18" fmla="*/ 383382 h 1212057"/>
                    <a:gd name="connsiteX19" fmla="*/ 164306 w 1235869"/>
                    <a:gd name="connsiteY19" fmla="*/ 383382 h 1212057"/>
                    <a:gd name="connsiteX20" fmla="*/ 102394 w 1235869"/>
                    <a:gd name="connsiteY20" fmla="*/ 402432 h 1212057"/>
                    <a:gd name="connsiteX21" fmla="*/ 30956 w 1235869"/>
                    <a:gd name="connsiteY21" fmla="*/ 433388 h 1212057"/>
                    <a:gd name="connsiteX22" fmla="*/ 4762 w 1235869"/>
                    <a:gd name="connsiteY22" fmla="*/ 459582 h 1212057"/>
                    <a:gd name="connsiteX23" fmla="*/ 14287 w 1235869"/>
                    <a:gd name="connsiteY23" fmla="*/ 492919 h 1212057"/>
                    <a:gd name="connsiteX24" fmla="*/ 80963 w 1235869"/>
                    <a:gd name="connsiteY24" fmla="*/ 547688 h 1212057"/>
                    <a:gd name="connsiteX25" fmla="*/ 69056 w 1235869"/>
                    <a:gd name="connsiteY25" fmla="*/ 583406 h 1212057"/>
                    <a:gd name="connsiteX26" fmla="*/ 45243 w 1235869"/>
                    <a:gd name="connsiteY26" fmla="*/ 626269 h 1212057"/>
                    <a:gd name="connsiteX27" fmla="*/ 54769 w 1235869"/>
                    <a:gd name="connsiteY27" fmla="*/ 654844 h 1212057"/>
                    <a:gd name="connsiteX28" fmla="*/ 61912 w 1235869"/>
                    <a:gd name="connsiteY28" fmla="*/ 688182 h 1212057"/>
                    <a:gd name="connsiteX29" fmla="*/ 21431 w 1235869"/>
                    <a:gd name="connsiteY29" fmla="*/ 697706 h 1212057"/>
                    <a:gd name="connsiteX30" fmla="*/ 33338 w 1235869"/>
                    <a:gd name="connsiteY30" fmla="*/ 728663 h 1212057"/>
                    <a:gd name="connsiteX31" fmla="*/ 0 w 1235869"/>
                    <a:gd name="connsiteY31" fmla="*/ 752475 h 1212057"/>
                    <a:gd name="connsiteX32" fmla="*/ 126206 w 1235869"/>
                    <a:gd name="connsiteY32" fmla="*/ 904875 h 1212057"/>
                    <a:gd name="connsiteX33" fmla="*/ 290512 w 1235869"/>
                    <a:gd name="connsiteY33" fmla="*/ 1019175 h 1212057"/>
                    <a:gd name="connsiteX34" fmla="*/ 409575 w 1235869"/>
                    <a:gd name="connsiteY34" fmla="*/ 1128713 h 1212057"/>
                    <a:gd name="connsiteX35" fmla="*/ 514350 w 1235869"/>
                    <a:gd name="connsiteY35" fmla="*/ 1212057 h 1212057"/>
                    <a:gd name="connsiteX36" fmla="*/ 709612 w 1235869"/>
                    <a:gd name="connsiteY36" fmla="*/ 1195388 h 1212057"/>
                    <a:gd name="connsiteX37" fmla="*/ 1012031 w 1235869"/>
                    <a:gd name="connsiteY37" fmla="*/ 1083469 h 1212057"/>
                    <a:gd name="connsiteX38" fmla="*/ 1166812 w 1235869"/>
                    <a:gd name="connsiteY38" fmla="*/ 585788 h 1212057"/>
                    <a:gd name="connsiteX39" fmla="*/ 1235869 w 1235869"/>
                    <a:gd name="connsiteY39" fmla="*/ 223838 h 1212057"/>
                    <a:gd name="connsiteX40" fmla="*/ 1092994 w 1235869"/>
                    <a:gd name="connsiteY40" fmla="*/ 190500 h 1212057"/>
                    <a:gd name="connsiteX41" fmla="*/ 878681 w 1235869"/>
                    <a:gd name="connsiteY41" fmla="*/ 164307 h 1212057"/>
                    <a:gd name="connsiteX42" fmla="*/ 669131 w 1235869"/>
                    <a:gd name="connsiteY42" fmla="*/ 71438 h 1212057"/>
                    <a:gd name="connsiteX43" fmla="*/ 533400 w 1235869"/>
                    <a:gd name="connsiteY43" fmla="*/ 21432 h 1212057"/>
                    <a:gd name="connsiteX44" fmla="*/ 404812 w 1235869"/>
                    <a:gd name="connsiteY44" fmla="*/ 0 h 1212057"/>
                    <a:gd name="connsiteX45" fmla="*/ 278606 w 1235869"/>
                    <a:gd name="connsiteY45" fmla="*/ 73819 h 1212057"/>
                    <a:gd name="connsiteX0" fmla="*/ 278606 w 1235869"/>
                    <a:gd name="connsiteY0" fmla="*/ 73819 h 1212057"/>
                    <a:gd name="connsiteX1" fmla="*/ 247650 w 1235869"/>
                    <a:gd name="connsiteY1" fmla="*/ 111919 h 1212057"/>
                    <a:gd name="connsiteX2" fmla="*/ 190501 w 1235869"/>
                    <a:gd name="connsiteY2" fmla="*/ 145257 h 1212057"/>
                    <a:gd name="connsiteX3" fmla="*/ 147638 w 1235869"/>
                    <a:gd name="connsiteY3" fmla="*/ 161925 h 1212057"/>
                    <a:gd name="connsiteX4" fmla="*/ 104775 w 1235869"/>
                    <a:gd name="connsiteY4" fmla="*/ 169069 h 1212057"/>
                    <a:gd name="connsiteX5" fmla="*/ 78580 w 1235869"/>
                    <a:gd name="connsiteY5" fmla="*/ 200025 h 1212057"/>
                    <a:gd name="connsiteX6" fmla="*/ 92869 w 1235869"/>
                    <a:gd name="connsiteY6" fmla="*/ 230981 h 1212057"/>
                    <a:gd name="connsiteX7" fmla="*/ 52387 w 1235869"/>
                    <a:gd name="connsiteY7" fmla="*/ 223839 h 1212057"/>
                    <a:gd name="connsiteX8" fmla="*/ 7143 w 1235869"/>
                    <a:gd name="connsiteY8" fmla="*/ 242888 h 1212057"/>
                    <a:gd name="connsiteX9" fmla="*/ 38100 w 1235869"/>
                    <a:gd name="connsiteY9" fmla="*/ 273844 h 1212057"/>
                    <a:gd name="connsiteX10" fmla="*/ 23812 w 1235869"/>
                    <a:gd name="connsiteY10" fmla="*/ 290514 h 1212057"/>
                    <a:gd name="connsiteX11" fmla="*/ 95249 w 1235869"/>
                    <a:gd name="connsiteY11" fmla="*/ 307182 h 1212057"/>
                    <a:gd name="connsiteX12" fmla="*/ 147637 w 1235869"/>
                    <a:gd name="connsiteY12" fmla="*/ 295275 h 1212057"/>
                    <a:gd name="connsiteX13" fmla="*/ 161925 w 1235869"/>
                    <a:gd name="connsiteY13" fmla="*/ 321469 h 1212057"/>
                    <a:gd name="connsiteX14" fmla="*/ 221457 w 1235869"/>
                    <a:gd name="connsiteY14" fmla="*/ 350044 h 1212057"/>
                    <a:gd name="connsiteX15" fmla="*/ 245269 w 1235869"/>
                    <a:gd name="connsiteY15" fmla="*/ 383381 h 1212057"/>
                    <a:gd name="connsiteX16" fmla="*/ 95250 w 1235869"/>
                    <a:gd name="connsiteY16" fmla="*/ 361950 h 1212057"/>
                    <a:gd name="connsiteX17" fmla="*/ 121444 w 1235869"/>
                    <a:gd name="connsiteY17" fmla="*/ 357188 h 1212057"/>
                    <a:gd name="connsiteX18" fmla="*/ 164306 w 1235869"/>
                    <a:gd name="connsiteY18" fmla="*/ 383382 h 1212057"/>
                    <a:gd name="connsiteX19" fmla="*/ 164306 w 1235869"/>
                    <a:gd name="connsiteY19" fmla="*/ 383382 h 1212057"/>
                    <a:gd name="connsiteX20" fmla="*/ 102394 w 1235869"/>
                    <a:gd name="connsiteY20" fmla="*/ 402432 h 1212057"/>
                    <a:gd name="connsiteX21" fmla="*/ 30956 w 1235869"/>
                    <a:gd name="connsiteY21" fmla="*/ 433388 h 1212057"/>
                    <a:gd name="connsiteX22" fmla="*/ 4762 w 1235869"/>
                    <a:gd name="connsiteY22" fmla="*/ 459582 h 1212057"/>
                    <a:gd name="connsiteX23" fmla="*/ 71437 w 1235869"/>
                    <a:gd name="connsiteY23" fmla="*/ 490537 h 1212057"/>
                    <a:gd name="connsiteX24" fmla="*/ 80963 w 1235869"/>
                    <a:gd name="connsiteY24" fmla="*/ 547688 h 1212057"/>
                    <a:gd name="connsiteX25" fmla="*/ 69056 w 1235869"/>
                    <a:gd name="connsiteY25" fmla="*/ 583406 h 1212057"/>
                    <a:gd name="connsiteX26" fmla="*/ 45243 w 1235869"/>
                    <a:gd name="connsiteY26" fmla="*/ 626269 h 1212057"/>
                    <a:gd name="connsiteX27" fmla="*/ 54769 w 1235869"/>
                    <a:gd name="connsiteY27" fmla="*/ 654844 h 1212057"/>
                    <a:gd name="connsiteX28" fmla="*/ 61912 w 1235869"/>
                    <a:gd name="connsiteY28" fmla="*/ 688182 h 1212057"/>
                    <a:gd name="connsiteX29" fmla="*/ 21431 w 1235869"/>
                    <a:gd name="connsiteY29" fmla="*/ 697706 h 1212057"/>
                    <a:gd name="connsiteX30" fmla="*/ 33338 w 1235869"/>
                    <a:gd name="connsiteY30" fmla="*/ 728663 h 1212057"/>
                    <a:gd name="connsiteX31" fmla="*/ 0 w 1235869"/>
                    <a:gd name="connsiteY31" fmla="*/ 752475 h 1212057"/>
                    <a:gd name="connsiteX32" fmla="*/ 126206 w 1235869"/>
                    <a:gd name="connsiteY32" fmla="*/ 904875 h 1212057"/>
                    <a:gd name="connsiteX33" fmla="*/ 290512 w 1235869"/>
                    <a:gd name="connsiteY33" fmla="*/ 1019175 h 1212057"/>
                    <a:gd name="connsiteX34" fmla="*/ 409575 w 1235869"/>
                    <a:gd name="connsiteY34" fmla="*/ 1128713 h 1212057"/>
                    <a:gd name="connsiteX35" fmla="*/ 514350 w 1235869"/>
                    <a:gd name="connsiteY35" fmla="*/ 1212057 h 1212057"/>
                    <a:gd name="connsiteX36" fmla="*/ 709612 w 1235869"/>
                    <a:gd name="connsiteY36" fmla="*/ 1195388 h 1212057"/>
                    <a:gd name="connsiteX37" fmla="*/ 1012031 w 1235869"/>
                    <a:gd name="connsiteY37" fmla="*/ 1083469 h 1212057"/>
                    <a:gd name="connsiteX38" fmla="*/ 1166812 w 1235869"/>
                    <a:gd name="connsiteY38" fmla="*/ 585788 h 1212057"/>
                    <a:gd name="connsiteX39" fmla="*/ 1235869 w 1235869"/>
                    <a:gd name="connsiteY39" fmla="*/ 223838 h 1212057"/>
                    <a:gd name="connsiteX40" fmla="*/ 1092994 w 1235869"/>
                    <a:gd name="connsiteY40" fmla="*/ 190500 h 1212057"/>
                    <a:gd name="connsiteX41" fmla="*/ 878681 w 1235869"/>
                    <a:gd name="connsiteY41" fmla="*/ 164307 h 1212057"/>
                    <a:gd name="connsiteX42" fmla="*/ 669131 w 1235869"/>
                    <a:gd name="connsiteY42" fmla="*/ 71438 h 1212057"/>
                    <a:gd name="connsiteX43" fmla="*/ 533400 w 1235869"/>
                    <a:gd name="connsiteY43" fmla="*/ 21432 h 1212057"/>
                    <a:gd name="connsiteX44" fmla="*/ 404812 w 1235869"/>
                    <a:gd name="connsiteY44" fmla="*/ 0 h 1212057"/>
                    <a:gd name="connsiteX45" fmla="*/ 278606 w 1235869"/>
                    <a:gd name="connsiteY45" fmla="*/ 73819 h 1212057"/>
                    <a:gd name="connsiteX0" fmla="*/ 278606 w 1235869"/>
                    <a:gd name="connsiteY0" fmla="*/ 73819 h 1212057"/>
                    <a:gd name="connsiteX1" fmla="*/ 247650 w 1235869"/>
                    <a:gd name="connsiteY1" fmla="*/ 111919 h 1212057"/>
                    <a:gd name="connsiteX2" fmla="*/ 190501 w 1235869"/>
                    <a:gd name="connsiteY2" fmla="*/ 145257 h 1212057"/>
                    <a:gd name="connsiteX3" fmla="*/ 147638 w 1235869"/>
                    <a:gd name="connsiteY3" fmla="*/ 161925 h 1212057"/>
                    <a:gd name="connsiteX4" fmla="*/ 104775 w 1235869"/>
                    <a:gd name="connsiteY4" fmla="*/ 169069 h 1212057"/>
                    <a:gd name="connsiteX5" fmla="*/ 78580 w 1235869"/>
                    <a:gd name="connsiteY5" fmla="*/ 200025 h 1212057"/>
                    <a:gd name="connsiteX6" fmla="*/ 92869 w 1235869"/>
                    <a:gd name="connsiteY6" fmla="*/ 230981 h 1212057"/>
                    <a:gd name="connsiteX7" fmla="*/ 52387 w 1235869"/>
                    <a:gd name="connsiteY7" fmla="*/ 223839 h 1212057"/>
                    <a:gd name="connsiteX8" fmla="*/ 7143 w 1235869"/>
                    <a:gd name="connsiteY8" fmla="*/ 242888 h 1212057"/>
                    <a:gd name="connsiteX9" fmla="*/ 38100 w 1235869"/>
                    <a:gd name="connsiteY9" fmla="*/ 273844 h 1212057"/>
                    <a:gd name="connsiteX10" fmla="*/ 23812 w 1235869"/>
                    <a:gd name="connsiteY10" fmla="*/ 290514 h 1212057"/>
                    <a:gd name="connsiteX11" fmla="*/ 95249 w 1235869"/>
                    <a:gd name="connsiteY11" fmla="*/ 307182 h 1212057"/>
                    <a:gd name="connsiteX12" fmla="*/ 147637 w 1235869"/>
                    <a:gd name="connsiteY12" fmla="*/ 295275 h 1212057"/>
                    <a:gd name="connsiteX13" fmla="*/ 161925 w 1235869"/>
                    <a:gd name="connsiteY13" fmla="*/ 321469 h 1212057"/>
                    <a:gd name="connsiteX14" fmla="*/ 221457 w 1235869"/>
                    <a:gd name="connsiteY14" fmla="*/ 350044 h 1212057"/>
                    <a:gd name="connsiteX15" fmla="*/ 245269 w 1235869"/>
                    <a:gd name="connsiteY15" fmla="*/ 383381 h 1212057"/>
                    <a:gd name="connsiteX16" fmla="*/ 95250 w 1235869"/>
                    <a:gd name="connsiteY16" fmla="*/ 361950 h 1212057"/>
                    <a:gd name="connsiteX17" fmla="*/ 121444 w 1235869"/>
                    <a:gd name="connsiteY17" fmla="*/ 357188 h 1212057"/>
                    <a:gd name="connsiteX18" fmla="*/ 164306 w 1235869"/>
                    <a:gd name="connsiteY18" fmla="*/ 383382 h 1212057"/>
                    <a:gd name="connsiteX19" fmla="*/ 164306 w 1235869"/>
                    <a:gd name="connsiteY19" fmla="*/ 383382 h 1212057"/>
                    <a:gd name="connsiteX20" fmla="*/ 102394 w 1235869"/>
                    <a:gd name="connsiteY20" fmla="*/ 402432 h 1212057"/>
                    <a:gd name="connsiteX21" fmla="*/ 30956 w 1235869"/>
                    <a:gd name="connsiteY21" fmla="*/ 433388 h 1212057"/>
                    <a:gd name="connsiteX22" fmla="*/ 76199 w 1235869"/>
                    <a:gd name="connsiteY22" fmla="*/ 469107 h 1212057"/>
                    <a:gd name="connsiteX23" fmla="*/ 71437 w 1235869"/>
                    <a:gd name="connsiteY23" fmla="*/ 490537 h 1212057"/>
                    <a:gd name="connsiteX24" fmla="*/ 80963 w 1235869"/>
                    <a:gd name="connsiteY24" fmla="*/ 547688 h 1212057"/>
                    <a:gd name="connsiteX25" fmla="*/ 69056 w 1235869"/>
                    <a:gd name="connsiteY25" fmla="*/ 583406 h 1212057"/>
                    <a:gd name="connsiteX26" fmla="*/ 45243 w 1235869"/>
                    <a:gd name="connsiteY26" fmla="*/ 626269 h 1212057"/>
                    <a:gd name="connsiteX27" fmla="*/ 54769 w 1235869"/>
                    <a:gd name="connsiteY27" fmla="*/ 654844 h 1212057"/>
                    <a:gd name="connsiteX28" fmla="*/ 61912 w 1235869"/>
                    <a:gd name="connsiteY28" fmla="*/ 688182 h 1212057"/>
                    <a:gd name="connsiteX29" fmla="*/ 21431 w 1235869"/>
                    <a:gd name="connsiteY29" fmla="*/ 697706 h 1212057"/>
                    <a:gd name="connsiteX30" fmla="*/ 33338 w 1235869"/>
                    <a:gd name="connsiteY30" fmla="*/ 728663 h 1212057"/>
                    <a:gd name="connsiteX31" fmla="*/ 0 w 1235869"/>
                    <a:gd name="connsiteY31" fmla="*/ 752475 h 1212057"/>
                    <a:gd name="connsiteX32" fmla="*/ 126206 w 1235869"/>
                    <a:gd name="connsiteY32" fmla="*/ 904875 h 1212057"/>
                    <a:gd name="connsiteX33" fmla="*/ 290512 w 1235869"/>
                    <a:gd name="connsiteY33" fmla="*/ 1019175 h 1212057"/>
                    <a:gd name="connsiteX34" fmla="*/ 409575 w 1235869"/>
                    <a:gd name="connsiteY34" fmla="*/ 1128713 h 1212057"/>
                    <a:gd name="connsiteX35" fmla="*/ 514350 w 1235869"/>
                    <a:gd name="connsiteY35" fmla="*/ 1212057 h 1212057"/>
                    <a:gd name="connsiteX36" fmla="*/ 709612 w 1235869"/>
                    <a:gd name="connsiteY36" fmla="*/ 1195388 h 1212057"/>
                    <a:gd name="connsiteX37" fmla="*/ 1012031 w 1235869"/>
                    <a:gd name="connsiteY37" fmla="*/ 1083469 h 1212057"/>
                    <a:gd name="connsiteX38" fmla="*/ 1166812 w 1235869"/>
                    <a:gd name="connsiteY38" fmla="*/ 585788 h 1212057"/>
                    <a:gd name="connsiteX39" fmla="*/ 1235869 w 1235869"/>
                    <a:gd name="connsiteY39" fmla="*/ 223838 h 1212057"/>
                    <a:gd name="connsiteX40" fmla="*/ 1092994 w 1235869"/>
                    <a:gd name="connsiteY40" fmla="*/ 190500 h 1212057"/>
                    <a:gd name="connsiteX41" fmla="*/ 878681 w 1235869"/>
                    <a:gd name="connsiteY41" fmla="*/ 164307 h 1212057"/>
                    <a:gd name="connsiteX42" fmla="*/ 669131 w 1235869"/>
                    <a:gd name="connsiteY42" fmla="*/ 71438 h 1212057"/>
                    <a:gd name="connsiteX43" fmla="*/ 533400 w 1235869"/>
                    <a:gd name="connsiteY43" fmla="*/ 21432 h 1212057"/>
                    <a:gd name="connsiteX44" fmla="*/ 404812 w 1235869"/>
                    <a:gd name="connsiteY44" fmla="*/ 0 h 1212057"/>
                    <a:gd name="connsiteX45" fmla="*/ 278606 w 1235869"/>
                    <a:gd name="connsiteY45" fmla="*/ 73819 h 1212057"/>
                    <a:gd name="connsiteX0" fmla="*/ 278606 w 1235869"/>
                    <a:gd name="connsiteY0" fmla="*/ 73819 h 1212057"/>
                    <a:gd name="connsiteX1" fmla="*/ 247650 w 1235869"/>
                    <a:gd name="connsiteY1" fmla="*/ 111919 h 1212057"/>
                    <a:gd name="connsiteX2" fmla="*/ 190501 w 1235869"/>
                    <a:gd name="connsiteY2" fmla="*/ 145257 h 1212057"/>
                    <a:gd name="connsiteX3" fmla="*/ 147638 w 1235869"/>
                    <a:gd name="connsiteY3" fmla="*/ 161925 h 1212057"/>
                    <a:gd name="connsiteX4" fmla="*/ 104775 w 1235869"/>
                    <a:gd name="connsiteY4" fmla="*/ 169069 h 1212057"/>
                    <a:gd name="connsiteX5" fmla="*/ 78580 w 1235869"/>
                    <a:gd name="connsiteY5" fmla="*/ 200025 h 1212057"/>
                    <a:gd name="connsiteX6" fmla="*/ 92869 w 1235869"/>
                    <a:gd name="connsiteY6" fmla="*/ 230981 h 1212057"/>
                    <a:gd name="connsiteX7" fmla="*/ 52387 w 1235869"/>
                    <a:gd name="connsiteY7" fmla="*/ 223839 h 1212057"/>
                    <a:gd name="connsiteX8" fmla="*/ 7143 w 1235869"/>
                    <a:gd name="connsiteY8" fmla="*/ 242888 h 1212057"/>
                    <a:gd name="connsiteX9" fmla="*/ 38100 w 1235869"/>
                    <a:gd name="connsiteY9" fmla="*/ 273844 h 1212057"/>
                    <a:gd name="connsiteX10" fmla="*/ 23812 w 1235869"/>
                    <a:gd name="connsiteY10" fmla="*/ 290514 h 1212057"/>
                    <a:gd name="connsiteX11" fmla="*/ 95249 w 1235869"/>
                    <a:gd name="connsiteY11" fmla="*/ 307182 h 1212057"/>
                    <a:gd name="connsiteX12" fmla="*/ 147637 w 1235869"/>
                    <a:gd name="connsiteY12" fmla="*/ 295275 h 1212057"/>
                    <a:gd name="connsiteX13" fmla="*/ 161925 w 1235869"/>
                    <a:gd name="connsiteY13" fmla="*/ 321469 h 1212057"/>
                    <a:gd name="connsiteX14" fmla="*/ 221457 w 1235869"/>
                    <a:gd name="connsiteY14" fmla="*/ 350044 h 1212057"/>
                    <a:gd name="connsiteX15" fmla="*/ 245269 w 1235869"/>
                    <a:gd name="connsiteY15" fmla="*/ 383381 h 1212057"/>
                    <a:gd name="connsiteX16" fmla="*/ 95250 w 1235869"/>
                    <a:gd name="connsiteY16" fmla="*/ 361950 h 1212057"/>
                    <a:gd name="connsiteX17" fmla="*/ 121444 w 1235869"/>
                    <a:gd name="connsiteY17" fmla="*/ 357188 h 1212057"/>
                    <a:gd name="connsiteX18" fmla="*/ 164306 w 1235869"/>
                    <a:gd name="connsiteY18" fmla="*/ 383382 h 1212057"/>
                    <a:gd name="connsiteX19" fmla="*/ 164306 w 1235869"/>
                    <a:gd name="connsiteY19" fmla="*/ 383382 h 1212057"/>
                    <a:gd name="connsiteX20" fmla="*/ 102394 w 1235869"/>
                    <a:gd name="connsiteY20" fmla="*/ 402432 h 1212057"/>
                    <a:gd name="connsiteX21" fmla="*/ 114300 w 1235869"/>
                    <a:gd name="connsiteY21" fmla="*/ 442913 h 1212057"/>
                    <a:gd name="connsiteX22" fmla="*/ 76199 w 1235869"/>
                    <a:gd name="connsiteY22" fmla="*/ 469107 h 1212057"/>
                    <a:gd name="connsiteX23" fmla="*/ 71437 w 1235869"/>
                    <a:gd name="connsiteY23" fmla="*/ 490537 h 1212057"/>
                    <a:gd name="connsiteX24" fmla="*/ 80963 w 1235869"/>
                    <a:gd name="connsiteY24" fmla="*/ 547688 h 1212057"/>
                    <a:gd name="connsiteX25" fmla="*/ 69056 w 1235869"/>
                    <a:gd name="connsiteY25" fmla="*/ 583406 h 1212057"/>
                    <a:gd name="connsiteX26" fmla="*/ 45243 w 1235869"/>
                    <a:gd name="connsiteY26" fmla="*/ 626269 h 1212057"/>
                    <a:gd name="connsiteX27" fmla="*/ 54769 w 1235869"/>
                    <a:gd name="connsiteY27" fmla="*/ 654844 h 1212057"/>
                    <a:gd name="connsiteX28" fmla="*/ 61912 w 1235869"/>
                    <a:gd name="connsiteY28" fmla="*/ 688182 h 1212057"/>
                    <a:gd name="connsiteX29" fmla="*/ 21431 w 1235869"/>
                    <a:gd name="connsiteY29" fmla="*/ 697706 h 1212057"/>
                    <a:gd name="connsiteX30" fmla="*/ 33338 w 1235869"/>
                    <a:gd name="connsiteY30" fmla="*/ 728663 h 1212057"/>
                    <a:gd name="connsiteX31" fmla="*/ 0 w 1235869"/>
                    <a:gd name="connsiteY31" fmla="*/ 752475 h 1212057"/>
                    <a:gd name="connsiteX32" fmla="*/ 126206 w 1235869"/>
                    <a:gd name="connsiteY32" fmla="*/ 904875 h 1212057"/>
                    <a:gd name="connsiteX33" fmla="*/ 290512 w 1235869"/>
                    <a:gd name="connsiteY33" fmla="*/ 1019175 h 1212057"/>
                    <a:gd name="connsiteX34" fmla="*/ 409575 w 1235869"/>
                    <a:gd name="connsiteY34" fmla="*/ 1128713 h 1212057"/>
                    <a:gd name="connsiteX35" fmla="*/ 514350 w 1235869"/>
                    <a:gd name="connsiteY35" fmla="*/ 1212057 h 1212057"/>
                    <a:gd name="connsiteX36" fmla="*/ 709612 w 1235869"/>
                    <a:gd name="connsiteY36" fmla="*/ 1195388 h 1212057"/>
                    <a:gd name="connsiteX37" fmla="*/ 1012031 w 1235869"/>
                    <a:gd name="connsiteY37" fmla="*/ 1083469 h 1212057"/>
                    <a:gd name="connsiteX38" fmla="*/ 1166812 w 1235869"/>
                    <a:gd name="connsiteY38" fmla="*/ 585788 h 1212057"/>
                    <a:gd name="connsiteX39" fmla="*/ 1235869 w 1235869"/>
                    <a:gd name="connsiteY39" fmla="*/ 223838 h 1212057"/>
                    <a:gd name="connsiteX40" fmla="*/ 1092994 w 1235869"/>
                    <a:gd name="connsiteY40" fmla="*/ 190500 h 1212057"/>
                    <a:gd name="connsiteX41" fmla="*/ 878681 w 1235869"/>
                    <a:gd name="connsiteY41" fmla="*/ 164307 h 1212057"/>
                    <a:gd name="connsiteX42" fmla="*/ 669131 w 1235869"/>
                    <a:gd name="connsiteY42" fmla="*/ 71438 h 1212057"/>
                    <a:gd name="connsiteX43" fmla="*/ 533400 w 1235869"/>
                    <a:gd name="connsiteY43" fmla="*/ 21432 h 1212057"/>
                    <a:gd name="connsiteX44" fmla="*/ 404812 w 1235869"/>
                    <a:gd name="connsiteY44" fmla="*/ 0 h 1212057"/>
                    <a:gd name="connsiteX45" fmla="*/ 278606 w 1235869"/>
                    <a:gd name="connsiteY45" fmla="*/ 73819 h 1212057"/>
                    <a:gd name="connsiteX0" fmla="*/ 278606 w 1235869"/>
                    <a:gd name="connsiteY0" fmla="*/ 73819 h 1212057"/>
                    <a:gd name="connsiteX1" fmla="*/ 247650 w 1235869"/>
                    <a:gd name="connsiteY1" fmla="*/ 111919 h 1212057"/>
                    <a:gd name="connsiteX2" fmla="*/ 190501 w 1235869"/>
                    <a:gd name="connsiteY2" fmla="*/ 145257 h 1212057"/>
                    <a:gd name="connsiteX3" fmla="*/ 147638 w 1235869"/>
                    <a:gd name="connsiteY3" fmla="*/ 161925 h 1212057"/>
                    <a:gd name="connsiteX4" fmla="*/ 104775 w 1235869"/>
                    <a:gd name="connsiteY4" fmla="*/ 169069 h 1212057"/>
                    <a:gd name="connsiteX5" fmla="*/ 78580 w 1235869"/>
                    <a:gd name="connsiteY5" fmla="*/ 200025 h 1212057"/>
                    <a:gd name="connsiteX6" fmla="*/ 92869 w 1235869"/>
                    <a:gd name="connsiteY6" fmla="*/ 230981 h 1212057"/>
                    <a:gd name="connsiteX7" fmla="*/ 52387 w 1235869"/>
                    <a:gd name="connsiteY7" fmla="*/ 223839 h 1212057"/>
                    <a:gd name="connsiteX8" fmla="*/ 7143 w 1235869"/>
                    <a:gd name="connsiteY8" fmla="*/ 242888 h 1212057"/>
                    <a:gd name="connsiteX9" fmla="*/ 38100 w 1235869"/>
                    <a:gd name="connsiteY9" fmla="*/ 273844 h 1212057"/>
                    <a:gd name="connsiteX10" fmla="*/ 23812 w 1235869"/>
                    <a:gd name="connsiteY10" fmla="*/ 290514 h 1212057"/>
                    <a:gd name="connsiteX11" fmla="*/ 95249 w 1235869"/>
                    <a:gd name="connsiteY11" fmla="*/ 307182 h 1212057"/>
                    <a:gd name="connsiteX12" fmla="*/ 147637 w 1235869"/>
                    <a:gd name="connsiteY12" fmla="*/ 295275 h 1212057"/>
                    <a:gd name="connsiteX13" fmla="*/ 161925 w 1235869"/>
                    <a:gd name="connsiteY13" fmla="*/ 321469 h 1212057"/>
                    <a:gd name="connsiteX14" fmla="*/ 221457 w 1235869"/>
                    <a:gd name="connsiteY14" fmla="*/ 350044 h 1212057"/>
                    <a:gd name="connsiteX15" fmla="*/ 245269 w 1235869"/>
                    <a:gd name="connsiteY15" fmla="*/ 383381 h 1212057"/>
                    <a:gd name="connsiteX16" fmla="*/ 95250 w 1235869"/>
                    <a:gd name="connsiteY16" fmla="*/ 361950 h 1212057"/>
                    <a:gd name="connsiteX17" fmla="*/ 121444 w 1235869"/>
                    <a:gd name="connsiteY17" fmla="*/ 357188 h 1212057"/>
                    <a:gd name="connsiteX18" fmla="*/ 164306 w 1235869"/>
                    <a:gd name="connsiteY18" fmla="*/ 383382 h 1212057"/>
                    <a:gd name="connsiteX19" fmla="*/ 164306 w 1235869"/>
                    <a:gd name="connsiteY19" fmla="*/ 383382 h 1212057"/>
                    <a:gd name="connsiteX20" fmla="*/ 140494 w 1235869"/>
                    <a:gd name="connsiteY20" fmla="*/ 426245 h 1212057"/>
                    <a:gd name="connsiteX21" fmla="*/ 114300 w 1235869"/>
                    <a:gd name="connsiteY21" fmla="*/ 442913 h 1212057"/>
                    <a:gd name="connsiteX22" fmla="*/ 76199 w 1235869"/>
                    <a:gd name="connsiteY22" fmla="*/ 469107 h 1212057"/>
                    <a:gd name="connsiteX23" fmla="*/ 71437 w 1235869"/>
                    <a:gd name="connsiteY23" fmla="*/ 490537 h 1212057"/>
                    <a:gd name="connsiteX24" fmla="*/ 80963 w 1235869"/>
                    <a:gd name="connsiteY24" fmla="*/ 547688 h 1212057"/>
                    <a:gd name="connsiteX25" fmla="*/ 69056 w 1235869"/>
                    <a:gd name="connsiteY25" fmla="*/ 583406 h 1212057"/>
                    <a:gd name="connsiteX26" fmla="*/ 45243 w 1235869"/>
                    <a:gd name="connsiteY26" fmla="*/ 626269 h 1212057"/>
                    <a:gd name="connsiteX27" fmla="*/ 54769 w 1235869"/>
                    <a:gd name="connsiteY27" fmla="*/ 654844 h 1212057"/>
                    <a:gd name="connsiteX28" fmla="*/ 61912 w 1235869"/>
                    <a:gd name="connsiteY28" fmla="*/ 688182 h 1212057"/>
                    <a:gd name="connsiteX29" fmla="*/ 21431 w 1235869"/>
                    <a:gd name="connsiteY29" fmla="*/ 697706 h 1212057"/>
                    <a:gd name="connsiteX30" fmla="*/ 33338 w 1235869"/>
                    <a:gd name="connsiteY30" fmla="*/ 728663 h 1212057"/>
                    <a:gd name="connsiteX31" fmla="*/ 0 w 1235869"/>
                    <a:gd name="connsiteY31" fmla="*/ 752475 h 1212057"/>
                    <a:gd name="connsiteX32" fmla="*/ 126206 w 1235869"/>
                    <a:gd name="connsiteY32" fmla="*/ 904875 h 1212057"/>
                    <a:gd name="connsiteX33" fmla="*/ 290512 w 1235869"/>
                    <a:gd name="connsiteY33" fmla="*/ 1019175 h 1212057"/>
                    <a:gd name="connsiteX34" fmla="*/ 409575 w 1235869"/>
                    <a:gd name="connsiteY34" fmla="*/ 1128713 h 1212057"/>
                    <a:gd name="connsiteX35" fmla="*/ 514350 w 1235869"/>
                    <a:gd name="connsiteY35" fmla="*/ 1212057 h 1212057"/>
                    <a:gd name="connsiteX36" fmla="*/ 709612 w 1235869"/>
                    <a:gd name="connsiteY36" fmla="*/ 1195388 h 1212057"/>
                    <a:gd name="connsiteX37" fmla="*/ 1012031 w 1235869"/>
                    <a:gd name="connsiteY37" fmla="*/ 1083469 h 1212057"/>
                    <a:gd name="connsiteX38" fmla="*/ 1166812 w 1235869"/>
                    <a:gd name="connsiteY38" fmla="*/ 585788 h 1212057"/>
                    <a:gd name="connsiteX39" fmla="*/ 1235869 w 1235869"/>
                    <a:gd name="connsiteY39" fmla="*/ 223838 h 1212057"/>
                    <a:gd name="connsiteX40" fmla="*/ 1092994 w 1235869"/>
                    <a:gd name="connsiteY40" fmla="*/ 190500 h 1212057"/>
                    <a:gd name="connsiteX41" fmla="*/ 878681 w 1235869"/>
                    <a:gd name="connsiteY41" fmla="*/ 164307 h 1212057"/>
                    <a:gd name="connsiteX42" fmla="*/ 669131 w 1235869"/>
                    <a:gd name="connsiteY42" fmla="*/ 71438 h 1212057"/>
                    <a:gd name="connsiteX43" fmla="*/ 533400 w 1235869"/>
                    <a:gd name="connsiteY43" fmla="*/ 21432 h 1212057"/>
                    <a:gd name="connsiteX44" fmla="*/ 404812 w 1235869"/>
                    <a:gd name="connsiteY44" fmla="*/ 0 h 1212057"/>
                    <a:gd name="connsiteX45" fmla="*/ 278606 w 1235869"/>
                    <a:gd name="connsiteY45" fmla="*/ 73819 h 1212057"/>
                    <a:gd name="connsiteX0" fmla="*/ 278606 w 1235869"/>
                    <a:gd name="connsiteY0" fmla="*/ 73819 h 1212057"/>
                    <a:gd name="connsiteX1" fmla="*/ 247650 w 1235869"/>
                    <a:gd name="connsiteY1" fmla="*/ 111919 h 1212057"/>
                    <a:gd name="connsiteX2" fmla="*/ 190501 w 1235869"/>
                    <a:gd name="connsiteY2" fmla="*/ 145257 h 1212057"/>
                    <a:gd name="connsiteX3" fmla="*/ 147638 w 1235869"/>
                    <a:gd name="connsiteY3" fmla="*/ 161925 h 1212057"/>
                    <a:gd name="connsiteX4" fmla="*/ 104775 w 1235869"/>
                    <a:gd name="connsiteY4" fmla="*/ 169069 h 1212057"/>
                    <a:gd name="connsiteX5" fmla="*/ 78580 w 1235869"/>
                    <a:gd name="connsiteY5" fmla="*/ 200025 h 1212057"/>
                    <a:gd name="connsiteX6" fmla="*/ 92869 w 1235869"/>
                    <a:gd name="connsiteY6" fmla="*/ 230981 h 1212057"/>
                    <a:gd name="connsiteX7" fmla="*/ 52387 w 1235869"/>
                    <a:gd name="connsiteY7" fmla="*/ 223839 h 1212057"/>
                    <a:gd name="connsiteX8" fmla="*/ 7143 w 1235869"/>
                    <a:gd name="connsiteY8" fmla="*/ 242888 h 1212057"/>
                    <a:gd name="connsiteX9" fmla="*/ 38100 w 1235869"/>
                    <a:gd name="connsiteY9" fmla="*/ 273844 h 1212057"/>
                    <a:gd name="connsiteX10" fmla="*/ 23812 w 1235869"/>
                    <a:gd name="connsiteY10" fmla="*/ 290514 h 1212057"/>
                    <a:gd name="connsiteX11" fmla="*/ 95249 w 1235869"/>
                    <a:gd name="connsiteY11" fmla="*/ 307182 h 1212057"/>
                    <a:gd name="connsiteX12" fmla="*/ 147637 w 1235869"/>
                    <a:gd name="connsiteY12" fmla="*/ 295275 h 1212057"/>
                    <a:gd name="connsiteX13" fmla="*/ 161925 w 1235869"/>
                    <a:gd name="connsiteY13" fmla="*/ 321469 h 1212057"/>
                    <a:gd name="connsiteX14" fmla="*/ 221457 w 1235869"/>
                    <a:gd name="connsiteY14" fmla="*/ 350044 h 1212057"/>
                    <a:gd name="connsiteX15" fmla="*/ 245269 w 1235869"/>
                    <a:gd name="connsiteY15" fmla="*/ 383381 h 1212057"/>
                    <a:gd name="connsiteX16" fmla="*/ 95250 w 1235869"/>
                    <a:gd name="connsiteY16" fmla="*/ 361950 h 1212057"/>
                    <a:gd name="connsiteX17" fmla="*/ 121444 w 1235869"/>
                    <a:gd name="connsiteY17" fmla="*/ 357188 h 1212057"/>
                    <a:gd name="connsiteX18" fmla="*/ 164306 w 1235869"/>
                    <a:gd name="connsiteY18" fmla="*/ 383382 h 1212057"/>
                    <a:gd name="connsiteX19" fmla="*/ 183356 w 1235869"/>
                    <a:gd name="connsiteY19" fmla="*/ 445294 h 1212057"/>
                    <a:gd name="connsiteX20" fmla="*/ 140494 w 1235869"/>
                    <a:gd name="connsiteY20" fmla="*/ 426245 h 1212057"/>
                    <a:gd name="connsiteX21" fmla="*/ 114300 w 1235869"/>
                    <a:gd name="connsiteY21" fmla="*/ 442913 h 1212057"/>
                    <a:gd name="connsiteX22" fmla="*/ 76199 w 1235869"/>
                    <a:gd name="connsiteY22" fmla="*/ 469107 h 1212057"/>
                    <a:gd name="connsiteX23" fmla="*/ 71437 w 1235869"/>
                    <a:gd name="connsiteY23" fmla="*/ 490537 h 1212057"/>
                    <a:gd name="connsiteX24" fmla="*/ 80963 w 1235869"/>
                    <a:gd name="connsiteY24" fmla="*/ 547688 h 1212057"/>
                    <a:gd name="connsiteX25" fmla="*/ 69056 w 1235869"/>
                    <a:gd name="connsiteY25" fmla="*/ 583406 h 1212057"/>
                    <a:gd name="connsiteX26" fmla="*/ 45243 w 1235869"/>
                    <a:gd name="connsiteY26" fmla="*/ 626269 h 1212057"/>
                    <a:gd name="connsiteX27" fmla="*/ 54769 w 1235869"/>
                    <a:gd name="connsiteY27" fmla="*/ 654844 h 1212057"/>
                    <a:gd name="connsiteX28" fmla="*/ 61912 w 1235869"/>
                    <a:gd name="connsiteY28" fmla="*/ 688182 h 1212057"/>
                    <a:gd name="connsiteX29" fmla="*/ 21431 w 1235869"/>
                    <a:gd name="connsiteY29" fmla="*/ 697706 h 1212057"/>
                    <a:gd name="connsiteX30" fmla="*/ 33338 w 1235869"/>
                    <a:gd name="connsiteY30" fmla="*/ 728663 h 1212057"/>
                    <a:gd name="connsiteX31" fmla="*/ 0 w 1235869"/>
                    <a:gd name="connsiteY31" fmla="*/ 752475 h 1212057"/>
                    <a:gd name="connsiteX32" fmla="*/ 126206 w 1235869"/>
                    <a:gd name="connsiteY32" fmla="*/ 904875 h 1212057"/>
                    <a:gd name="connsiteX33" fmla="*/ 290512 w 1235869"/>
                    <a:gd name="connsiteY33" fmla="*/ 1019175 h 1212057"/>
                    <a:gd name="connsiteX34" fmla="*/ 409575 w 1235869"/>
                    <a:gd name="connsiteY34" fmla="*/ 1128713 h 1212057"/>
                    <a:gd name="connsiteX35" fmla="*/ 514350 w 1235869"/>
                    <a:gd name="connsiteY35" fmla="*/ 1212057 h 1212057"/>
                    <a:gd name="connsiteX36" fmla="*/ 709612 w 1235869"/>
                    <a:gd name="connsiteY36" fmla="*/ 1195388 h 1212057"/>
                    <a:gd name="connsiteX37" fmla="*/ 1012031 w 1235869"/>
                    <a:gd name="connsiteY37" fmla="*/ 1083469 h 1212057"/>
                    <a:gd name="connsiteX38" fmla="*/ 1166812 w 1235869"/>
                    <a:gd name="connsiteY38" fmla="*/ 585788 h 1212057"/>
                    <a:gd name="connsiteX39" fmla="*/ 1235869 w 1235869"/>
                    <a:gd name="connsiteY39" fmla="*/ 223838 h 1212057"/>
                    <a:gd name="connsiteX40" fmla="*/ 1092994 w 1235869"/>
                    <a:gd name="connsiteY40" fmla="*/ 190500 h 1212057"/>
                    <a:gd name="connsiteX41" fmla="*/ 878681 w 1235869"/>
                    <a:gd name="connsiteY41" fmla="*/ 164307 h 1212057"/>
                    <a:gd name="connsiteX42" fmla="*/ 669131 w 1235869"/>
                    <a:gd name="connsiteY42" fmla="*/ 71438 h 1212057"/>
                    <a:gd name="connsiteX43" fmla="*/ 533400 w 1235869"/>
                    <a:gd name="connsiteY43" fmla="*/ 21432 h 1212057"/>
                    <a:gd name="connsiteX44" fmla="*/ 404812 w 1235869"/>
                    <a:gd name="connsiteY44" fmla="*/ 0 h 1212057"/>
                    <a:gd name="connsiteX45" fmla="*/ 278606 w 1235869"/>
                    <a:gd name="connsiteY45" fmla="*/ 73819 h 1212057"/>
                    <a:gd name="connsiteX0" fmla="*/ 278606 w 1235869"/>
                    <a:gd name="connsiteY0" fmla="*/ 73819 h 1212057"/>
                    <a:gd name="connsiteX1" fmla="*/ 247650 w 1235869"/>
                    <a:gd name="connsiteY1" fmla="*/ 111919 h 1212057"/>
                    <a:gd name="connsiteX2" fmla="*/ 190501 w 1235869"/>
                    <a:gd name="connsiteY2" fmla="*/ 145257 h 1212057"/>
                    <a:gd name="connsiteX3" fmla="*/ 147638 w 1235869"/>
                    <a:gd name="connsiteY3" fmla="*/ 161925 h 1212057"/>
                    <a:gd name="connsiteX4" fmla="*/ 104775 w 1235869"/>
                    <a:gd name="connsiteY4" fmla="*/ 169069 h 1212057"/>
                    <a:gd name="connsiteX5" fmla="*/ 78580 w 1235869"/>
                    <a:gd name="connsiteY5" fmla="*/ 200025 h 1212057"/>
                    <a:gd name="connsiteX6" fmla="*/ 92869 w 1235869"/>
                    <a:gd name="connsiteY6" fmla="*/ 230981 h 1212057"/>
                    <a:gd name="connsiteX7" fmla="*/ 52387 w 1235869"/>
                    <a:gd name="connsiteY7" fmla="*/ 223839 h 1212057"/>
                    <a:gd name="connsiteX8" fmla="*/ 7143 w 1235869"/>
                    <a:gd name="connsiteY8" fmla="*/ 242888 h 1212057"/>
                    <a:gd name="connsiteX9" fmla="*/ 38100 w 1235869"/>
                    <a:gd name="connsiteY9" fmla="*/ 273844 h 1212057"/>
                    <a:gd name="connsiteX10" fmla="*/ 23812 w 1235869"/>
                    <a:gd name="connsiteY10" fmla="*/ 290514 h 1212057"/>
                    <a:gd name="connsiteX11" fmla="*/ 95249 w 1235869"/>
                    <a:gd name="connsiteY11" fmla="*/ 307182 h 1212057"/>
                    <a:gd name="connsiteX12" fmla="*/ 147637 w 1235869"/>
                    <a:gd name="connsiteY12" fmla="*/ 295275 h 1212057"/>
                    <a:gd name="connsiteX13" fmla="*/ 161925 w 1235869"/>
                    <a:gd name="connsiteY13" fmla="*/ 321469 h 1212057"/>
                    <a:gd name="connsiteX14" fmla="*/ 221457 w 1235869"/>
                    <a:gd name="connsiteY14" fmla="*/ 350044 h 1212057"/>
                    <a:gd name="connsiteX15" fmla="*/ 245269 w 1235869"/>
                    <a:gd name="connsiteY15" fmla="*/ 383381 h 1212057"/>
                    <a:gd name="connsiteX16" fmla="*/ 95250 w 1235869"/>
                    <a:gd name="connsiteY16" fmla="*/ 361950 h 1212057"/>
                    <a:gd name="connsiteX17" fmla="*/ 121444 w 1235869"/>
                    <a:gd name="connsiteY17" fmla="*/ 357188 h 1212057"/>
                    <a:gd name="connsiteX18" fmla="*/ 211931 w 1235869"/>
                    <a:gd name="connsiteY18" fmla="*/ 416719 h 1212057"/>
                    <a:gd name="connsiteX19" fmla="*/ 183356 w 1235869"/>
                    <a:gd name="connsiteY19" fmla="*/ 445294 h 1212057"/>
                    <a:gd name="connsiteX20" fmla="*/ 140494 w 1235869"/>
                    <a:gd name="connsiteY20" fmla="*/ 426245 h 1212057"/>
                    <a:gd name="connsiteX21" fmla="*/ 114300 w 1235869"/>
                    <a:gd name="connsiteY21" fmla="*/ 442913 h 1212057"/>
                    <a:gd name="connsiteX22" fmla="*/ 76199 w 1235869"/>
                    <a:gd name="connsiteY22" fmla="*/ 469107 h 1212057"/>
                    <a:gd name="connsiteX23" fmla="*/ 71437 w 1235869"/>
                    <a:gd name="connsiteY23" fmla="*/ 490537 h 1212057"/>
                    <a:gd name="connsiteX24" fmla="*/ 80963 w 1235869"/>
                    <a:gd name="connsiteY24" fmla="*/ 547688 h 1212057"/>
                    <a:gd name="connsiteX25" fmla="*/ 69056 w 1235869"/>
                    <a:gd name="connsiteY25" fmla="*/ 583406 h 1212057"/>
                    <a:gd name="connsiteX26" fmla="*/ 45243 w 1235869"/>
                    <a:gd name="connsiteY26" fmla="*/ 626269 h 1212057"/>
                    <a:gd name="connsiteX27" fmla="*/ 54769 w 1235869"/>
                    <a:gd name="connsiteY27" fmla="*/ 654844 h 1212057"/>
                    <a:gd name="connsiteX28" fmla="*/ 61912 w 1235869"/>
                    <a:gd name="connsiteY28" fmla="*/ 688182 h 1212057"/>
                    <a:gd name="connsiteX29" fmla="*/ 21431 w 1235869"/>
                    <a:gd name="connsiteY29" fmla="*/ 697706 h 1212057"/>
                    <a:gd name="connsiteX30" fmla="*/ 33338 w 1235869"/>
                    <a:gd name="connsiteY30" fmla="*/ 728663 h 1212057"/>
                    <a:gd name="connsiteX31" fmla="*/ 0 w 1235869"/>
                    <a:gd name="connsiteY31" fmla="*/ 752475 h 1212057"/>
                    <a:gd name="connsiteX32" fmla="*/ 126206 w 1235869"/>
                    <a:gd name="connsiteY32" fmla="*/ 904875 h 1212057"/>
                    <a:gd name="connsiteX33" fmla="*/ 290512 w 1235869"/>
                    <a:gd name="connsiteY33" fmla="*/ 1019175 h 1212057"/>
                    <a:gd name="connsiteX34" fmla="*/ 409575 w 1235869"/>
                    <a:gd name="connsiteY34" fmla="*/ 1128713 h 1212057"/>
                    <a:gd name="connsiteX35" fmla="*/ 514350 w 1235869"/>
                    <a:gd name="connsiteY35" fmla="*/ 1212057 h 1212057"/>
                    <a:gd name="connsiteX36" fmla="*/ 709612 w 1235869"/>
                    <a:gd name="connsiteY36" fmla="*/ 1195388 h 1212057"/>
                    <a:gd name="connsiteX37" fmla="*/ 1012031 w 1235869"/>
                    <a:gd name="connsiteY37" fmla="*/ 1083469 h 1212057"/>
                    <a:gd name="connsiteX38" fmla="*/ 1166812 w 1235869"/>
                    <a:gd name="connsiteY38" fmla="*/ 585788 h 1212057"/>
                    <a:gd name="connsiteX39" fmla="*/ 1235869 w 1235869"/>
                    <a:gd name="connsiteY39" fmla="*/ 223838 h 1212057"/>
                    <a:gd name="connsiteX40" fmla="*/ 1092994 w 1235869"/>
                    <a:gd name="connsiteY40" fmla="*/ 190500 h 1212057"/>
                    <a:gd name="connsiteX41" fmla="*/ 878681 w 1235869"/>
                    <a:gd name="connsiteY41" fmla="*/ 164307 h 1212057"/>
                    <a:gd name="connsiteX42" fmla="*/ 669131 w 1235869"/>
                    <a:gd name="connsiteY42" fmla="*/ 71438 h 1212057"/>
                    <a:gd name="connsiteX43" fmla="*/ 533400 w 1235869"/>
                    <a:gd name="connsiteY43" fmla="*/ 21432 h 1212057"/>
                    <a:gd name="connsiteX44" fmla="*/ 404812 w 1235869"/>
                    <a:gd name="connsiteY44" fmla="*/ 0 h 1212057"/>
                    <a:gd name="connsiteX45" fmla="*/ 278606 w 1235869"/>
                    <a:gd name="connsiteY45" fmla="*/ 73819 h 1212057"/>
                    <a:gd name="connsiteX0" fmla="*/ 278606 w 1235869"/>
                    <a:gd name="connsiteY0" fmla="*/ 73819 h 1212057"/>
                    <a:gd name="connsiteX1" fmla="*/ 247650 w 1235869"/>
                    <a:gd name="connsiteY1" fmla="*/ 111919 h 1212057"/>
                    <a:gd name="connsiteX2" fmla="*/ 190501 w 1235869"/>
                    <a:gd name="connsiteY2" fmla="*/ 145257 h 1212057"/>
                    <a:gd name="connsiteX3" fmla="*/ 147638 w 1235869"/>
                    <a:gd name="connsiteY3" fmla="*/ 161925 h 1212057"/>
                    <a:gd name="connsiteX4" fmla="*/ 104775 w 1235869"/>
                    <a:gd name="connsiteY4" fmla="*/ 169069 h 1212057"/>
                    <a:gd name="connsiteX5" fmla="*/ 78580 w 1235869"/>
                    <a:gd name="connsiteY5" fmla="*/ 200025 h 1212057"/>
                    <a:gd name="connsiteX6" fmla="*/ 92869 w 1235869"/>
                    <a:gd name="connsiteY6" fmla="*/ 230981 h 1212057"/>
                    <a:gd name="connsiteX7" fmla="*/ 52387 w 1235869"/>
                    <a:gd name="connsiteY7" fmla="*/ 223839 h 1212057"/>
                    <a:gd name="connsiteX8" fmla="*/ 7143 w 1235869"/>
                    <a:gd name="connsiteY8" fmla="*/ 242888 h 1212057"/>
                    <a:gd name="connsiteX9" fmla="*/ 38100 w 1235869"/>
                    <a:gd name="connsiteY9" fmla="*/ 273844 h 1212057"/>
                    <a:gd name="connsiteX10" fmla="*/ 23812 w 1235869"/>
                    <a:gd name="connsiteY10" fmla="*/ 290514 h 1212057"/>
                    <a:gd name="connsiteX11" fmla="*/ 95249 w 1235869"/>
                    <a:gd name="connsiteY11" fmla="*/ 307182 h 1212057"/>
                    <a:gd name="connsiteX12" fmla="*/ 147637 w 1235869"/>
                    <a:gd name="connsiteY12" fmla="*/ 295275 h 1212057"/>
                    <a:gd name="connsiteX13" fmla="*/ 161925 w 1235869"/>
                    <a:gd name="connsiteY13" fmla="*/ 321469 h 1212057"/>
                    <a:gd name="connsiteX14" fmla="*/ 221457 w 1235869"/>
                    <a:gd name="connsiteY14" fmla="*/ 350044 h 1212057"/>
                    <a:gd name="connsiteX15" fmla="*/ 245269 w 1235869"/>
                    <a:gd name="connsiteY15" fmla="*/ 383381 h 1212057"/>
                    <a:gd name="connsiteX16" fmla="*/ 95250 w 1235869"/>
                    <a:gd name="connsiteY16" fmla="*/ 361950 h 1212057"/>
                    <a:gd name="connsiteX17" fmla="*/ 235744 w 1235869"/>
                    <a:gd name="connsiteY17" fmla="*/ 402432 h 1212057"/>
                    <a:gd name="connsiteX18" fmla="*/ 211931 w 1235869"/>
                    <a:gd name="connsiteY18" fmla="*/ 416719 h 1212057"/>
                    <a:gd name="connsiteX19" fmla="*/ 183356 w 1235869"/>
                    <a:gd name="connsiteY19" fmla="*/ 445294 h 1212057"/>
                    <a:gd name="connsiteX20" fmla="*/ 140494 w 1235869"/>
                    <a:gd name="connsiteY20" fmla="*/ 426245 h 1212057"/>
                    <a:gd name="connsiteX21" fmla="*/ 114300 w 1235869"/>
                    <a:gd name="connsiteY21" fmla="*/ 442913 h 1212057"/>
                    <a:gd name="connsiteX22" fmla="*/ 76199 w 1235869"/>
                    <a:gd name="connsiteY22" fmla="*/ 469107 h 1212057"/>
                    <a:gd name="connsiteX23" fmla="*/ 71437 w 1235869"/>
                    <a:gd name="connsiteY23" fmla="*/ 490537 h 1212057"/>
                    <a:gd name="connsiteX24" fmla="*/ 80963 w 1235869"/>
                    <a:gd name="connsiteY24" fmla="*/ 547688 h 1212057"/>
                    <a:gd name="connsiteX25" fmla="*/ 69056 w 1235869"/>
                    <a:gd name="connsiteY25" fmla="*/ 583406 h 1212057"/>
                    <a:gd name="connsiteX26" fmla="*/ 45243 w 1235869"/>
                    <a:gd name="connsiteY26" fmla="*/ 626269 h 1212057"/>
                    <a:gd name="connsiteX27" fmla="*/ 54769 w 1235869"/>
                    <a:gd name="connsiteY27" fmla="*/ 654844 h 1212057"/>
                    <a:gd name="connsiteX28" fmla="*/ 61912 w 1235869"/>
                    <a:gd name="connsiteY28" fmla="*/ 688182 h 1212057"/>
                    <a:gd name="connsiteX29" fmla="*/ 21431 w 1235869"/>
                    <a:gd name="connsiteY29" fmla="*/ 697706 h 1212057"/>
                    <a:gd name="connsiteX30" fmla="*/ 33338 w 1235869"/>
                    <a:gd name="connsiteY30" fmla="*/ 728663 h 1212057"/>
                    <a:gd name="connsiteX31" fmla="*/ 0 w 1235869"/>
                    <a:gd name="connsiteY31" fmla="*/ 752475 h 1212057"/>
                    <a:gd name="connsiteX32" fmla="*/ 126206 w 1235869"/>
                    <a:gd name="connsiteY32" fmla="*/ 904875 h 1212057"/>
                    <a:gd name="connsiteX33" fmla="*/ 290512 w 1235869"/>
                    <a:gd name="connsiteY33" fmla="*/ 1019175 h 1212057"/>
                    <a:gd name="connsiteX34" fmla="*/ 409575 w 1235869"/>
                    <a:gd name="connsiteY34" fmla="*/ 1128713 h 1212057"/>
                    <a:gd name="connsiteX35" fmla="*/ 514350 w 1235869"/>
                    <a:gd name="connsiteY35" fmla="*/ 1212057 h 1212057"/>
                    <a:gd name="connsiteX36" fmla="*/ 709612 w 1235869"/>
                    <a:gd name="connsiteY36" fmla="*/ 1195388 h 1212057"/>
                    <a:gd name="connsiteX37" fmla="*/ 1012031 w 1235869"/>
                    <a:gd name="connsiteY37" fmla="*/ 1083469 h 1212057"/>
                    <a:gd name="connsiteX38" fmla="*/ 1166812 w 1235869"/>
                    <a:gd name="connsiteY38" fmla="*/ 585788 h 1212057"/>
                    <a:gd name="connsiteX39" fmla="*/ 1235869 w 1235869"/>
                    <a:gd name="connsiteY39" fmla="*/ 223838 h 1212057"/>
                    <a:gd name="connsiteX40" fmla="*/ 1092994 w 1235869"/>
                    <a:gd name="connsiteY40" fmla="*/ 190500 h 1212057"/>
                    <a:gd name="connsiteX41" fmla="*/ 878681 w 1235869"/>
                    <a:gd name="connsiteY41" fmla="*/ 164307 h 1212057"/>
                    <a:gd name="connsiteX42" fmla="*/ 669131 w 1235869"/>
                    <a:gd name="connsiteY42" fmla="*/ 71438 h 1212057"/>
                    <a:gd name="connsiteX43" fmla="*/ 533400 w 1235869"/>
                    <a:gd name="connsiteY43" fmla="*/ 21432 h 1212057"/>
                    <a:gd name="connsiteX44" fmla="*/ 404812 w 1235869"/>
                    <a:gd name="connsiteY44" fmla="*/ 0 h 1212057"/>
                    <a:gd name="connsiteX45" fmla="*/ 278606 w 1235869"/>
                    <a:gd name="connsiteY45" fmla="*/ 73819 h 1212057"/>
                    <a:gd name="connsiteX0" fmla="*/ 278606 w 1235869"/>
                    <a:gd name="connsiteY0" fmla="*/ 73819 h 1212057"/>
                    <a:gd name="connsiteX1" fmla="*/ 247650 w 1235869"/>
                    <a:gd name="connsiteY1" fmla="*/ 111919 h 1212057"/>
                    <a:gd name="connsiteX2" fmla="*/ 190501 w 1235869"/>
                    <a:gd name="connsiteY2" fmla="*/ 145257 h 1212057"/>
                    <a:gd name="connsiteX3" fmla="*/ 147638 w 1235869"/>
                    <a:gd name="connsiteY3" fmla="*/ 161925 h 1212057"/>
                    <a:gd name="connsiteX4" fmla="*/ 104775 w 1235869"/>
                    <a:gd name="connsiteY4" fmla="*/ 169069 h 1212057"/>
                    <a:gd name="connsiteX5" fmla="*/ 78580 w 1235869"/>
                    <a:gd name="connsiteY5" fmla="*/ 200025 h 1212057"/>
                    <a:gd name="connsiteX6" fmla="*/ 92869 w 1235869"/>
                    <a:gd name="connsiteY6" fmla="*/ 230981 h 1212057"/>
                    <a:gd name="connsiteX7" fmla="*/ 52387 w 1235869"/>
                    <a:gd name="connsiteY7" fmla="*/ 223839 h 1212057"/>
                    <a:gd name="connsiteX8" fmla="*/ 7143 w 1235869"/>
                    <a:gd name="connsiteY8" fmla="*/ 242888 h 1212057"/>
                    <a:gd name="connsiteX9" fmla="*/ 38100 w 1235869"/>
                    <a:gd name="connsiteY9" fmla="*/ 273844 h 1212057"/>
                    <a:gd name="connsiteX10" fmla="*/ 23812 w 1235869"/>
                    <a:gd name="connsiteY10" fmla="*/ 290514 h 1212057"/>
                    <a:gd name="connsiteX11" fmla="*/ 95249 w 1235869"/>
                    <a:gd name="connsiteY11" fmla="*/ 307182 h 1212057"/>
                    <a:gd name="connsiteX12" fmla="*/ 147637 w 1235869"/>
                    <a:gd name="connsiteY12" fmla="*/ 295275 h 1212057"/>
                    <a:gd name="connsiteX13" fmla="*/ 161925 w 1235869"/>
                    <a:gd name="connsiteY13" fmla="*/ 321469 h 1212057"/>
                    <a:gd name="connsiteX14" fmla="*/ 221457 w 1235869"/>
                    <a:gd name="connsiteY14" fmla="*/ 350044 h 1212057"/>
                    <a:gd name="connsiteX15" fmla="*/ 245269 w 1235869"/>
                    <a:gd name="connsiteY15" fmla="*/ 383381 h 1212057"/>
                    <a:gd name="connsiteX16" fmla="*/ 235744 w 1235869"/>
                    <a:gd name="connsiteY16" fmla="*/ 402432 h 1212057"/>
                    <a:gd name="connsiteX17" fmla="*/ 211931 w 1235869"/>
                    <a:gd name="connsiteY17" fmla="*/ 416719 h 1212057"/>
                    <a:gd name="connsiteX18" fmla="*/ 183356 w 1235869"/>
                    <a:gd name="connsiteY18" fmla="*/ 445294 h 1212057"/>
                    <a:gd name="connsiteX19" fmla="*/ 140494 w 1235869"/>
                    <a:gd name="connsiteY19" fmla="*/ 426245 h 1212057"/>
                    <a:gd name="connsiteX20" fmla="*/ 114300 w 1235869"/>
                    <a:gd name="connsiteY20" fmla="*/ 442913 h 1212057"/>
                    <a:gd name="connsiteX21" fmla="*/ 76199 w 1235869"/>
                    <a:gd name="connsiteY21" fmla="*/ 469107 h 1212057"/>
                    <a:gd name="connsiteX22" fmla="*/ 71437 w 1235869"/>
                    <a:gd name="connsiteY22" fmla="*/ 490537 h 1212057"/>
                    <a:gd name="connsiteX23" fmla="*/ 80963 w 1235869"/>
                    <a:gd name="connsiteY23" fmla="*/ 547688 h 1212057"/>
                    <a:gd name="connsiteX24" fmla="*/ 69056 w 1235869"/>
                    <a:gd name="connsiteY24" fmla="*/ 583406 h 1212057"/>
                    <a:gd name="connsiteX25" fmla="*/ 45243 w 1235869"/>
                    <a:gd name="connsiteY25" fmla="*/ 626269 h 1212057"/>
                    <a:gd name="connsiteX26" fmla="*/ 54769 w 1235869"/>
                    <a:gd name="connsiteY26" fmla="*/ 654844 h 1212057"/>
                    <a:gd name="connsiteX27" fmla="*/ 61912 w 1235869"/>
                    <a:gd name="connsiteY27" fmla="*/ 688182 h 1212057"/>
                    <a:gd name="connsiteX28" fmla="*/ 21431 w 1235869"/>
                    <a:gd name="connsiteY28" fmla="*/ 697706 h 1212057"/>
                    <a:gd name="connsiteX29" fmla="*/ 33338 w 1235869"/>
                    <a:gd name="connsiteY29" fmla="*/ 728663 h 1212057"/>
                    <a:gd name="connsiteX30" fmla="*/ 0 w 1235869"/>
                    <a:gd name="connsiteY30" fmla="*/ 752475 h 1212057"/>
                    <a:gd name="connsiteX31" fmla="*/ 126206 w 1235869"/>
                    <a:gd name="connsiteY31" fmla="*/ 904875 h 1212057"/>
                    <a:gd name="connsiteX32" fmla="*/ 290512 w 1235869"/>
                    <a:gd name="connsiteY32" fmla="*/ 1019175 h 1212057"/>
                    <a:gd name="connsiteX33" fmla="*/ 409575 w 1235869"/>
                    <a:gd name="connsiteY33" fmla="*/ 1128713 h 1212057"/>
                    <a:gd name="connsiteX34" fmla="*/ 514350 w 1235869"/>
                    <a:gd name="connsiteY34" fmla="*/ 1212057 h 1212057"/>
                    <a:gd name="connsiteX35" fmla="*/ 709612 w 1235869"/>
                    <a:gd name="connsiteY35" fmla="*/ 1195388 h 1212057"/>
                    <a:gd name="connsiteX36" fmla="*/ 1012031 w 1235869"/>
                    <a:gd name="connsiteY36" fmla="*/ 1083469 h 1212057"/>
                    <a:gd name="connsiteX37" fmla="*/ 1166812 w 1235869"/>
                    <a:gd name="connsiteY37" fmla="*/ 585788 h 1212057"/>
                    <a:gd name="connsiteX38" fmla="*/ 1235869 w 1235869"/>
                    <a:gd name="connsiteY38" fmla="*/ 223838 h 1212057"/>
                    <a:gd name="connsiteX39" fmla="*/ 1092994 w 1235869"/>
                    <a:gd name="connsiteY39" fmla="*/ 190500 h 1212057"/>
                    <a:gd name="connsiteX40" fmla="*/ 878681 w 1235869"/>
                    <a:gd name="connsiteY40" fmla="*/ 164307 h 1212057"/>
                    <a:gd name="connsiteX41" fmla="*/ 669131 w 1235869"/>
                    <a:gd name="connsiteY41" fmla="*/ 71438 h 1212057"/>
                    <a:gd name="connsiteX42" fmla="*/ 533400 w 1235869"/>
                    <a:gd name="connsiteY42" fmla="*/ 21432 h 1212057"/>
                    <a:gd name="connsiteX43" fmla="*/ 404812 w 1235869"/>
                    <a:gd name="connsiteY43" fmla="*/ 0 h 1212057"/>
                    <a:gd name="connsiteX44" fmla="*/ 278606 w 1235869"/>
                    <a:gd name="connsiteY44" fmla="*/ 73819 h 12120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</a:cxnLst>
                  <a:rect l="l" t="t" r="r" b="b"/>
                  <a:pathLst>
                    <a:path w="1235869" h="1212057">
                      <a:moveTo>
                        <a:pt x="278606" y="73819"/>
                      </a:moveTo>
                      <a:lnTo>
                        <a:pt x="247650" y="111919"/>
                      </a:lnTo>
                      <a:lnTo>
                        <a:pt x="190501" y="145257"/>
                      </a:lnTo>
                      <a:lnTo>
                        <a:pt x="147638" y="161925"/>
                      </a:lnTo>
                      <a:lnTo>
                        <a:pt x="104775" y="169069"/>
                      </a:lnTo>
                      <a:lnTo>
                        <a:pt x="78580" y="200025"/>
                      </a:lnTo>
                      <a:lnTo>
                        <a:pt x="92869" y="230981"/>
                      </a:lnTo>
                      <a:lnTo>
                        <a:pt x="52387" y="223839"/>
                      </a:lnTo>
                      <a:lnTo>
                        <a:pt x="7143" y="242888"/>
                      </a:lnTo>
                      <a:lnTo>
                        <a:pt x="38100" y="273844"/>
                      </a:lnTo>
                      <a:lnTo>
                        <a:pt x="23812" y="290514"/>
                      </a:lnTo>
                      <a:lnTo>
                        <a:pt x="95249" y="307182"/>
                      </a:lnTo>
                      <a:lnTo>
                        <a:pt x="147637" y="295275"/>
                      </a:lnTo>
                      <a:lnTo>
                        <a:pt x="161925" y="321469"/>
                      </a:lnTo>
                      <a:lnTo>
                        <a:pt x="221457" y="350044"/>
                      </a:lnTo>
                      <a:lnTo>
                        <a:pt x="245269" y="383381"/>
                      </a:lnTo>
                      <a:lnTo>
                        <a:pt x="235744" y="402432"/>
                      </a:lnTo>
                      <a:cubicBezTo>
                        <a:pt x="250031" y="411163"/>
                        <a:pt x="220662" y="409575"/>
                        <a:pt x="211931" y="416719"/>
                      </a:cubicBezTo>
                      <a:cubicBezTo>
                        <a:pt x="203200" y="423863"/>
                        <a:pt x="195262" y="443706"/>
                        <a:pt x="183356" y="445294"/>
                      </a:cubicBezTo>
                      <a:cubicBezTo>
                        <a:pt x="171450" y="446882"/>
                        <a:pt x="154781" y="432595"/>
                        <a:pt x="140494" y="426245"/>
                      </a:cubicBezTo>
                      <a:lnTo>
                        <a:pt x="114300" y="442913"/>
                      </a:lnTo>
                      <a:lnTo>
                        <a:pt x="76199" y="469107"/>
                      </a:lnTo>
                      <a:lnTo>
                        <a:pt x="71437" y="490537"/>
                      </a:lnTo>
                      <a:lnTo>
                        <a:pt x="80963" y="547688"/>
                      </a:lnTo>
                      <a:lnTo>
                        <a:pt x="69056" y="583406"/>
                      </a:lnTo>
                      <a:lnTo>
                        <a:pt x="45243" y="626269"/>
                      </a:lnTo>
                      <a:cubicBezTo>
                        <a:pt x="24606" y="638175"/>
                        <a:pt x="51991" y="644525"/>
                        <a:pt x="54769" y="654844"/>
                      </a:cubicBezTo>
                      <a:cubicBezTo>
                        <a:pt x="57547" y="665163"/>
                        <a:pt x="67468" y="681038"/>
                        <a:pt x="61912" y="688182"/>
                      </a:cubicBezTo>
                      <a:cubicBezTo>
                        <a:pt x="56356" y="695326"/>
                        <a:pt x="34925" y="694531"/>
                        <a:pt x="21431" y="697706"/>
                      </a:cubicBezTo>
                      <a:lnTo>
                        <a:pt x="33338" y="728663"/>
                      </a:lnTo>
                      <a:lnTo>
                        <a:pt x="0" y="752475"/>
                      </a:lnTo>
                      <a:lnTo>
                        <a:pt x="126206" y="904875"/>
                      </a:lnTo>
                      <a:lnTo>
                        <a:pt x="290512" y="1019175"/>
                      </a:lnTo>
                      <a:lnTo>
                        <a:pt x="409575" y="1128713"/>
                      </a:lnTo>
                      <a:lnTo>
                        <a:pt x="514350" y="1212057"/>
                      </a:lnTo>
                      <a:lnTo>
                        <a:pt x="709612" y="1195388"/>
                      </a:lnTo>
                      <a:lnTo>
                        <a:pt x="1012031" y="1083469"/>
                      </a:lnTo>
                      <a:lnTo>
                        <a:pt x="1166812" y="585788"/>
                      </a:lnTo>
                      <a:lnTo>
                        <a:pt x="1235869" y="223838"/>
                      </a:lnTo>
                      <a:lnTo>
                        <a:pt x="1092994" y="190500"/>
                      </a:lnTo>
                      <a:lnTo>
                        <a:pt x="878681" y="164307"/>
                      </a:lnTo>
                      <a:lnTo>
                        <a:pt x="669131" y="71438"/>
                      </a:lnTo>
                      <a:lnTo>
                        <a:pt x="533400" y="21432"/>
                      </a:lnTo>
                      <a:lnTo>
                        <a:pt x="404812" y="0"/>
                      </a:lnTo>
                      <a:lnTo>
                        <a:pt x="278606" y="73819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3" name="Freeform 82"/>
                <p:cNvSpPr/>
                <p:nvPr/>
              </p:nvSpPr>
              <p:spPr>
                <a:xfrm>
                  <a:off x="2581275" y="1467644"/>
                  <a:ext cx="1628775" cy="894557"/>
                </a:xfrm>
                <a:custGeom>
                  <a:avLst/>
                  <a:gdLst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612900 w 1628775"/>
                    <a:gd name="connsiteY9" fmla="*/ 542925 h 955675"/>
                    <a:gd name="connsiteX10" fmla="*/ 1593850 w 1628775"/>
                    <a:gd name="connsiteY10" fmla="*/ 495300 h 955675"/>
                    <a:gd name="connsiteX11" fmla="*/ 1581150 w 1628775"/>
                    <a:gd name="connsiteY11" fmla="*/ 450850 h 955675"/>
                    <a:gd name="connsiteX12" fmla="*/ 1552575 w 1628775"/>
                    <a:gd name="connsiteY12" fmla="*/ 396875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184150 w 1628775"/>
                    <a:gd name="connsiteY41" fmla="*/ 374650 h 955675"/>
                    <a:gd name="connsiteX42" fmla="*/ 95250 w 1628775"/>
                    <a:gd name="connsiteY42" fmla="*/ 384175 h 955675"/>
                    <a:gd name="connsiteX43" fmla="*/ 41275 w 1628775"/>
                    <a:gd name="connsiteY43" fmla="*/ 412750 h 955675"/>
                    <a:gd name="connsiteX44" fmla="*/ 19050 w 1628775"/>
                    <a:gd name="connsiteY44" fmla="*/ 454025 h 955675"/>
                    <a:gd name="connsiteX45" fmla="*/ 6350 w 1628775"/>
                    <a:gd name="connsiteY45" fmla="*/ 498475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612900 w 1628775"/>
                    <a:gd name="connsiteY9" fmla="*/ 542925 h 955675"/>
                    <a:gd name="connsiteX10" fmla="*/ 1593850 w 1628775"/>
                    <a:gd name="connsiteY10" fmla="*/ 495300 h 955675"/>
                    <a:gd name="connsiteX11" fmla="*/ 1581150 w 1628775"/>
                    <a:gd name="connsiteY11" fmla="*/ 450850 h 955675"/>
                    <a:gd name="connsiteX12" fmla="*/ 1552575 w 1628775"/>
                    <a:gd name="connsiteY12" fmla="*/ 396875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184150 w 1628775"/>
                    <a:gd name="connsiteY41" fmla="*/ 374650 h 955675"/>
                    <a:gd name="connsiteX42" fmla="*/ 95250 w 1628775"/>
                    <a:gd name="connsiteY42" fmla="*/ 384175 h 955675"/>
                    <a:gd name="connsiteX43" fmla="*/ 41275 w 1628775"/>
                    <a:gd name="connsiteY43" fmla="*/ 412750 h 955675"/>
                    <a:gd name="connsiteX44" fmla="*/ 19050 w 1628775"/>
                    <a:gd name="connsiteY44" fmla="*/ 454025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612900 w 1628775"/>
                    <a:gd name="connsiteY9" fmla="*/ 542925 h 955675"/>
                    <a:gd name="connsiteX10" fmla="*/ 1593850 w 1628775"/>
                    <a:gd name="connsiteY10" fmla="*/ 495300 h 955675"/>
                    <a:gd name="connsiteX11" fmla="*/ 1581150 w 1628775"/>
                    <a:gd name="connsiteY11" fmla="*/ 450850 h 955675"/>
                    <a:gd name="connsiteX12" fmla="*/ 1552575 w 1628775"/>
                    <a:gd name="connsiteY12" fmla="*/ 396875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184150 w 1628775"/>
                    <a:gd name="connsiteY41" fmla="*/ 374650 h 955675"/>
                    <a:gd name="connsiteX42" fmla="*/ 95250 w 1628775"/>
                    <a:gd name="connsiteY42" fmla="*/ 384175 h 955675"/>
                    <a:gd name="connsiteX43" fmla="*/ 41275 w 1628775"/>
                    <a:gd name="connsiteY43" fmla="*/ 412750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612900 w 1628775"/>
                    <a:gd name="connsiteY9" fmla="*/ 542925 h 955675"/>
                    <a:gd name="connsiteX10" fmla="*/ 1593850 w 1628775"/>
                    <a:gd name="connsiteY10" fmla="*/ 495300 h 955675"/>
                    <a:gd name="connsiteX11" fmla="*/ 1581150 w 1628775"/>
                    <a:gd name="connsiteY11" fmla="*/ 450850 h 955675"/>
                    <a:gd name="connsiteX12" fmla="*/ 1552575 w 1628775"/>
                    <a:gd name="connsiteY12" fmla="*/ 396875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184150 w 1628775"/>
                    <a:gd name="connsiteY41" fmla="*/ 374650 h 955675"/>
                    <a:gd name="connsiteX42" fmla="*/ 95250 w 1628775"/>
                    <a:gd name="connsiteY42" fmla="*/ 384175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612900 w 1628775"/>
                    <a:gd name="connsiteY9" fmla="*/ 542925 h 955675"/>
                    <a:gd name="connsiteX10" fmla="*/ 1593850 w 1628775"/>
                    <a:gd name="connsiteY10" fmla="*/ 495300 h 955675"/>
                    <a:gd name="connsiteX11" fmla="*/ 1581150 w 1628775"/>
                    <a:gd name="connsiteY11" fmla="*/ 450850 h 955675"/>
                    <a:gd name="connsiteX12" fmla="*/ 1552575 w 1628775"/>
                    <a:gd name="connsiteY12" fmla="*/ 396875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184150 w 1628775"/>
                    <a:gd name="connsiteY41" fmla="*/ 374650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612900 w 1628775"/>
                    <a:gd name="connsiteY9" fmla="*/ 542925 h 955675"/>
                    <a:gd name="connsiteX10" fmla="*/ 1593850 w 1628775"/>
                    <a:gd name="connsiteY10" fmla="*/ 495300 h 955675"/>
                    <a:gd name="connsiteX11" fmla="*/ 1581150 w 1628775"/>
                    <a:gd name="connsiteY11" fmla="*/ 450850 h 955675"/>
                    <a:gd name="connsiteX12" fmla="*/ 1552575 w 1628775"/>
                    <a:gd name="connsiteY12" fmla="*/ 396875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93850 w 1628775"/>
                    <a:gd name="connsiteY10" fmla="*/ 495300 h 955675"/>
                    <a:gd name="connsiteX11" fmla="*/ 1581150 w 1628775"/>
                    <a:gd name="connsiteY11" fmla="*/ 450850 h 955675"/>
                    <a:gd name="connsiteX12" fmla="*/ 1552575 w 1628775"/>
                    <a:gd name="connsiteY12" fmla="*/ 396875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81150 w 1628775"/>
                    <a:gd name="connsiteY11" fmla="*/ 450850 h 955675"/>
                    <a:gd name="connsiteX12" fmla="*/ 1552575 w 1628775"/>
                    <a:gd name="connsiteY12" fmla="*/ 396875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552575 w 1628775"/>
                    <a:gd name="connsiteY12" fmla="*/ 396875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527175 w 1628775"/>
                    <a:gd name="connsiteY13" fmla="*/ 365125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501775 w 1628775"/>
                    <a:gd name="connsiteY14" fmla="*/ 333375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70025 w 1628775"/>
                    <a:gd name="connsiteY15" fmla="*/ 2698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431925 w 1628775"/>
                    <a:gd name="connsiteY16" fmla="*/ 244475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84300 w 1628775"/>
                    <a:gd name="connsiteY17" fmla="*/ 215900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317625 w 1628775"/>
                    <a:gd name="connsiteY18" fmla="*/ 180975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1425 w 1628775"/>
                    <a:gd name="connsiteY19" fmla="*/ 149225 h 955675"/>
                    <a:gd name="connsiteX20" fmla="*/ 1206500 w 1628775"/>
                    <a:gd name="connsiteY20" fmla="*/ 120650 h 955675"/>
                    <a:gd name="connsiteX21" fmla="*/ 1136650 w 1628775"/>
                    <a:gd name="connsiteY21" fmla="*/ 95250 h 955675"/>
                    <a:gd name="connsiteX22" fmla="*/ 1060450 w 1628775"/>
                    <a:gd name="connsiteY22" fmla="*/ 53975 h 955675"/>
                    <a:gd name="connsiteX23" fmla="*/ 984250 w 1628775"/>
                    <a:gd name="connsiteY23" fmla="*/ 44450 h 955675"/>
                    <a:gd name="connsiteX24" fmla="*/ 892175 w 1628775"/>
                    <a:gd name="connsiteY24" fmla="*/ 34925 h 955675"/>
                    <a:gd name="connsiteX25" fmla="*/ 774700 w 1628775"/>
                    <a:gd name="connsiteY25" fmla="*/ 6350 h 955675"/>
                    <a:gd name="connsiteX26" fmla="*/ 685800 w 1628775"/>
                    <a:gd name="connsiteY26" fmla="*/ 0 h 955675"/>
                    <a:gd name="connsiteX27" fmla="*/ 644525 w 1628775"/>
                    <a:gd name="connsiteY27" fmla="*/ 9525 h 955675"/>
                    <a:gd name="connsiteX28" fmla="*/ 596900 w 1628775"/>
                    <a:gd name="connsiteY28" fmla="*/ 79375 h 955675"/>
                    <a:gd name="connsiteX29" fmla="*/ 542925 w 1628775"/>
                    <a:gd name="connsiteY29" fmla="*/ 79375 h 955675"/>
                    <a:gd name="connsiteX30" fmla="*/ 546100 w 1628775"/>
                    <a:gd name="connsiteY30" fmla="*/ 25400 h 955675"/>
                    <a:gd name="connsiteX31" fmla="*/ 463550 w 1628775"/>
                    <a:gd name="connsiteY31" fmla="*/ 6350 h 955675"/>
                    <a:gd name="connsiteX32" fmla="*/ 412750 w 1628775"/>
                    <a:gd name="connsiteY32" fmla="*/ 28575 h 955675"/>
                    <a:gd name="connsiteX33" fmla="*/ 381000 w 1628775"/>
                    <a:gd name="connsiteY33" fmla="*/ 69850 h 955675"/>
                    <a:gd name="connsiteX34" fmla="*/ 352425 w 1628775"/>
                    <a:gd name="connsiteY34" fmla="*/ 98425 h 955675"/>
                    <a:gd name="connsiteX35" fmla="*/ 323850 w 1628775"/>
                    <a:gd name="connsiteY35" fmla="*/ 174625 h 955675"/>
                    <a:gd name="connsiteX36" fmla="*/ 323850 w 1628775"/>
                    <a:gd name="connsiteY36" fmla="*/ 206375 h 955675"/>
                    <a:gd name="connsiteX37" fmla="*/ 323850 w 1628775"/>
                    <a:gd name="connsiteY37" fmla="*/ 288925 h 955675"/>
                    <a:gd name="connsiteX38" fmla="*/ 336550 w 1628775"/>
                    <a:gd name="connsiteY38" fmla="*/ 330200 h 955675"/>
                    <a:gd name="connsiteX39" fmla="*/ 323850 w 1628775"/>
                    <a:gd name="connsiteY39" fmla="*/ 381000 h 955675"/>
                    <a:gd name="connsiteX40" fmla="*/ 266700 w 1628775"/>
                    <a:gd name="connsiteY40" fmla="*/ 377825 h 955675"/>
                    <a:gd name="connsiteX41" fmla="*/ 284162 w 1628775"/>
                    <a:gd name="connsiteY41" fmla="*/ 400844 h 955675"/>
                    <a:gd name="connsiteX42" fmla="*/ 247650 w 1628775"/>
                    <a:gd name="connsiteY42" fmla="*/ 431800 h 955675"/>
                    <a:gd name="connsiteX43" fmla="*/ 181769 w 1628775"/>
                    <a:gd name="connsiteY43" fmla="*/ 424656 h 955675"/>
                    <a:gd name="connsiteX44" fmla="*/ 123825 w 1628775"/>
                    <a:gd name="connsiteY44" fmla="*/ 465931 h 955675"/>
                    <a:gd name="connsiteX45" fmla="*/ 70644 w 1628775"/>
                    <a:gd name="connsiteY45" fmla="*/ 510382 h 955675"/>
                    <a:gd name="connsiteX46" fmla="*/ 0 w 1628775"/>
                    <a:gd name="connsiteY46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62063 w 1628775"/>
                    <a:gd name="connsiteY19" fmla="*/ 210344 h 955675"/>
                    <a:gd name="connsiteX20" fmla="*/ 1241425 w 1628775"/>
                    <a:gd name="connsiteY20" fmla="*/ 149225 h 955675"/>
                    <a:gd name="connsiteX21" fmla="*/ 1206500 w 1628775"/>
                    <a:gd name="connsiteY21" fmla="*/ 120650 h 955675"/>
                    <a:gd name="connsiteX22" fmla="*/ 1136650 w 1628775"/>
                    <a:gd name="connsiteY22" fmla="*/ 95250 h 955675"/>
                    <a:gd name="connsiteX23" fmla="*/ 1060450 w 1628775"/>
                    <a:gd name="connsiteY23" fmla="*/ 53975 h 955675"/>
                    <a:gd name="connsiteX24" fmla="*/ 984250 w 1628775"/>
                    <a:gd name="connsiteY24" fmla="*/ 44450 h 955675"/>
                    <a:gd name="connsiteX25" fmla="*/ 892175 w 1628775"/>
                    <a:gd name="connsiteY25" fmla="*/ 34925 h 955675"/>
                    <a:gd name="connsiteX26" fmla="*/ 774700 w 1628775"/>
                    <a:gd name="connsiteY26" fmla="*/ 6350 h 955675"/>
                    <a:gd name="connsiteX27" fmla="*/ 685800 w 1628775"/>
                    <a:gd name="connsiteY27" fmla="*/ 0 h 955675"/>
                    <a:gd name="connsiteX28" fmla="*/ 644525 w 1628775"/>
                    <a:gd name="connsiteY28" fmla="*/ 9525 h 955675"/>
                    <a:gd name="connsiteX29" fmla="*/ 596900 w 1628775"/>
                    <a:gd name="connsiteY29" fmla="*/ 79375 h 955675"/>
                    <a:gd name="connsiteX30" fmla="*/ 542925 w 1628775"/>
                    <a:gd name="connsiteY30" fmla="*/ 79375 h 955675"/>
                    <a:gd name="connsiteX31" fmla="*/ 546100 w 1628775"/>
                    <a:gd name="connsiteY31" fmla="*/ 25400 h 955675"/>
                    <a:gd name="connsiteX32" fmla="*/ 463550 w 1628775"/>
                    <a:gd name="connsiteY32" fmla="*/ 6350 h 955675"/>
                    <a:gd name="connsiteX33" fmla="*/ 412750 w 1628775"/>
                    <a:gd name="connsiteY33" fmla="*/ 28575 h 955675"/>
                    <a:gd name="connsiteX34" fmla="*/ 381000 w 1628775"/>
                    <a:gd name="connsiteY34" fmla="*/ 69850 h 955675"/>
                    <a:gd name="connsiteX35" fmla="*/ 352425 w 1628775"/>
                    <a:gd name="connsiteY35" fmla="*/ 98425 h 955675"/>
                    <a:gd name="connsiteX36" fmla="*/ 323850 w 1628775"/>
                    <a:gd name="connsiteY36" fmla="*/ 174625 h 955675"/>
                    <a:gd name="connsiteX37" fmla="*/ 323850 w 1628775"/>
                    <a:gd name="connsiteY37" fmla="*/ 206375 h 955675"/>
                    <a:gd name="connsiteX38" fmla="*/ 323850 w 1628775"/>
                    <a:gd name="connsiteY38" fmla="*/ 288925 h 955675"/>
                    <a:gd name="connsiteX39" fmla="*/ 336550 w 1628775"/>
                    <a:gd name="connsiteY39" fmla="*/ 330200 h 955675"/>
                    <a:gd name="connsiteX40" fmla="*/ 323850 w 1628775"/>
                    <a:gd name="connsiteY40" fmla="*/ 381000 h 955675"/>
                    <a:gd name="connsiteX41" fmla="*/ 266700 w 1628775"/>
                    <a:gd name="connsiteY41" fmla="*/ 377825 h 955675"/>
                    <a:gd name="connsiteX42" fmla="*/ 284162 w 1628775"/>
                    <a:gd name="connsiteY42" fmla="*/ 400844 h 955675"/>
                    <a:gd name="connsiteX43" fmla="*/ 247650 w 1628775"/>
                    <a:gd name="connsiteY43" fmla="*/ 431800 h 955675"/>
                    <a:gd name="connsiteX44" fmla="*/ 181769 w 1628775"/>
                    <a:gd name="connsiteY44" fmla="*/ 424656 h 955675"/>
                    <a:gd name="connsiteX45" fmla="*/ 123825 w 1628775"/>
                    <a:gd name="connsiteY45" fmla="*/ 465931 h 955675"/>
                    <a:gd name="connsiteX46" fmla="*/ 70644 w 1628775"/>
                    <a:gd name="connsiteY46" fmla="*/ 510382 h 955675"/>
                    <a:gd name="connsiteX47" fmla="*/ 0 w 1628775"/>
                    <a:gd name="connsiteY47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41425 w 1628775"/>
                    <a:gd name="connsiteY20" fmla="*/ 149225 h 955675"/>
                    <a:gd name="connsiteX21" fmla="*/ 1206500 w 1628775"/>
                    <a:gd name="connsiteY21" fmla="*/ 120650 h 955675"/>
                    <a:gd name="connsiteX22" fmla="*/ 1136650 w 1628775"/>
                    <a:gd name="connsiteY22" fmla="*/ 95250 h 955675"/>
                    <a:gd name="connsiteX23" fmla="*/ 1060450 w 1628775"/>
                    <a:gd name="connsiteY23" fmla="*/ 53975 h 955675"/>
                    <a:gd name="connsiteX24" fmla="*/ 984250 w 1628775"/>
                    <a:gd name="connsiteY24" fmla="*/ 44450 h 955675"/>
                    <a:gd name="connsiteX25" fmla="*/ 892175 w 1628775"/>
                    <a:gd name="connsiteY25" fmla="*/ 34925 h 955675"/>
                    <a:gd name="connsiteX26" fmla="*/ 774700 w 1628775"/>
                    <a:gd name="connsiteY26" fmla="*/ 6350 h 955675"/>
                    <a:gd name="connsiteX27" fmla="*/ 685800 w 1628775"/>
                    <a:gd name="connsiteY27" fmla="*/ 0 h 955675"/>
                    <a:gd name="connsiteX28" fmla="*/ 644525 w 1628775"/>
                    <a:gd name="connsiteY28" fmla="*/ 9525 h 955675"/>
                    <a:gd name="connsiteX29" fmla="*/ 596900 w 1628775"/>
                    <a:gd name="connsiteY29" fmla="*/ 79375 h 955675"/>
                    <a:gd name="connsiteX30" fmla="*/ 542925 w 1628775"/>
                    <a:gd name="connsiteY30" fmla="*/ 79375 h 955675"/>
                    <a:gd name="connsiteX31" fmla="*/ 546100 w 1628775"/>
                    <a:gd name="connsiteY31" fmla="*/ 25400 h 955675"/>
                    <a:gd name="connsiteX32" fmla="*/ 463550 w 1628775"/>
                    <a:gd name="connsiteY32" fmla="*/ 6350 h 955675"/>
                    <a:gd name="connsiteX33" fmla="*/ 412750 w 1628775"/>
                    <a:gd name="connsiteY33" fmla="*/ 28575 h 955675"/>
                    <a:gd name="connsiteX34" fmla="*/ 381000 w 1628775"/>
                    <a:gd name="connsiteY34" fmla="*/ 69850 h 955675"/>
                    <a:gd name="connsiteX35" fmla="*/ 352425 w 1628775"/>
                    <a:gd name="connsiteY35" fmla="*/ 98425 h 955675"/>
                    <a:gd name="connsiteX36" fmla="*/ 323850 w 1628775"/>
                    <a:gd name="connsiteY36" fmla="*/ 174625 h 955675"/>
                    <a:gd name="connsiteX37" fmla="*/ 323850 w 1628775"/>
                    <a:gd name="connsiteY37" fmla="*/ 206375 h 955675"/>
                    <a:gd name="connsiteX38" fmla="*/ 323850 w 1628775"/>
                    <a:gd name="connsiteY38" fmla="*/ 288925 h 955675"/>
                    <a:gd name="connsiteX39" fmla="*/ 336550 w 1628775"/>
                    <a:gd name="connsiteY39" fmla="*/ 330200 h 955675"/>
                    <a:gd name="connsiteX40" fmla="*/ 323850 w 1628775"/>
                    <a:gd name="connsiteY40" fmla="*/ 381000 h 955675"/>
                    <a:gd name="connsiteX41" fmla="*/ 266700 w 1628775"/>
                    <a:gd name="connsiteY41" fmla="*/ 377825 h 955675"/>
                    <a:gd name="connsiteX42" fmla="*/ 284162 w 1628775"/>
                    <a:gd name="connsiteY42" fmla="*/ 400844 h 955675"/>
                    <a:gd name="connsiteX43" fmla="*/ 247650 w 1628775"/>
                    <a:gd name="connsiteY43" fmla="*/ 431800 h 955675"/>
                    <a:gd name="connsiteX44" fmla="*/ 181769 w 1628775"/>
                    <a:gd name="connsiteY44" fmla="*/ 424656 h 955675"/>
                    <a:gd name="connsiteX45" fmla="*/ 123825 w 1628775"/>
                    <a:gd name="connsiteY45" fmla="*/ 465931 h 955675"/>
                    <a:gd name="connsiteX46" fmla="*/ 70644 w 1628775"/>
                    <a:gd name="connsiteY46" fmla="*/ 510382 h 955675"/>
                    <a:gd name="connsiteX47" fmla="*/ 0 w 1628775"/>
                    <a:gd name="connsiteY47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206500 w 1628775"/>
                    <a:gd name="connsiteY21" fmla="*/ 120650 h 955675"/>
                    <a:gd name="connsiteX22" fmla="*/ 1136650 w 1628775"/>
                    <a:gd name="connsiteY22" fmla="*/ 95250 h 955675"/>
                    <a:gd name="connsiteX23" fmla="*/ 1060450 w 1628775"/>
                    <a:gd name="connsiteY23" fmla="*/ 53975 h 955675"/>
                    <a:gd name="connsiteX24" fmla="*/ 984250 w 1628775"/>
                    <a:gd name="connsiteY24" fmla="*/ 44450 h 955675"/>
                    <a:gd name="connsiteX25" fmla="*/ 892175 w 1628775"/>
                    <a:gd name="connsiteY25" fmla="*/ 34925 h 955675"/>
                    <a:gd name="connsiteX26" fmla="*/ 774700 w 1628775"/>
                    <a:gd name="connsiteY26" fmla="*/ 6350 h 955675"/>
                    <a:gd name="connsiteX27" fmla="*/ 685800 w 1628775"/>
                    <a:gd name="connsiteY27" fmla="*/ 0 h 955675"/>
                    <a:gd name="connsiteX28" fmla="*/ 644525 w 1628775"/>
                    <a:gd name="connsiteY28" fmla="*/ 9525 h 955675"/>
                    <a:gd name="connsiteX29" fmla="*/ 596900 w 1628775"/>
                    <a:gd name="connsiteY29" fmla="*/ 79375 h 955675"/>
                    <a:gd name="connsiteX30" fmla="*/ 542925 w 1628775"/>
                    <a:gd name="connsiteY30" fmla="*/ 79375 h 955675"/>
                    <a:gd name="connsiteX31" fmla="*/ 546100 w 1628775"/>
                    <a:gd name="connsiteY31" fmla="*/ 25400 h 955675"/>
                    <a:gd name="connsiteX32" fmla="*/ 463550 w 1628775"/>
                    <a:gd name="connsiteY32" fmla="*/ 6350 h 955675"/>
                    <a:gd name="connsiteX33" fmla="*/ 412750 w 1628775"/>
                    <a:gd name="connsiteY33" fmla="*/ 28575 h 955675"/>
                    <a:gd name="connsiteX34" fmla="*/ 381000 w 1628775"/>
                    <a:gd name="connsiteY34" fmla="*/ 69850 h 955675"/>
                    <a:gd name="connsiteX35" fmla="*/ 352425 w 1628775"/>
                    <a:gd name="connsiteY35" fmla="*/ 98425 h 955675"/>
                    <a:gd name="connsiteX36" fmla="*/ 323850 w 1628775"/>
                    <a:gd name="connsiteY36" fmla="*/ 174625 h 955675"/>
                    <a:gd name="connsiteX37" fmla="*/ 323850 w 1628775"/>
                    <a:gd name="connsiteY37" fmla="*/ 206375 h 955675"/>
                    <a:gd name="connsiteX38" fmla="*/ 323850 w 1628775"/>
                    <a:gd name="connsiteY38" fmla="*/ 288925 h 955675"/>
                    <a:gd name="connsiteX39" fmla="*/ 336550 w 1628775"/>
                    <a:gd name="connsiteY39" fmla="*/ 330200 h 955675"/>
                    <a:gd name="connsiteX40" fmla="*/ 323850 w 1628775"/>
                    <a:gd name="connsiteY40" fmla="*/ 381000 h 955675"/>
                    <a:gd name="connsiteX41" fmla="*/ 266700 w 1628775"/>
                    <a:gd name="connsiteY41" fmla="*/ 377825 h 955675"/>
                    <a:gd name="connsiteX42" fmla="*/ 284162 w 1628775"/>
                    <a:gd name="connsiteY42" fmla="*/ 400844 h 955675"/>
                    <a:gd name="connsiteX43" fmla="*/ 247650 w 1628775"/>
                    <a:gd name="connsiteY43" fmla="*/ 431800 h 955675"/>
                    <a:gd name="connsiteX44" fmla="*/ 181769 w 1628775"/>
                    <a:gd name="connsiteY44" fmla="*/ 424656 h 955675"/>
                    <a:gd name="connsiteX45" fmla="*/ 123825 w 1628775"/>
                    <a:gd name="connsiteY45" fmla="*/ 465931 h 955675"/>
                    <a:gd name="connsiteX46" fmla="*/ 70644 w 1628775"/>
                    <a:gd name="connsiteY46" fmla="*/ 510382 h 955675"/>
                    <a:gd name="connsiteX47" fmla="*/ 0 w 1628775"/>
                    <a:gd name="connsiteY47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6650 w 1628775"/>
                    <a:gd name="connsiteY22" fmla="*/ 95250 h 955675"/>
                    <a:gd name="connsiteX23" fmla="*/ 1060450 w 1628775"/>
                    <a:gd name="connsiteY23" fmla="*/ 53975 h 955675"/>
                    <a:gd name="connsiteX24" fmla="*/ 984250 w 1628775"/>
                    <a:gd name="connsiteY24" fmla="*/ 44450 h 955675"/>
                    <a:gd name="connsiteX25" fmla="*/ 892175 w 1628775"/>
                    <a:gd name="connsiteY25" fmla="*/ 34925 h 955675"/>
                    <a:gd name="connsiteX26" fmla="*/ 774700 w 1628775"/>
                    <a:gd name="connsiteY26" fmla="*/ 6350 h 955675"/>
                    <a:gd name="connsiteX27" fmla="*/ 685800 w 1628775"/>
                    <a:gd name="connsiteY27" fmla="*/ 0 h 955675"/>
                    <a:gd name="connsiteX28" fmla="*/ 644525 w 1628775"/>
                    <a:gd name="connsiteY28" fmla="*/ 9525 h 955675"/>
                    <a:gd name="connsiteX29" fmla="*/ 596900 w 1628775"/>
                    <a:gd name="connsiteY29" fmla="*/ 79375 h 955675"/>
                    <a:gd name="connsiteX30" fmla="*/ 542925 w 1628775"/>
                    <a:gd name="connsiteY30" fmla="*/ 79375 h 955675"/>
                    <a:gd name="connsiteX31" fmla="*/ 546100 w 1628775"/>
                    <a:gd name="connsiteY31" fmla="*/ 25400 h 955675"/>
                    <a:gd name="connsiteX32" fmla="*/ 463550 w 1628775"/>
                    <a:gd name="connsiteY32" fmla="*/ 6350 h 955675"/>
                    <a:gd name="connsiteX33" fmla="*/ 412750 w 1628775"/>
                    <a:gd name="connsiteY33" fmla="*/ 28575 h 955675"/>
                    <a:gd name="connsiteX34" fmla="*/ 381000 w 1628775"/>
                    <a:gd name="connsiteY34" fmla="*/ 69850 h 955675"/>
                    <a:gd name="connsiteX35" fmla="*/ 352425 w 1628775"/>
                    <a:gd name="connsiteY35" fmla="*/ 98425 h 955675"/>
                    <a:gd name="connsiteX36" fmla="*/ 323850 w 1628775"/>
                    <a:gd name="connsiteY36" fmla="*/ 174625 h 955675"/>
                    <a:gd name="connsiteX37" fmla="*/ 323850 w 1628775"/>
                    <a:gd name="connsiteY37" fmla="*/ 206375 h 955675"/>
                    <a:gd name="connsiteX38" fmla="*/ 323850 w 1628775"/>
                    <a:gd name="connsiteY38" fmla="*/ 288925 h 955675"/>
                    <a:gd name="connsiteX39" fmla="*/ 336550 w 1628775"/>
                    <a:gd name="connsiteY39" fmla="*/ 330200 h 955675"/>
                    <a:gd name="connsiteX40" fmla="*/ 323850 w 1628775"/>
                    <a:gd name="connsiteY40" fmla="*/ 381000 h 955675"/>
                    <a:gd name="connsiteX41" fmla="*/ 266700 w 1628775"/>
                    <a:gd name="connsiteY41" fmla="*/ 377825 h 955675"/>
                    <a:gd name="connsiteX42" fmla="*/ 284162 w 1628775"/>
                    <a:gd name="connsiteY42" fmla="*/ 400844 h 955675"/>
                    <a:gd name="connsiteX43" fmla="*/ 247650 w 1628775"/>
                    <a:gd name="connsiteY43" fmla="*/ 431800 h 955675"/>
                    <a:gd name="connsiteX44" fmla="*/ 181769 w 1628775"/>
                    <a:gd name="connsiteY44" fmla="*/ 424656 h 955675"/>
                    <a:gd name="connsiteX45" fmla="*/ 123825 w 1628775"/>
                    <a:gd name="connsiteY45" fmla="*/ 465931 h 955675"/>
                    <a:gd name="connsiteX46" fmla="*/ 70644 w 1628775"/>
                    <a:gd name="connsiteY46" fmla="*/ 510382 h 955675"/>
                    <a:gd name="connsiteX47" fmla="*/ 0 w 1628775"/>
                    <a:gd name="connsiteY47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4269 w 1628775"/>
                    <a:gd name="connsiteY22" fmla="*/ 111919 h 955675"/>
                    <a:gd name="connsiteX23" fmla="*/ 1060450 w 1628775"/>
                    <a:gd name="connsiteY23" fmla="*/ 53975 h 955675"/>
                    <a:gd name="connsiteX24" fmla="*/ 984250 w 1628775"/>
                    <a:gd name="connsiteY24" fmla="*/ 44450 h 955675"/>
                    <a:gd name="connsiteX25" fmla="*/ 892175 w 1628775"/>
                    <a:gd name="connsiteY25" fmla="*/ 34925 h 955675"/>
                    <a:gd name="connsiteX26" fmla="*/ 774700 w 1628775"/>
                    <a:gd name="connsiteY26" fmla="*/ 6350 h 955675"/>
                    <a:gd name="connsiteX27" fmla="*/ 685800 w 1628775"/>
                    <a:gd name="connsiteY27" fmla="*/ 0 h 955675"/>
                    <a:gd name="connsiteX28" fmla="*/ 644525 w 1628775"/>
                    <a:gd name="connsiteY28" fmla="*/ 9525 h 955675"/>
                    <a:gd name="connsiteX29" fmla="*/ 596900 w 1628775"/>
                    <a:gd name="connsiteY29" fmla="*/ 79375 h 955675"/>
                    <a:gd name="connsiteX30" fmla="*/ 542925 w 1628775"/>
                    <a:gd name="connsiteY30" fmla="*/ 79375 h 955675"/>
                    <a:gd name="connsiteX31" fmla="*/ 546100 w 1628775"/>
                    <a:gd name="connsiteY31" fmla="*/ 25400 h 955675"/>
                    <a:gd name="connsiteX32" fmla="*/ 463550 w 1628775"/>
                    <a:gd name="connsiteY32" fmla="*/ 6350 h 955675"/>
                    <a:gd name="connsiteX33" fmla="*/ 412750 w 1628775"/>
                    <a:gd name="connsiteY33" fmla="*/ 28575 h 955675"/>
                    <a:gd name="connsiteX34" fmla="*/ 381000 w 1628775"/>
                    <a:gd name="connsiteY34" fmla="*/ 69850 h 955675"/>
                    <a:gd name="connsiteX35" fmla="*/ 352425 w 1628775"/>
                    <a:gd name="connsiteY35" fmla="*/ 98425 h 955675"/>
                    <a:gd name="connsiteX36" fmla="*/ 323850 w 1628775"/>
                    <a:gd name="connsiteY36" fmla="*/ 174625 h 955675"/>
                    <a:gd name="connsiteX37" fmla="*/ 323850 w 1628775"/>
                    <a:gd name="connsiteY37" fmla="*/ 206375 h 955675"/>
                    <a:gd name="connsiteX38" fmla="*/ 323850 w 1628775"/>
                    <a:gd name="connsiteY38" fmla="*/ 288925 h 955675"/>
                    <a:gd name="connsiteX39" fmla="*/ 336550 w 1628775"/>
                    <a:gd name="connsiteY39" fmla="*/ 330200 h 955675"/>
                    <a:gd name="connsiteX40" fmla="*/ 323850 w 1628775"/>
                    <a:gd name="connsiteY40" fmla="*/ 381000 h 955675"/>
                    <a:gd name="connsiteX41" fmla="*/ 266700 w 1628775"/>
                    <a:gd name="connsiteY41" fmla="*/ 377825 h 955675"/>
                    <a:gd name="connsiteX42" fmla="*/ 284162 w 1628775"/>
                    <a:gd name="connsiteY42" fmla="*/ 400844 h 955675"/>
                    <a:gd name="connsiteX43" fmla="*/ 247650 w 1628775"/>
                    <a:gd name="connsiteY43" fmla="*/ 431800 h 955675"/>
                    <a:gd name="connsiteX44" fmla="*/ 181769 w 1628775"/>
                    <a:gd name="connsiteY44" fmla="*/ 424656 h 955675"/>
                    <a:gd name="connsiteX45" fmla="*/ 123825 w 1628775"/>
                    <a:gd name="connsiteY45" fmla="*/ 465931 h 955675"/>
                    <a:gd name="connsiteX46" fmla="*/ 70644 w 1628775"/>
                    <a:gd name="connsiteY46" fmla="*/ 510382 h 955675"/>
                    <a:gd name="connsiteX47" fmla="*/ 0 w 1628775"/>
                    <a:gd name="connsiteY47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4269 w 1628775"/>
                    <a:gd name="connsiteY22" fmla="*/ 111919 h 955675"/>
                    <a:gd name="connsiteX23" fmla="*/ 1048543 w 1628775"/>
                    <a:gd name="connsiteY23" fmla="*/ 125413 h 955675"/>
                    <a:gd name="connsiteX24" fmla="*/ 984250 w 1628775"/>
                    <a:gd name="connsiteY24" fmla="*/ 44450 h 955675"/>
                    <a:gd name="connsiteX25" fmla="*/ 892175 w 1628775"/>
                    <a:gd name="connsiteY25" fmla="*/ 34925 h 955675"/>
                    <a:gd name="connsiteX26" fmla="*/ 774700 w 1628775"/>
                    <a:gd name="connsiteY26" fmla="*/ 6350 h 955675"/>
                    <a:gd name="connsiteX27" fmla="*/ 685800 w 1628775"/>
                    <a:gd name="connsiteY27" fmla="*/ 0 h 955675"/>
                    <a:gd name="connsiteX28" fmla="*/ 644525 w 1628775"/>
                    <a:gd name="connsiteY28" fmla="*/ 9525 h 955675"/>
                    <a:gd name="connsiteX29" fmla="*/ 596900 w 1628775"/>
                    <a:gd name="connsiteY29" fmla="*/ 79375 h 955675"/>
                    <a:gd name="connsiteX30" fmla="*/ 542925 w 1628775"/>
                    <a:gd name="connsiteY30" fmla="*/ 79375 h 955675"/>
                    <a:gd name="connsiteX31" fmla="*/ 546100 w 1628775"/>
                    <a:gd name="connsiteY31" fmla="*/ 25400 h 955675"/>
                    <a:gd name="connsiteX32" fmla="*/ 463550 w 1628775"/>
                    <a:gd name="connsiteY32" fmla="*/ 6350 h 955675"/>
                    <a:gd name="connsiteX33" fmla="*/ 412750 w 1628775"/>
                    <a:gd name="connsiteY33" fmla="*/ 28575 h 955675"/>
                    <a:gd name="connsiteX34" fmla="*/ 381000 w 1628775"/>
                    <a:gd name="connsiteY34" fmla="*/ 69850 h 955675"/>
                    <a:gd name="connsiteX35" fmla="*/ 352425 w 1628775"/>
                    <a:gd name="connsiteY35" fmla="*/ 98425 h 955675"/>
                    <a:gd name="connsiteX36" fmla="*/ 323850 w 1628775"/>
                    <a:gd name="connsiteY36" fmla="*/ 174625 h 955675"/>
                    <a:gd name="connsiteX37" fmla="*/ 323850 w 1628775"/>
                    <a:gd name="connsiteY37" fmla="*/ 206375 h 955675"/>
                    <a:gd name="connsiteX38" fmla="*/ 323850 w 1628775"/>
                    <a:gd name="connsiteY38" fmla="*/ 288925 h 955675"/>
                    <a:gd name="connsiteX39" fmla="*/ 336550 w 1628775"/>
                    <a:gd name="connsiteY39" fmla="*/ 330200 h 955675"/>
                    <a:gd name="connsiteX40" fmla="*/ 323850 w 1628775"/>
                    <a:gd name="connsiteY40" fmla="*/ 381000 h 955675"/>
                    <a:gd name="connsiteX41" fmla="*/ 266700 w 1628775"/>
                    <a:gd name="connsiteY41" fmla="*/ 377825 h 955675"/>
                    <a:gd name="connsiteX42" fmla="*/ 284162 w 1628775"/>
                    <a:gd name="connsiteY42" fmla="*/ 400844 h 955675"/>
                    <a:gd name="connsiteX43" fmla="*/ 247650 w 1628775"/>
                    <a:gd name="connsiteY43" fmla="*/ 431800 h 955675"/>
                    <a:gd name="connsiteX44" fmla="*/ 181769 w 1628775"/>
                    <a:gd name="connsiteY44" fmla="*/ 424656 h 955675"/>
                    <a:gd name="connsiteX45" fmla="*/ 123825 w 1628775"/>
                    <a:gd name="connsiteY45" fmla="*/ 465931 h 955675"/>
                    <a:gd name="connsiteX46" fmla="*/ 70644 w 1628775"/>
                    <a:gd name="connsiteY46" fmla="*/ 510382 h 955675"/>
                    <a:gd name="connsiteX47" fmla="*/ 0 w 1628775"/>
                    <a:gd name="connsiteY47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4269 w 1628775"/>
                    <a:gd name="connsiteY22" fmla="*/ 111919 h 955675"/>
                    <a:gd name="connsiteX23" fmla="*/ 1048543 w 1628775"/>
                    <a:gd name="connsiteY23" fmla="*/ 125413 h 955675"/>
                    <a:gd name="connsiteX24" fmla="*/ 1000918 w 1628775"/>
                    <a:gd name="connsiteY24" fmla="*/ 139700 h 955675"/>
                    <a:gd name="connsiteX25" fmla="*/ 892175 w 1628775"/>
                    <a:gd name="connsiteY25" fmla="*/ 34925 h 955675"/>
                    <a:gd name="connsiteX26" fmla="*/ 774700 w 1628775"/>
                    <a:gd name="connsiteY26" fmla="*/ 6350 h 955675"/>
                    <a:gd name="connsiteX27" fmla="*/ 685800 w 1628775"/>
                    <a:gd name="connsiteY27" fmla="*/ 0 h 955675"/>
                    <a:gd name="connsiteX28" fmla="*/ 644525 w 1628775"/>
                    <a:gd name="connsiteY28" fmla="*/ 9525 h 955675"/>
                    <a:gd name="connsiteX29" fmla="*/ 596900 w 1628775"/>
                    <a:gd name="connsiteY29" fmla="*/ 79375 h 955675"/>
                    <a:gd name="connsiteX30" fmla="*/ 542925 w 1628775"/>
                    <a:gd name="connsiteY30" fmla="*/ 79375 h 955675"/>
                    <a:gd name="connsiteX31" fmla="*/ 546100 w 1628775"/>
                    <a:gd name="connsiteY31" fmla="*/ 25400 h 955675"/>
                    <a:gd name="connsiteX32" fmla="*/ 463550 w 1628775"/>
                    <a:gd name="connsiteY32" fmla="*/ 6350 h 955675"/>
                    <a:gd name="connsiteX33" fmla="*/ 412750 w 1628775"/>
                    <a:gd name="connsiteY33" fmla="*/ 28575 h 955675"/>
                    <a:gd name="connsiteX34" fmla="*/ 381000 w 1628775"/>
                    <a:gd name="connsiteY34" fmla="*/ 69850 h 955675"/>
                    <a:gd name="connsiteX35" fmla="*/ 352425 w 1628775"/>
                    <a:gd name="connsiteY35" fmla="*/ 98425 h 955675"/>
                    <a:gd name="connsiteX36" fmla="*/ 323850 w 1628775"/>
                    <a:gd name="connsiteY36" fmla="*/ 174625 h 955675"/>
                    <a:gd name="connsiteX37" fmla="*/ 323850 w 1628775"/>
                    <a:gd name="connsiteY37" fmla="*/ 206375 h 955675"/>
                    <a:gd name="connsiteX38" fmla="*/ 323850 w 1628775"/>
                    <a:gd name="connsiteY38" fmla="*/ 288925 h 955675"/>
                    <a:gd name="connsiteX39" fmla="*/ 336550 w 1628775"/>
                    <a:gd name="connsiteY39" fmla="*/ 330200 h 955675"/>
                    <a:gd name="connsiteX40" fmla="*/ 323850 w 1628775"/>
                    <a:gd name="connsiteY40" fmla="*/ 381000 h 955675"/>
                    <a:gd name="connsiteX41" fmla="*/ 266700 w 1628775"/>
                    <a:gd name="connsiteY41" fmla="*/ 377825 h 955675"/>
                    <a:gd name="connsiteX42" fmla="*/ 284162 w 1628775"/>
                    <a:gd name="connsiteY42" fmla="*/ 400844 h 955675"/>
                    <a:gd name="connsiteX43" fmla="*/ 247650 w 1628775"/>
                    <a:gd name="connsiteY43" fmla="*/ 431800 h 955675"/>
                    <a:gd name="connsiteX44" fmla="*/ 181769 w 1628775"/>
                    <a:gd name="connsiteY44" fmla="*/ 424656 h 955675"/>
                    <a:gd name="connsiteX45" fmla="*/ 123825 w 1628775"/>
                    <a:gd name="connsiteY45" fmla="*/ 465931 h 955675"/>
                    <a:gd name="connsiteX46" fmla="*/ 70644 w 1628775"/>
                    <a:gd name="connsiteY46" fmla="*/ 510382 h 955675"/>
                    <a:gd name="connsiteX47" fmla="*/ 0 w 1628775"/>
                    <a:gd name="connsiteY47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4269 w 1628775"/>
                    <a:gd name="connsiteY22" fmla="*/ 111919 h 955675"/>
                    <a:gd name="connsiteX23" fmla="*/ 1048543 w 1628775"/>
                    <a:gd name="connsiteY23" fmla="*/ 125413 h 955675"/>
                    <a:gd name="connsiteX24" fmla="*/ 1000918 w 1628775"/>
                    <a:gd name="connsiteY24" fmla="*/ 139700 h 955675"/>
                    <a:gd name="connsiteX25" fmla="*/ 942182 w 1628775"/>
                    <a:gd name="connsiteY25" fmla="*/ 142081 h 955675"/>
                    <a:gd name="connsiteX26" fmla="*/ 774700 w 1628775"/>
                    <a:gd name="connsiteY26" fmla="*/ 6350 h 955675"/>
                    <a:gd name="connsiteX27" fmla="*/ 685800 w 1628775"/>
                    <a:gd name="connsiteY27" fmla="*/ 0 h 955675"/>
                    <a:gd name="connsiteX28" fmla="*/ 644525 w 1628775"/>
                    <a:gd name="connsiteY28" fmla="*/ 9525 h 955675"/>
                    <a:gd name="connsiteX29" fmla="*/ 596900 w 1628775"/>
                    <a:gd name="connsiteY29" fmla="*/ 79375 h 955675"/>
                    <a:gd name="connsiteX30" fmla="*/ 542925 w 1628775"/>
                    <a:gd name="connsiteY30" fmla="*/ 79375 h 955675"/>
                    <a:gd name="connsiteX31" fmla="*/ 546100 w 1628775"/>
                    <a:gd name="connsiteY31" fmla="*/ 25400 h 955675"/>
                    <a:gd name="connsiteX32" fmla="*/ 463550 w 1628775"/>
                    <a:gd name="connsiteY32" fmla="*/ 6350 h 955675"/>
                    <a:gd name="connsiteX33" fmla="*/ 412750 w 1628775"/>
                    <a:gd name="connsiteY33" fmla="*/ 28575 h 955675"/>
                    <a:gd name="connsiteX34" fmla="*/ 381000 w 1628775"/>
                    <a:gd name="connsiteY34" fmla="*/ 69850 h 955675"/>
                    <a:gd name="connsiteX35" fmla="*/ 352425 w 1628775"/>
                    <a:gd name="connsiteY35" fmla="*/ 98425 h 955675"/>
                    <a:gd name="connsiteX36" fmla="*/ 323850 w 1628775"/>
                    <a:gd name="connsiteY36" fmla="*/ 174625 h 955675"/>
                    <a:gd name="connsiteX37" fmla="*/ 323850 w 1628775"/>
                    <a:gd name="connsiteY37" fmla="*/ 206375 h 955675"/>
                    <a:gd name="connsiteX38" fmla="*/ 323850 w 1628775"/>
                    <a:gd name="connsiteY38" fmla="*/ 288925 h 955675"/>
                    <a:gd name="connsiteX39" fmla="*/ 336550 w 1628775"/>
                    <a:gd name="connsiteY39" fmla="*/ 330200 h 955675"/>
                    <a:gd name="connsiteX40" fmla="*/ 323850 w 1628775"/>
                    <a:gd name="connsiteY40" fmla="*/ 381000 h 955675"/>
                    <a:gd name="connsiteX41" fmla="*/ 266700 w 1628775"/>
                    <a:gd name="connsiteY41" fmla="*/ 377825 h 955675"/>
                    <a:gd name="connsiteX42" fmla="*/ 284162 w 1628775"/>
                    <a:gd name="connsiteY42" fmla="*/ 400844 h 955675"/>
                    <a:gd name="connsiteX43" fmla="*/ 247650 w 1628775"/>
                    <a:gd name="connsiteY43" fmla="*/ 431800 h 955675"/>
                    <a:gd name="connsiteX44" fmla="*/ 181769 w 1628775"/>
                    <a:gd name="connsiteY44" fmla="*/ 424656 h 955675"/>
                    <a:gd name="connsiteX45" fmla="*/ 123825 w 1628775"/>
                    <a:gd name="connsiteY45" fmla="*/ 465931 h 955675"/>
                    <a:gd name="connsiteX46" fmla="*/ 70644 w 1628775"/>
                    <a:gd name="connsiteY46" fmla="*/ 510382 h 955675"/>
                    <a:gd name="connsiteX47" fmla="*/ 0 w 1628775"/>
                    <a:gd name="connsiteY47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4269 w 1628775"/>
                    <a:gd name="connsiteY22" fmla="*/ 111919 h 955675"/>
                    <a:gd name="connsiteX23" fmla="*/ 1048543 w 1628775"/>
                    <a:gd name="connsiteY23" fmla="*/ 125413 h 955675"/>
                    <a:gd name="connsiteX24" fmla="*/ 1000918 w 1628775"/>
                    <a:gd name="connsiteY24" fmla="*/ 139700 h 955675"/>
                    <a:gd name="connsiteX25" fmla="*/ 942182 w 1628775"/>
                    <a:gd name="connsiteY25" fmla="*/ 142081 h 955675"/>
                    <a:gd name="connsiteX26" fmla="*/ 826294 w 1628775"/>
                    <a:gd name="connsiteY26" fmla="*/ 46038 h 955675"/>
                    <a:gd name="connsiteX27" fmla="*/ 774700 w 1628775"/>
                    <a:gd name="connsiteY27" fmla="*/ 6350 h 955675"/>
                    <a:gd name="connsiteX28" fmla="*/ 685800 w 1628775"/>
                    <a:gd name="connsiteY28" fmla="*/ 0 h 955675"/>
                    <a:gd name="connsiteX29" fmla="*/ 644525 w 1628775"/>
                    <a:gd name="connsiteY29" fmla="*/ 9525 h 955675"/>
                    <a:gd name="connsiteX30" fmla="*/ 596900 w 1628775"/>
                    <a:gd name="connsiteY30" fmla="*/ 79375 h 955675"/>
                    <a:gd name="connsiteX31" fmla="*/ 542925 w 1628775"/>
                    <a:gd name="connsiteY31" fmla="*/ 79375 h 955675"/>
                    <a:gd name="connsiteX32" fmla="*/ 546100 w 1628775"/>
                    <a:gd name="connsiteY32" fmla="*/ 25400 h 955675"/>
                    <a:gd name="connsiteX33" fmla="*/ 463550 w 1628775"/>
                    <a:gd name="connsiteY33" fmla="*/ 6350 h 955675"/>
                    <a:gd name="connsiteX34" fmla="*/ 412750 w 1628775"/>
                    <a:gd name="connsiteY34" fmla="*/ 28575 h 955675"/>
                    <a:gd name="connsiteX35" fmla="*/ 381000 w 1628775"/>
                    <a:gd name="connsiteY35" fmla="*/ 69850 h 955675"/>
                    <a:gd name="connsiteX36" fmla="*/ 352425 w 1628775"/>
                    <a:gd name="connsiteY36" fmla="*/ 98425 h 955675"/>
                    <a:gd name="connsiteX37" fmla="*/ 323850 w 1628775"/>
                    <a:gd name="connsiteY37" fmla="*/ 174625 h 955675"/>
                    <a:gd name="connsiteX38" fmla="*/ 323850 w 1628775"/>
                    <a:gd name="connsiteY38" fmla="*/ 206375 h 955675"/>
                    <a:gd name="connsiteX39" fmla="*/ 323850 w 1628775"/>
                    <a:gd name="connsiteY39" fmla="*/ 288925 h 955675"/>
                    <a:gd name="connsiteX40" fmla="*/ 336550 w 1628775"/>
                    <a:gd name="connsiteY40" fmla="*/ 330200 h 955675"/>
                    <a:gd name="connsiteX41" fmla="*/ 323850 w 1628775"/>
                    <a:gd name="connsiteY41" fmla="*/ 381000 h 955675"/>
                    <a:gd name="connsiteX42" fmla="*/ 266700 w 1628775"/>
                    <a:gd name="connsiteY42" fmla="*/ 377825 h 955675"/>
                    <a:gd name="connsiteX43" fmla="*/ 284162 w 1628775"/>
                    <a:gd name="connsiteY43" fmla="*/ 400844 h 955675"/>
                    <a:gd name="connsiteX44" fmla="*/ 247650 w 1628775"/>
                    <a:gd name="connsiteY44" fmla="*/ 431800 h 955675"/>
                    <a:gd name="connsiteX45" fmla="*/ 181769 w 1628775"/>
                    <a:gd name="connsiteY45" fmla="*/ 424656 h 955675"/>
                    <a:gd name="connsiteX46" fmla="*/ 123825 w 1628775"/>
                    <a:gd name="connsiteY46" fmla="*/ 465931 h 955675"/>
                    <a:gd name="connsiteX47" fmla="*/ 70644 w 1628775"/>
                    <a:gd name="connsiteY47" fmla="*/ 510382 h 955675"/>
                    <a:gd name="connsiteX48" fmla="*/ 0 w 1628775"/>
                    <a:gd name="connsiteY48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4269 w 1628775"/>
                    <a:gd name="connsiteY22" fmla="*/ 111919 h 955675"/>
                    <a:gd name="connsiteX23" fmla="*/ 1048543 w 1628775"/>
                    <a:gd name="connsiteY23" fmla="*/ 125413 h 955675"/>
                    <a:gd name="connsiteX24" fmla="*/ 1000918 w 1628775"/>
                    <a:gd name="connsiteY24" fmla="*/ 139700 h 955675"/>
                    <a:gd name="connsiteX25" fmla="*/ 942182 w 1628775"/>
                    <a:gd name="connsiteY25" fmla="*/ 142081 h 955675"/>
                    <a:gd name="connsiteX26" fmla="*/ 902494 w 1628775"/>
                    <a:gd name="connsiteY26" fmla="*/ 210344 h 955675"/>
                    <a:gd name="connsiteX27" fmla="*/ 774700 w 1628775"/>
                    <a:gd name="connsiteY27" fmla="*/ 6350 h 955675"/>
                    <a:gd name="connsiteX28" fmla="*/ 685800 w 1628775"/>
                    <a:gd name="connsiteY28" fmla="*/ 0 h 955675"/>
                    <a:gd name="connsiteX29" fmla="*/ 644525 w 1628775"/>
                    <a:gd name="connsiteY29" fmla="*/ 9525 h 955675"/>
                    <a:gd name="connsiteX30" fmla="*/ 596900 w 1628775"/>
                    <a:gd name="connsiteY30" fmla="*/ 79375 h 955675"/>
                    <a:gd name="connsiteX31" fmla="*/ 542925 w 1628775"/>
                    <a:gd name="connsiteY31" fmla="*/ 79375 h 955675"/>
                    <a:gd name="connsiteX32" fmla="*/ 546100 w 1628775"/>
                    <a:gd name="connsiteY32" fmla="*/ 25400 h 955675"/>
                    <a:gd name="connsiteX33" fmla="*/ 463550 w 1628775"/>
                    <a:gd name="connsiteY33" fmla="*/ 6350 h 955675"/>
                    <a:gd name="connsiteX34" fmla="*/ 412750 w 1628775"/>
                    <a:gd name="connsiteY34" fmla="*/ 28575 h 955675"/>
                    <a:gd name="connsiteX35" fmla="*/ 381000 w 1628775"/>
                    <a:gd name="connsiteY35" fmla="*/ 69850 h 955675"/>
                    <a:gd name="connsiteX36" fmla="*/ 352425 w 1628775"/>
                    <a:gd name="connsiteY36" fmla="*/ 98425 h 955675"/>
                    <a:gd name="connsiteX37" fmla="*/ 323850 w 1628775"/>
                    <a:gd name="connsiteY37" fmla="*/ 174625 h 955675"/>
                    <a:gd name="connsiteX38" fmla="*/ 323850 w 1628775"/>
                    <a:gd name="connsiteY38" fmla="*/ 206375 h 955675"/>
                    <a:gd name="connsiteX39" fmla="*/ 323850 w 1628775"/>
                    <a:gd name="connsiteY39" fmla="*/ 288925 h 955675"/>
                    <a:gd name="connsiteX40" fmla="*/ 336550 w 1628775"/>
                    <a:gd name="connsiteY40" fmla="*/ 330200 h 955675"/>
                    <a:gd name="connsiteX41" fmla="*/ 323850 w 1628775"/>
                    <a:gd name="connsiteY41" fmla="*/ 381000 h 955675"/>
                    <a:gd name="connsiteX42" fmla="*/ 266700 w 1628775"/>
                    <a:gd name="connsiteY42" fmla="*/ 377825 h 955675"/>
                    <a:gd name="connsiteX43" fmla="*/ 284162 w 1628775"/>
                    <a:gd name="connsiteY43" fmla="*/ 400844 h 955675"/>
                    <a:gd name="connsiteX44" fmla="*/ 247650 w 1628775"/>
                    <a:gd name="connsiteY44" fmla="*/ 431800 h 955675"/>
                    <a:gd name="connsiteX45" fmla="*/ 181769 w 1628775"/>
                    <a:gd name="connsiteY45" fmla="*/ 424656 h 955675"/>
                    <a:gd name="connsiteX46" fmla="*/ 123825 w 1628775"/>
                    <a:gd name="connsiteY46" fmla="*/ 465931 h 955675"/>
                    <a:gd name="connsiteX47" fmla="*/ 70644 w 1628775"/>
                    <a:gd name="connsiteY47" fmla="*/ 510382 h 955675"/>
                    <a:gd name="connsiteX48" fmla="*/ 0 w 1628775"/>
                    <a:gd name="connsiteY48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4269 w 1628775"/>
                    <a:gd name="connsiteY22" fmla="*/ 111919 h 955675"/>
                    <a:gd name="connsiteX23" fmla="*/ 1048543 w 1628775"/>
                    <a:gd name="connsiteY23" fmla="*/ 125413 h 955675"/>
                    <a:gd name="connsiteX24" fmla="*/ 1000918 w 1628775"/>
                    <a:gd name="connsiteY24" fmla="*/ 139700 h 955675"/>
                    <a:gd name="connsiteX25" fmla="*/ 942182 w 1628775"/>
                    <a:gd name="connsiteY25" fmla="*/ 142081 h 955675"/>
                    <a:gd name="connsiteX26" fmla="*/ 902494 w 1628775"/>
                    <a:gd name="connsiteY26" fmla="*/ 210344 h 955675"/>
                    <a:gd name="connsiteX27" fmla="*/ 815182 w 1628775"/>
                    <a:gd name="connsiteY27" fmla="*/ 177800 h 955675"/>
                    <a:gd name="connsiteX28" fmla="*/ 685800 w 1628775"/>
                    <a:gd name="connsiteY28" fmla="*/ 0 h 955675"/>
                    <a:gd name="connsiteX29" fmla="*/ 644525 w 1628775"/>
                    <a:gd name="connsiteY29" fmla="*/ 9525 h 955675"/>
                    <a:gd name="connsiteX30" fmla="*/ 596900 w 1628775"/>
                    <a:gd name="connsiteY30" fmla="*/ 79375 h 955675"/>
                    <a:gd name="connsiteX31" fmla="*/ 542925 w 1628775"/>
                    <a:gd name="connsiteY31" fmla="*/ 79375 h 955675"/>
                    <a:gd name="connsiteX32" fmla="*/ 546100 w 1628775"/>
                    <a:gd name="connsiteY32" fmla="*/ 25400 h 955675"/>
                    <a:gd name="connsiteX33" fmla="*/ 463550 w 1628775"/>
                    <a:gd name="connsiteY33" fmla="*/ 6350 h 955675"/>
                    <a:gd name="connsiteX34" fmla="*/ 412750 w 1628775"/>
                    <a:gd name="connsiteY34" fmla="*/ 28575 h 955675"/>
                    <a:gd name="connsiteX35" fmla="*/ 381000 w 1628775"/>
                    <a:gd name="connsiteY35" fmla="*/ 69850 h 955675"/>
                    <a:gd name="connsiteX36" fmla="*/ 352425 w 1628775"/>
                    <a:gd name="connsiteY36" fmla="*/ 98425 h 955675"/>
                    <a:gd name="connsiteX37" fmla="*/ 323850 w 1628775"/>
                    <a:gd name="connsiteY37" fmla="*/ 174625 h 955675"/>
                    <a:gd name="connsiteX38" fmla="*/ 323850 w 1628775"/>
                    <a:gd name="connsiteY38" fmla="*/ 206375 h 955675"/>
                    <a:gd name="connsiteX39" fmla="*/ 323850 w 1628775"/>
                    <a:gd name="connsiteY39" fmla="*/ 288925 h 955675"/>
                    <a:gd name="connsiteX40" fmla="*/ 336550 w 1628775"/>
                    <a:gd name="connsiteY40" fmla="*/ 330200 h 955675"/>
                    <a:gd name="connsiteX41" fmla="*/ 323850 w 1628775"/>
                    <a:gd name="connsiteY41" fmla="*/ 381000 h 955675"/>
                    <a:gd name="connsiteX42" fmla="*/ 266700 w 1628775"/>
                    <a:gd name="connsiteY42" fmla="*/ 377825 h 955675"/>
                    <a:gd name="connsiteX43" fmla="*/ 284162 w 1628775"/>
                    <a:gd name="connsiteY43" fmla="*/ 400844 h 955675"/>
                    <a:gd name="connsiteX44" fmla="*/ 247650 w 1628775"/>
                    <a:gd name="connsiteY44" fmla="*/ 431800 h 955675"/>
                    <a:gd name="connsiteX45" fmla="*/ 181769 w 1628775"/>
                    <a:gd name="connsiteY45" fmla="*/ 424656 h 955675"/>
                    <a:gd name="connsiteX46" fmla="*/ 123825 w 1628775"/>
                    <a:gd name="connsiteY46" fmla="*/ 465931 h 955675"/>
                    <a:gd name="connsiteX47" fmla="*/ 70644 w 1628775"/>
                    <a:gd name="connsiteY47" fmla="*/ 510382 h 955675"/>
                    <a:gd name="connsiteX48" fmla="*/ 0 w 1628775"/>
                    <a:gd name="connsiteY48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4269 w 1628775"/>
                    <a:gd name="connsiteY22" fmla="*/ 111919 h 955675"/>
                    <a:gd name="connsiteX23" fmla="*/ 1048543 w 1628775"/>
                    <a:gd name="connsiteY23" fmla="*/ 125413 h 955675"/>
                    <a:gd name="connsiteX24" fmla="*/ 1000918 w 1628775"/>
                    <a:gd name="connsiteY24" fmla="*/ 139700 h 955675"/>
                    <a:gd name="connsiteX25" fmla="*/ 942182 w 1628775"/>
                    <a:gd name="connsiteY25" fmla="*/ 142081 h 955675"/>
                    <a:gd name="connsiteX26" fmla="*/ 902494 w 1628775"/>
                    <a:gd name="connsiteY26" fmla="*/ 210344 h 955675"/>
                    <a:gd name="connsiteX27" fmla="*/ 815182 w 1628775"/>
                    <a:gd name="connsiteY27" fmla="*/ 177800 h 955675"/>
                    <a:gd name="connsiteX28" fmla="*/ 742950 w 1628775"/>
                    <a:gd name="connsiteY28" fmla="*/ 79375 h 955675"/>
                    <a:gd name="connsiteX29" fmla="*/ 685800 w 1628775"/>
                    <a:gd name="connsiteY29" fmla="*/ 0 h 955675"/>
                    <a:gd name="connsiteX30" fmla="*/ 644525 w 1628775"/>
                    <a:gd name="connsiteY30" fmla="*/ 9525 h 955675"/>
                    <a:gd name="connsiteX31" fmla="*/ 596900 w 1628775"/>
                    <a:gd name="connsiteY31" fmla="*/ 79375 h 955675"/>
                    <a:gd name="connsiteX32" fmla="*/ 542925 w 1628775"/>
                    <a:gd name="connsiteY32" fmla="*/ 79375 h 955675"/>
                    <a:gd name="connsiteX33" fmla="*/ 546100 w 1628775"/>
                    <a:gd name="connsiteY33" fmla="*/ 25400 h 955675"/>
                    <a:gd name="connsiteX34" fmla="*/ 463550 w 1628775"/>
                    <a:gd name="connsiteY34" fmla="*/ 6350 h 955675"/>
                    <a:gd name="connsiteX35" fmla="*/ 412750 w 1628775"/>
                    <a:gd name="connsiteY35" fmla="*/ 28575 h 955675"/>
                    <a:gd name="connsiteX36" fmla="*/ 381000 w 1628775"/>
                    <a:gd name="connsiteY36" fmla="*/ 69850 h 955675"/>
                    <a:gd name="connsiteX37" fmla="*/ 352425 w 1628775"/>
                    <a:gd name="connsiteY37" fmla="*/ 98425 h 955675"/>
                    <a:gd name="connsiteX38" fmla="*/ 323850 w 1628775"/>
                    <a:gd name="connsiteY38" fmla="*/ 174625 h 955675"/>
                    <a:gd name="connsiteX39" fmla="*/ 323850 w 1628775"/>
                    <a:gd name="connsiteY39" fmla="*/ 206375 h 955675"/>
                    <a:gd name="connsiteX40" fmla="*/ 323850 w 1628775"/>
                    <a:gd name="connsiteY40" fmla="*/ 288925 h 955675"/>
                    <a:gd name="connsiteX41" fmla="*/ 336550 w 1628775"/>
                    <a:gd name="connsiteY41" fmla="*/ 330200 h 955675"/>
                    <a:gd name="connsiteX42" fmla="*/ 323850 w 1628775"/>
                    <a:gd name="connsiteY42" fmla="*/ 381000 h 955675"/>
                    <a:gd name="connsiteX43" fmla="*/ 266700 w 1628775"/>
                    <a:gd name="connsiteY43" fmla="*/ 377825 h 955675"/>
                    <a:gd name="connsiteX44" fmla="*/ 284162 w 1628775"/>
                    <a:gd name="connsiteY44" fmla="*/ 400844 h 955675"/>
                    <a:gd name="connsiteX45" fmla="*/ 247650 w 1628775"/>
                    <a:gd name="connsiteY45" fmla="*/ 431800 h 955675"/>
                    <a:gd name="connsiteX46" fmla="*/ 181769 w 1628775"/>
                    <a:gd name="connsiteY46" fmla="*/ 424656 h 955675"/>
                    <a:gd name="connsiteX47" fmla="*/ 123825 w 1628775"/>
                    <a:gd name="connsiteY47" fmla="*/ 465931 h 955675"/>
                    <a:gd name="connsiteX48" fmla="*/ 70644 w 1628775"/>
                    <a:gd name="connsiteY48" fmla="*/ 510382 h 955675"/>
                    <a:gd name="connsiteX49" fmla="*/ 0 w 1628775"/>
                    <a:gd name="connsiteY49" fmla="*/ 584200 h 955675"/>
                    <a:gd name="connsiteX0" fmla="*/ 0 w 1628775"/>
                    <a:gd name="connsiteY0" fmla="*/ 584200 h 955675"/>
                    <a:gd name="connsiteX1" fmla="*/ 92075 w 1628775"/>
                    <a:gd name="connsiteY1" fmla="*/ 790575 h 955675"/>
                    <a:gd name="connsiteX2" fmla="*/ 200025 w 1628775"/>
                    <a:gd name="connsiteY2" fmla="*/ 955675 h 955675"/>
                    <a:gd name="connsiteX3" fmla="*/ 561975 w 1628775"/>
                    <a:gd name="connsiteY3" fmla="*/ 901700 h 955675"/>
                    <a:gd name="connsiteX4" fmla="*/ 911225 w 1628775"/>
                    <a:gd name="connsiteY4" fmla="*/ 660400 h 955675"/>
                    <a:gd name="connsiteX5" fmla="*/ 1212850 w 1628775"/>
                    <a:gd name="connsiteY5" fmla="*/ 612775 h 955675"/>
                    <a:gd name="connsiteX6" fmla="*/ 1416050 w 1628775"/>
                    <a:gd name="connsiteY6" fmla="*/ 657225 h 955675"/>
                    <a:gd name="connsiteX7" fmla="*/ 1628775 w 1628775"/>
                    <a:gd name="connsiteY7" fmla="*/ 688975 h 955675"/>
                    <a:gd name="connsiteX8" fmla="*/ 1603375 w 1628775"/>
                    <a:gd name="connsiteY8" fmla="*/ 587375 h 955675"/>
                    <a:gd name="connsiteX9" fmla="*/ 1567656 w 1628775"/>
                    <a:gd name="connsiteY9" fmla="*/ 554832 h 955675"/>
                    <a:gd name="connsiteX10" fmla="*/ 1567656 w 1628775"/>
                    <a:gd name="connsiteY10" fmla="*/ 495300 h 955675"/>
                    <a:gd name="connsiteX11" fmla="*/ 1528763 w 1628775"/>
                    <a:gd name="connsiteY11" fmla="*/ 453232 h 955675"/>
                    <a:gd name="connsiteX12" fmla="*/ 1473993 w 1628775"/>
                    <a:gd name="connsiteY12" fmla="*/ 420687 h 955675"/>
                    <a:gd name="connsiteX13" fmla="*/ 1467644 w 1628775"/>
                    <a:gd name="connsiteY13" fmla="*/ 369888 h 955675"/>
                    <a:gd name="connsiteX14" fmla="*/ 1463675 w 1628775"/>
                    <a:gd name="connsiteY14" fmla="*/ 328612 h 955675"/>
                    <a:gd name="connsiteX15" fmla="*/ 1434306 w 1628775"/>
                    <a:gd name="connsiteY15" fmla="*/ 307975 h 955675"/>
                    <a:gd name="connsiteX16" fmla="*/ 1384300 w 1628775"/>
                    <a:gd name="connsiteY16" fmla="*/ 275431 h 955675"/>
                    <a:gd name="connsiteX17" fmla="*/ 1327150 w 1628775"/>
                    <a:gd name="connsiteY17" fmla="*/ 263525 h 955675"/>
                    <a:gd name="connsiteX18" fmla="*/ 1296193 w 1628775"/>
                    <a:gd name="connsiteY18" fmla="*/ 304800 h 955675"/>
                    <a:gd name="connsiteX19" fmla="*/ 1247776 w 1628775"/>
                    <a:gd name="connsiteY19" fmla="*/ 260350 h 955675"/>
                    <a:gd name="connsiteX20" fmla="*/ 1234281 w 1628775"/>
                    <a:gd name="connsiteY20" fmla="*/ 215900 h 955675"/>
                    <a:gd name="connsiteX21" fmla="*/ 1173163 w 1628775"/>
                    <a:gd name="connsiteY21" fmla="*/ 153988 h 955675"/>
                    <a:gd name="connsiteX22" fmla="*/ 1134269 w 1628775"/>
                    <a:gd name="connsiteY22" fmla="*/ 111919 h 955675"/>
                    <a:gd name="connsiteX23" fmla="*/ 1048543 w 1628775"/>
                    <a:gd name="connsiteY23" fmla="*/ 125413 h 955675"/>
                    <a:gd name="connsiteX24" fmla="*/ 1000918 w 1628775"/>
                    <a:gd name="connsiteY24" fmla="*/ 139700 h 955675"/>
                    <a:gd name="connsiteX25" fmla="*/ 942182 w 1628775"/>
                    <a:gd name="connsiteY25" fmla="*/ 142081 h 955675"/>
                    <a:gd name="connsiteX26" fmla="*/ 902494 w 1628775"/>
                    <a:gd name="connsiteY26" fmla="*/ 210344 h 955675"/>
                    <a:gd name="connsiteX27" fmla="*/ 815182 w 1628775"/>
                    <a:gd name="connsiteY27" fmla="*/ 177800 h 955675"/>
                    <a:gd name="connsiteX28" fmla="*/ 776287 w 1628775"/>
                    <a:gd name="connsiteY28" fmla="*/ 162719 h 955675"/>
                    <a:gd name="connsiteX29" fmla="*/ 685800 w 1628775"/>
                    <a:gd name="connsiteY29" fmla="*/ 0 h 955675"/>
                    <a:gd name="connsiteX30" fmla="*/ 644525 w 1628775"/>
                    <a:gd name="connsiteY30" fmla="*/ 9525 h 955675"/>
                    <a:gd name="connsiteX31" fmla="*/ 596900 w 1628775"/>
                    <a:gd name="connsiteY31" fmla="*/ 79375 h 955675"/>
                    <a:gd name="connsiteX32" fmla="*/ 542925 w 1628775"/>
                    <a:gd name="connsiteY32" fmla="*/ 79375 h 955675"/>
                    <a:gd name="connsiteX33" fmla="*/ 546100 w 1628775"/>
                    <a:gd name="connsiteY33" fmla="*/ 25400 h 955675"/>
                    <a:gd name="connsiteX34" fmla="*/ 463550 w 1628775"/>
                    <a:gd name="connsiteY34" fmla="*/ 6350 h 955675"/>
                    <a:gd name="connsiteX35" fmla="*/ 412750 w 1628775"/>
                    <a:gd name="connsiteY35" fmla="*/ 28575 h 955675"/>
                    <a:gd name="connsiteX36" fmla="*/ 381000 w 1628775"/>
                    <a:gd name="connsiteY36" fmla="*/ 69850 h 955675"/>
                    <a:gd name="connsiteX37" fmla="*/ 352425 w 1628775"/>
                    <a:gd name="connsiteY37" fmla="*/ 98425 h 955675"/>
                    <a:gd name="connsiteX38" fmla="*/ 323850 w 1628775"/>
                    <a:gd name="connsiteY38" fmla="*/ 174625 h 955675"/>
                    <a:gd name="connsiteX39" fmla="*/ 323850 w 1628775"/>
                    <a:gd name="connsiteY39" fmla="*/ 206375 h 955675"/>
                    <a:gd name="connsiteX40" fmla="*/ 323850 w 1628775"/>
                    <a:gd name="connsiteY40" fmla="*/ 288925 h 955675"/>
                    <a:gd name="connsiteX41" fmla="*/ 336550 w 1628775"/>
                    <a:gd name="connsiteY41" fmla="*/ 330200 h 955675"/>
                    <a:gd name="connsiteX42" fmla="*/ 323850 w 1628775"/>
                    <a:gd name="connsiteY42" fmla="*/ 381000 h 955675"/>
                    <a:gd name="connsiteX43" fmla="*/ 266700 w 1628775"/>
                    <a:gd name="connsiteY43" fmla="*/ 377825 h 955675"/>
                    <a:gd name="connsiteX44" fmla="*/ 284162 w 1628775"/>
                    <a:gd name="connsiteY44" fmla="*/ 400844 h 955675"/>
                    <a:gd name="connsiteX45" fmla="*/ 247650 w 1628775"/>
                    <a:gd name="connsiteY45" fmla="*/ 431800 h 955675"/>
                    <a:gd name="connsiteX46" fmla="*/ 181769 w 1628775"/>
                    <a:gd name="connsiteY46" fmla="*/ 424656 h 955675"/>
                    <a:gd name="connsiteX47" fmla="*/ 123825 w 1628775"/>
                    <a:gd name="connsiteY47" fmla="*/ 465931 h 955675"/>
                    <a:gd name="connsiteX48" fmla="*/ 70644 w 1628775"/>
                    <a:gd name="connsiteY48" fmla="*/ 510382 h 955675"/>
                    <a:gd name="connsiteX49" fmla="*/ 0 w 1628775"/>
                    <a:gd name="connsiteY49" fmla="*/ 584200 h 955675"/>
                    <a:gd name="connsiteX0" fmla="*/ 0 w 1628775"/>
                    <a:gd name="connsiteY0" fmla="*/ 577850 h 949325"/>
                    <a:gd name="connsiteX1" fmla="*/ 92075 w 1628775"/>
                    <a:gd name="connsiteY1" fmla="*/ 784225 h 949325"/>
                    <a:gd name="connsiteX2" fmla="*/ 200025 w 1628775"/>
                    <a:gd name="connsiteY2" fmla="*/ 949325 h 949325"/>
                    <a:gd name="connsiteX3" fmla="*/ 561975 w 1628775"/>
                    <a:gd name="connsiteY3" fmla="*/ 895350 h 949325"/>
                    <a:gd name="connsiteX4" fmla="*/ 911225 w 1628775"/>
                    <a:gd name="connsiteY4" fmla="*/ 654050 h 949325"/>
                    <a:gd name="connsiteX5" fmla="*/ 1212850 w 1628775"/>
                    <a:gd name="connsiteY5" fmla="*/ 606425 h 949325"/>
                    <a:gd name="connsiteX6" fmla="*/ 1416050 w 1628775"/>
                    <a:gd name="connsiteY6" fmla="*/ 650875 h 949325"/>
                    <a:gd name="connsiteX7" fmla="*/ 1628775 w 1628775"/>
                    <a:gd name="connsiteY7" fmla="*/ 682625 h 949325"/>
                    <a:gd name="connsiteX8" fmla="*/ 1603375 w 1628775"/>
                    <a:gd name="connsiteY8" fmla="*/ 581025 h 949325"/>
                    <a:gd name="connsiteX9" fmla="*/ 1567656 w 1628775"/>
                    <a:gd name="connsiteY9" fmla="*/ 548482 h 949325"/>
                    <a:gd name="connsiteX10" fmla="*/ 1567656 w 1628775"/>
                    <a:gd name="connsiteY10" fmla="*/ 488950 h 949325"/>
                    <a:gd name="connsiteX11" fmla="*/ 1528763 w 1628775"/>
                    <a:gd name="connsiteY11" fmla="*/ 446882 h 949325"/>
                    <a:gd name="connsiteX12" fmla="*/ 1473993 w 1628775"/>
                    <a:gd name="connsiteY12" fmla="*/ 414337 h 949325"/>
                    <a:gd name="connsiteX13" fmla="*/ 1467644 w 1628775"/>
                    <a:gd name="connsiteY13" fmla="*/ 363538 h 949325"/>
                    <a:gd name="connsiteX14" fmla="*/ 1463675 w 1628775"/>
                    <a:gd name="connsiteY14" fmla="*/ 322262 h 949325"/>
                    <a:gd name="connsiteX15" fmla="*/ 1434306 w 1628775"/>
                    <a:gd name="connsiteY15" fmla="*/ 301625 h 949325"/>
                    <a:gd name="connsiteX16" fmla="*/ 1384300 w 1628775"/>
                    <a:gd name="connsiteY16" fmla="*/ 269081 h 949325"/>
                    <a:gd name="connsiteX17" fmla="*/ 1327150 w 1628775"/>
                    <a:gd name="connsiteY17" fmla="*/ 257175 h 949325"/>
                    <a:gd name="connsiteX18" fmla="*/ 1296193 w 1628775"/>
                    <a:gd name="connsiteY18" fmla="*/ 298450 h 949325"/>
                    <a:gd name="connsiteX19" fmla="*/ 1247776 w 1628775"/>
                    <a:gd name="connsiteY19" fmla="*/ 254000 h 949325"/>
                    <a:gd name="connsiteX20" fmla="*/ 1234281 w 1628775"/>
                    <a:gd name="connsiteY20" fmla="*/ 209550 h 949325"/>
                    <a:gd name="connsiteX21" fmla="*/ 1173163 w 1628775"/>
                    <a:gd name="connsiteY21" fmla="*/ 147638 h 949325"/>
                    <a:gd name="connsiteX22" fmla="*/ 1134269 w 1628775"/>
                    <a:gd name="connsiteY22" fmla="*/ 105569 h 949325"/>
                    <a:gd name="connsiteX23" fmla="*/ 1048543 w 1628775"/>
                    <a:gd name="connsiteY23" fmla="*/ 119063 h 949325"/>
                    <a:gd name="connsiteX24" fmla="*/ 1000918 w 1628775"/>
                    <a:gd name="connsiteY24" fmla="*/ 133350 h 949325"/>
                    <a:gd name="connsiteX25" fmla="*/ 942182 w 1628775"/>
                    <a:gd name="connsiteY25" fmla="*/ 135731 h 949325"/>
                    <a:gd name="connsiteX26" fmla="*/ 902494 w 1628775"/>
                    <a:gd name="connsiteY26" fmla="*/ 203994 h 949325"/>
                    <a:gd name="connsiteX27" fmla="*/ 815182 w 1628775"/>
                    <a:gd name="connsiteY27" fmla="*/ 171450 h 949325"/>
                    <a:gd name="connsiteX28" fmla="*/ 776287 w 1628775"/>
                    <a:gd name="connsiteY28" fmla="*/ 156369 h 949325"/>
                    <a:gd name="connsiteX29" fmla="*/ 671513 w 1628775"/>
                    <a:gd name="connsiteY29" fmla="*/ 96044 h 949325"/>
                    <a:gd name="connsiteX30" fmla="*/ 644525 w 1628775"/>
                    <a:gd name="connsiteY30" fmla="*/ 3175 h 949325"/>
                    <a:gd name="connsiteX31" fmla="*/ 596900 w 1628775"/>
                    <a:gd name="connsiteY31" fmla="*/ 73025 h 949325"/>
                    <a:gd name="connsiteX32" fmla="*/ 542925 w 1628775"/>
                    <a:gd name="connsiteY32" fmla="*/ 73025 h 949325"/>
                    <a:gd name="connsiteX33" fmla="*/ 546100 w 1628775"/>
                    <a:gd name="connsiteY33" fmla="*/ 19050 h 949325"/>
                    <a:gd name="connsiteX34" fmla="*/ 463550 w 1628775"/>
                    <a:gd name="connsiteY34" fmla="*/ 0 h 949325"/>
                    <a:gd name="connsiteX35" fmla="*/ 412750 w 1628775"/>
                    <a:gd name="connsiteY35" fmla="*/ 22225 h 949325"/>
                    <a:gd name="connsiteX36" fmla="*/ 381000 w 1628775"/>
                    <a:gd name="connsiteY36" fmla="*/ 63500 h 949325"/>
                    <a:gd name="connsiteX37" fmla="*/ 352425 w 1628775"/>
                    <a:gd name="connsiteY37" fmla="*/ 92075 h 949325"/>
                    <a:gd name="connsiteX38" fmla="*/ 323850 w 1628775"/>
                    <a:gd name="connsiteY38" fmla="*/ 168275 h 949325"/>
                    <a:gd name="connsiteX39" fmla="*/ 323850 w 1628775"/>
                    <a:gd name="connsiteY39" fmla="*/ 200025 h 949325"/>
                    <a:gd name="connsiteX40" fmla="*/ 323850 w 1628775"/>
                    <a:gd name="connsiteY40" fmla="*/ 282575 h 949325"/>
                    <a:gd name="connsiteX41" fmla="*/ 336550 w 1628775"/>
                    <a:gd name="connsiteY41" fmla="*/ 323850 h 949325"/>
                    <a:gd name="connsiteX42" fmla="*/ 323850 w 1628775"/>
                    <a:gd name="connsiteY42" fmla="*/ 374650 h 949325"/>
                    <a:gd name="connsiteX43" fmla="*/ 266700 w 1628775"/>
                    <a:gd name="connsiteY43" fmla="*/ 371475 h 949325"/>
                    <a:gd name="connsiteX44" fmla="*/ 284162 w 1628775"/>
                    <a:gd name="connsiteY44" fmla="*/ 394494 h 949325"/>
                    <a:gd name="connsiteX45" fmla="*/ 247650 w 1628775"/>
                    <a:gd name="connsiteY45" fmla="*/ 425450 h 949325"/>
                    <a:gd name="connsiteX46" fmla="*/ 181769 w 1628775"/>
                    <a:gd name="connsiteY46" fmla="*/ 418306 h 949325"/>
                    <a:gd name="connsiteX47" fmla="*/ 123825 w 1628775"/>
                    <a:gd name="connsiteY47" fmla="*/ 459581 h 949325"/>
                    <a:gd name="connsiteX48" fmla="*/ 70644 w 1628775"/>
                    <a:gd name="connsiteY48" fmla="*/ 504032 h 949325"/>
                    <a:gd name="connsiteX49" fmla="*/ 0 w 1628775"/>
                    <a:gd name="connsiteY49" fmla="*/ 577850 h 949325"/>
                    <a:gd name="connsiteX0" fmla="*/ 0 w 1628775"/>
                    <a:gd name="connsiteY0" fmla="*/ 577850 h 949325"/>
                    <a:gd name="connsiteX1" fmla="*/ 92075 w 1628775"/>
                    <a:gd name="connsiteY1" fmla="*/ 784225 h 949325"/>
                    <a:gd name="connsiteX2" fmla="*/ 200025 w 1628775"/>
                    <a:gd name="connsiteY2" fmla="*/ 949325 h 949325"/>
                    <a:gd name="connsiteX3" fmla="*/ 561975 w 1628775"/>
                    <a:gd name="connsiteY3" fmla="*/ 895350 h 949325"/>
                    <a:gd name="connsiteX4" fmla="*/ 911225 w 1628775"/>
                    <a:gd name="connsiteY4" fmla="*/ 654050 h 949325"/>
                    <a:gd name="connsiteX5" fmla="*/ 1212850 w 1628775"/>
                    <a:gd name="connsiteY5" fmla="*/ 606425 h 949325"/>
                    <a:gd name="connsiteX6" fmla="*/ 1416050 w 1628775"/>
                    <a:gd name="connsiteY6" fmla="*/ 650875 h 949325"/>
                    <a:gd name="connsiteX7" fmla="*/ 1628775 w 1628775"/>
                    <a:gd name="connsiteY7" fmla="*/ 682625 h 949325"/>
                    <a:gd name="connsiteX8" fmla="*/ 1603375 w 1628775"/>
                    <a:gd name="connsiteY8" fmla="*/ 581025 h 949325"/>
                    <a:gd name="connsiteX9" fmla="*/ 1567656 w 1628775"/>
                    <a:gd name="connsiteY9" fmla="*/ 548482 h 949325"/>
                    <a:gd name="connsiteX10" fmla="*/ 1567656 w 1628775"/>
                    <a:gd name="connsiteY10" fmla="*/ 488950 h 949325"/>
                    <a:gd name="connsiteX11" fmla="*/ 1528763 w 1628775"/>
                    <a:gd name="connsiteY11" fmla="*/ 446882 h 949325"/>
                    <a:gd name="connsiteX12" fmla="*/ 1473993 w 1628775"/>
                    <a:gd name="connsiteY12" fmla="*/ 414337 h 949325"/>
                    <a:gd name="connsiteX13" fmla="*/ 1467644 w 1628775"/>
                    <a:gd name="connsiteY13" fmla="*/ 363538 h 949325"/>
                    <a:gd name="connsiteX14" fmla="*/ 1463675 w 1628775"/>
                    <a:gd name="connsiteY14" fmla="*/ 322262 h 949325"/>
                    <a:gd name="connsiteX15" fmla="*/ 1434306 w 1628775"/>
                    <a:gd name="connsiteY15" fmla="*/ 301625 h 949325"/>
                    <a:gd name="connsiteX16" fmla="*/ 1384300 w 1628775"/>
                    <a:gd name="connsiteY16" fmla="*/ 269081 h 949325"/>
                    <a:gd name="connsiteX17" fmla="*/ 1327150 w 1628775"/>
                    <a:gd name="connsiteY17" fmla="*/ 257175 h 949325"/>
                    <a:gd name="connsiteX18" fmla="*/ 1296193 w 1628775"/>
                    <a:gd name="connsiteY18" fmla="*/ 298450 h 949325"/>
                    <a:gd name="connsiteX19" fmla="*/ 1247776 w 1628775"/>
                    <a:gd name="connsiteY19" fmla="*/ 254000 h 949325"/>
                    <a:gd name="connsiteX20" fmla="*/ 1234281 w 1628775"/>
                    <a:gd name="connsiteY20" fmla="*/ 209550 h 949325"/>
                    <a:gd name="connsiteX21" fmla="*/ 1173163 w 1628775"/>
                    <a:gd name="connsiteY21" fmla="*/ 147638 h 949325"/>
                    <a:gd name="connsiteX22" fmla="*/ 1134269 w 1628775"/>
                    <a:gd name="connsiteY22" fmla="*/ 105569 h 949325"/>
                    <a:gd name="connsiteX23" fmla="*/ 1048543 w 1628775"/>
                    <a:gd name="connsiteY23" fmla="*/ 119063 h 949325"/>
                    <a:gd name="connsiteX24" fmla="*/ 1000918 w 1628775"/>
                    <a:gd name="connsiteY24" fmla="*/ 133350 h 949325"/>
                    <a:gd name="connsiteX25" fmla="*/ 942182 w 1628775"/>
                    <a:gd name="connsiteY25" fmla="*/ 135731 h 949325"/>
                    <a:gd name="connsiteX26" fmla="*/ 902494 w 1628775"/>
                    <a:gd name="connsiteY26" fmla="*/ 203994 h 949325"/>
                    <a:gd name="connsiteX27" fmla="*/ 815182 w 1628775"/>
                    <a:gd name="connsiteY27" fmla="*/ 171450 h 949325"/>
                    <a:gd name="connsiteX28" fmla="*/ 776287 w 1628775"/>
                    <a:gd name="connsiteY28" fmla="*/ 156369 h 949325"/>
                    <a:gd name="connsiteX29" fmla="*/ 671513 w 1628775"/>
                    <a:gd name="connsiteY29" fmla="*/ 96044 h 949325"/>
                    <a:gd name="connsiteX30" fmla="*/ 651669 w 1628775"/>
                    <a:gd name="connsiteY30" fmla="*/ 129381 h 949325"/>
                    <a:gd name="connsiteX31" fmla="*/ 596900 w 1628775"/>
                    <a:gd name="connsiteY31" fmla="*/ 73025 h 949325"/>
                    <a:gd name="connsiteX32" fmla="*/ 542925 w 1628775"/>
                    <a:gd name="connsiteY32" fmla="*/ 73025 h 949325"/>
                    <a:gd name="connsiteX33" fmla="*/ 546100 w 1628775"/>
                    <a:gd name="connsiteY33" fmla="*/ 19050 h 949325"/>
                    <a:gd name="connsiteX34" fmla="*/ 463550 w 1628775"/>
                    <a:gd name="connsiteY34" fmla="*/ 0 h 949325"/>
                    <a:gd name="connsiteX35" fmla="*/ 412750 w 1628775"/>
                    <a:gd name="connsiteY35" fmla="*/ 22225 h 949325"/>
                    <a:gd name="connsiteX36" fmla="*/ 381000 w 1628775"/>
                    <a:gd name="connsiteY36" fmla="*/ 63500 h 949325"/>
                    <a:gd name="connsiteX37" fmla="*/ 352425 w 1628775"/>
                    <a:gd name="connsiteY37" fmla="*/ 92075 h 949325"/>
                    <a:gd name="connsiteX38" fmla="*/ 323850 w 1628775"/>
                    <a:gd name="connsiteY38" fmla="*/ 168275 h 949325"/>
                    <a:gd name="connsiteX39" fmla="*/ 323850 w 1628775"/>
                    <a:gd name="connsiteY39" fmla="*/ 200025 h 949325"/>
                    <a:gd name="connsiteX40" fmla="*/ 323850 w 1628775"/>
                    <a:gd name="connsiteY40" fmla="*/ 282575 h 949325"/>
                    <a:gd name="connsiteX41" fmla="*/ 336550 w 1628775"/>
                    <a:gd name="connsiteY41" fmla="*/ 323850 h 949325"/>
                    <a:gd name="connsiteX42" fmla="*/ 323850 w 1628775"/>
                    <a:gd name="connsiteY42" fmla="*/ 374650 h 949325"/>
                    <a:gd name="connsiteX43" fmla="*/ 266700 w 1628775"/>
                    <a:gd name="connsiteY43" fmla="*/ 371475 h 949325"/>
                    <a:gd name="connsiteX44" fmla="*/ 284162 w 1628775"/>
                    <a:gd name="connsiteY44" fmla="*/ 394494 h 949325"/>
                    <a:gd name="connsiteX45" fmla="*/ 247650 w 1628775"/>
                    <a:gd name="connsiteY45" fmla="*/ 425450 h 949325"/>
                    <a:gd name="connsiteX46" fmla="*/ 181769 w 1628775"/>
                    <a:gd name="connsiteY46" fmla="*/ 418306 h 949325"/>
                    <a:gd name="connsiteX47" fmla="*/ 123825 w 1628775"/>
                    <a:gd name="connsiteY47" fmla="*/ 459581 h 949325"/>
                    <a:gd name="connsiteX48" fmla="*/ 70644 w 1628775"/>
                    <a:gd name="connsiteY48" fmla="*/ 504032 h 949325"/>
                    <a:gd name="connsiteX49" fmla="*/ 0 w 1628775"/>
                    <a:gd name="connsiteY49" fmla="*/ 577850 h 949325"/>
                    <a:gd name="connsiteX0" fmla="*/ 0 w 1628775"/>
                    <a:gd name="connsiteY0" fmla="*/ 577850 h 949325"/>
                    <a:gd name="connsiteX1" fmla="*/ 92075 w 1628775"/>
                    <a:gd name="connsiteY1" fmla="*/ 784225 h 949325"/>
                    <a:gd name="connsiteX2" fmla="*/ 200025 w 1628775"/>
                    <a:gd name="connsiteY2" fmla="*/ 949325 h 949325"/>
                    <a:gd name="connsiteX3" fmla="*/ 561975 w 1628775"/>
                    <a:gd name="connsiteY3" fmla="*/ 895350 h 949325"/>
                    <a:gd name="connsiteX4" fmla="*/ 911225 w 1628775"/>
                    <a:gd name="connsiteY4" fmla="*/ 654050 h 949325"/>
                    <a:gd name="connsiteX5" fmla="*/ 1212850 w 1628775"/>
                    <a:gd name="connsiteY5" fmla="*/ 606425 h 949325"/>
                    <a:gd name="connsiteX6" fmla="*/ 1416050 w 1628775"/>
                    <a:gd name="connsiteY6" fmla="*/ 650875 h 949325"/>
                    <a:gd name="connsiteX7" fmla="*/ 1628775 w 1628775"/>
                    <a:gd name="connsiteY7" fmla="*/ 682625 h 949325"/>
                    <a:gd name="connsiteX8" fmla="*/ 1603375 w 1628775"/>
                    <a:gd name="connsiteY8" fmla="*/ 581025 h 949325"/>
                    <a:gd name="connsiteX9" fmla="*/ 1567656 w 1628775"/>
                    <a:gd name="connsiteY9" fmla="*/ 548482 h 949325"/>
                    <a:gd name="connsiteX10" fmla="*/ 1567656 w 1628775"/>
                    <a:gd name="connsiteY10" fmla="*/ 488950 h 949325"/>
                    <a:gd name="connsiteX11" fmla="*/ 1528763 w 1628775"/>
                    <a:gd name="connsiteY11" fmla="*/ 446882 h 949325"/>
                    <a:gd name="connsiteX12" fmla="*/ 1473993 w 1628775"/>
                    <a:gd name="connsiteY12" fmla="*/ 414337 h 949325"/>
                    <a:gd name="connsiteX13" fmla="*/ 1467644 w 1628775"/>
                    <a:gd name="connsiteY13" fmla="*/ 363538 h 949325"/>
                    <a:gd name="connsiteX14" fmla="*/ 1463675 w 1628775"/>
                    <a:gd name="connsiteY14" fmla="*/ 322262 h 949325"/>
                    <a:gd name="connsiteX15" fmla="*/ 1434306 w 1628775"/>
                    <a:gd name="connsiteY15" fmla="*/ 301625 h 949325"/>
                    <a:gd name="connsiteX16" fmla="*/ 1384300 w 1628775"/>
                    <a:gd name="connsiteY16" fmla="*/ 269081 h 949325"/>
                    <a:gd name="connsiteX17" fmla="*/ 1327150 w 1628775"/>
                    <a:gd name="connsiteY17" fmla="*/ 257175 h 949325"/>
                    <a:gd name="connsiteX18" fmla="*/ 1296193 w 1628775"/>
                    <a:gd name="connsiteY18" fmla="*/ 298450 h 949325"/>
                    <a:gd name="connsiteX19" fmla="*/ 1247776 w 1628775"/>
                    <a:gd name="connsiteY19" fmla="*/ 254000 h 949325"/>
                    <a:gd name="connsiteX20" fmla="*/ 1234281 w 1628775"/>
                    <a:gd name="connsiteY20" fmla="*/ 209550 h 949325"/>
                    <a:gd name="connsiteX21" fmla="*/ 1173163 w 1628775"/>
                    <a:gd name="connsiteY21" fmla="*/ 147638 h 949325"/>
                    <a:gd name="connsiteX22" fmla="*/ 1134269 w 1628775"/>
                    <a:gd name="connsiteY22" fmla="*/ 105569 h 949325"/>
                    <a:gd name="connsiteX23" fmla="*/ 1048543 w 1628775"/>
                    <a:gd name="connsiteY23" fmla="*/ 119063 h 949325"/>
                    <a:gd name="connsiteX24" fmla="*/ 1000918 w 1628775"/>
                    <a:gd name="connsiteY24" fmla="*/ 133350 h 949325"/>
                    <a:gd name="connsiteX25" fmla="*/ 942182 w 1628775"/>
                    <a:gd name="connsiteY25" fmla="*/ 135731 h 949325"/>
                    <a:gd name="connsiteX26" fmla="*/ 902494 w 1628775"/>
                    <a:gd name="connsiteY26" fmla="*/ 203994 h 949325"/>
                    <a:gd name="connsiteX27" fmla="*/ 815182 w 1628775"/>
                    <a:gd name="connsiteY27" fmla="*/ 171450 h 949325"/>
                    <a:gd name="connsiteX28" fmla="*/ 776287 w 1628775"/>
                    <a:gd name="connsiteY28" fmla="*/ 156369 h 949325"/>
                    <a:gd name="connsiteX29" fmla="*/ 671513 w 1628775"/>
                    <a:gd name="connsiteY29" fmla="*/ 96044 h 949325"/>
                    <a:gd name="connsiteX30" fmla="*/ 651669 w 1628775"/>
                    <a:gd name="connsiteY30" fmla="*/ 129381 h 949325"/>
                    <a:gd name="connsiteX31" fmla="*/ 596900 w 1628775"/>
                    <a:gd name="connsiteY31" fmla="*/ 130175 h 949325"/>
                    <a:gd name="connsiteX32" fmla="*/ 542925 w 1628775"/>
                    <a:gd name="connsiteY32" fmla="*/ 73025 h 949325"/>
                    <a:gd name="connsiteX33" fmla="*/ 546100 w 1628775"/>
                    <a:gd name="connsiteY33" fmla="*/ 19050 h 949325"/>
                    <a:gd name="connsiteX34" fmla="*/ 463550 w 1628775"/>
                    <a:gd name="connsiteY34" fmla="*/ 0 h 949325"/>
                    <a:gd name="connsiteX35" fmla="*/ 412750 w 1628775"/>
                    <a:gd name="connsiteY35" fmla="*/ 22225 h 949325"/>
                    <a:gd name="connsiteX36" fmla="*/ 381000 w 1628775"/>
                    <a:gd name="connsiteY36" fmla="*/ 63500 h 949325"/>
                    <a:gd name="connsiteX37" fmla="*/ 352425 w 1628775"/>
                    <a:gd name="connsiteY37" fmla="*/ 92075 h 949325"/>
                    <a:gd name="connsiteX38" fmla="*/ 323850 w 1628775"/>
                    <a:gd name="connsiteY38" fmla="*/ 168275 h 949325"/>
                    <a:gd name="connsiteX39" fmla="*/ 323850 w 1628775"/>
                    <a:gd name="connsiteY39" fmla="*/ 200025 h 949325"/>
                    <a:gd name="connsiteX40" fmla="*/ 323850 w 1628775"/>
                    <a:gd name="connsiteY40" fmla="*/ 282575 h 949325"/>
                    <a:gd name="connsiteX41" fmla="*/ 336550 w 1628775"/>
                    <a:gd name="connsiteY41" fmla="*/ 323850 h 949325"/>
                    <a:gd name="connsiteX42" fmla="*/ 323850 w 1628775"/>
                    <a:gd name="connsiteY42" fmla="*/ 374650 h 949325"/>
                    <a:gd name="connsiteX43" fmla="*/ 266700 w 1628775"/>
                    <a:gd name="connsiteY43" fmla="*/ 371475 h 949325"/>
                    <a:gd name="connsiteX44" fmla="*/ 284162 w 1628775"/>
                    <a:gd name="connsiteY44" fmla="*/ 394494 h 949325"/>
                    <a:gd name="connsiteX45" fmla="*/ 247650 w 1628775"/>
                    <a:gd name="connsiteY45" fmla="*/ 425450 h 949325"/>
                    <a:gd name="connsiteX46" fmla="*/ 181769 w 1628775"/>
                    <a:gd name="connsiteY46" fmla="*/ 418306 h 949325"/>
                    <a:gd name="connsiteX47" fmla="*/ 123825 w 1628775"/>
                    <a:gd name="connsiteY47" fmla="*/ 459581 h 949325"/>
                    <a:gd name="connsiteX48" fmla="*/ 70644 w 1628775"/>
                    <a:gd name="connsiteY48" fmla="*/ 504032 h 949325"/>
                    <a:gd name="connsiteX49" fmla="*/ 0 w 1628775"/>
                    <a:gd name="connsiteY49" fmla="*/ 577850 h 949325"/>
                    <a:gd name="connsiteX0" fmla="*/ 0 w 1628775"/>
                    <a:gd name="connsiteY0" fmla="*/ 577850 h 949325"/>
                    <a:gd name="connsiteX1" fmla="*/ 92075 w 1628775"/>
                    <a:gd name="connsiteY1" fmla="*/ 784225 h 949325"/>
                    <a:gd name="connsiteX2" fmla="*/ 200025 w 1628775"/>
                    <a:gd name="connsiteY2" fmla="*/ 949325 h 949325"/>
                    <a:gd name="connsiteX3" fmla="*/ 561975 w 1628775"/>
                    <a:gd name="connsiteY3" fmla="*/ 895350 h 949325"/>
                    <a:gd name="connsiteX4" fmla="*/ 911225 w 1628775"/>
                    <a:gd name="connsiteY4" fmla="*/ 654050 h 949325"/>
                    <a:gd name="connsiteX5" fmla="*/ 1212850 w 1628775"/>
                    <a:gd name="connsiteY5" fmla="*/ 606425 h 949325"/>
                    <a:gd name="connsiteX6" fmla="*/ 1416050 w 1628775"/>
                    <a:gd name="connsiteY6" fmla="*/ 650875 h 949325"/>
                    <a:gd name="connsiteX7" fmla="*/ 1628775 w 1628775"/>
                    <a:gd name="connsiteY7" fmla="*/ 682625 h 949325"/>
                    <a:gd name="connsiteX8" fmla="*/ 1603375 w 1628775"/>
                    <a:gd name="connsiteY8" fmla="*/ 581025 h 949325"/>
                    <a:gd name="connsiteX9" fmla="*/ 1567656 w 1628775"/>
                    <a:gd name="connsiteY9" fmla="*/ 548482 h 949325"/>
                    <a:gd name="connsiteX10" fmla="*/ 1567656 w 1628775"/>
                    <a:gd name="connsiteY10" fmla="*/ 488950 h 949325"/>
                    <a:gd name="connsiteX11" fmla="*/ 1528763 w 1628775"/>
                    <a:gd name="connsiteY11" fmla="*/ 446882 h 949325"/>
                    <a:gd name="connsiteX12" fmla="*/ 1473993 w 1628775"/>
                    <a:gd name="connsiteY12" fmla="*/ 414337 h 949325"/>
                    <a:gd name="connsiteX13" fmla="*/ 1467644 w 1628775"/>
                    <a:gd name="connsiteY13" fmla="*/ 363538 h 949325"/>
                    <a:gd name="connsiteX14" fmla="*/ 1463675 w 1628775"/>
                    <a:gd name="connsiteY14" fmla="*/ 322262 h 949325"/>
                    <a:gd name="connsiteX15" fmla="*/ 1434306 w 1628775"/>
                    <a:gd name="connsiteY15" fmla="*/ 301625 h 949325"/>
                    <a:gd name="connsiteX16" fmla="*/ 1384300 w 1628775"/>
                    <a:gd name="connsiteY16" fmla="*/ 269081 h 949325"/>
                    <a:gd name="connsiteX17" fmla="*/ 1327150 w 1628775"/>
                    <a:gd name="connsiteY17" fmla="*/ 257175 h 949325"/>
                    <a:gd name="connsiteX18" fmla="*/ 1296193 w 1628775"/>
                    <a:gd name="connsiteY18" fmla="*/ 298450 h 949325"/>
                    <a:gd name="connsiteX19" fmla="*/ 1247776 w 1628775"/>
                    <a:gd name="connsiteY19" fmla="*/ 254000 h 949325"/>
                    <a:gd name="connsiteX20" fmla="*/ 1234281 w 1628775"/>
                    <a:gd name="connsiteY20" fmla="*/ 209550 h 949325"/>
                    <a:gd name="connsiteX21" fmla="*/ 1173163 w 1628775"/>
                    <a:gd name="connsiteY21" fmla="*/ 147638 h 949325"/>
                    <a:gd name="connsiteX22" fmla="*/ 1134269 w 1628775"/>
                    <a:gd name="connsiteY22" fmla="*/ 105569 h 949325"/>
                    <a:gd name="connsiteX23" fmla="*/ 1048543 w 1628775"/>
                    <a:gd name="connsiteY23" fmla="*/ 119063 h 949325"/>
                    <a:gd name="connsiteX24" fmla="*/ 1000918 w 1628775"/>
                    <a:gd name="connsiteY24" fmla="*/ 133350 h 949325"/>
                    <a:gd name="connsiteX25" fmla="*/ 942182 w 1628775"/>
                    <a:gd name="connsiteY25" fmla="*/ 135731 h 949325"/>
                    <a:gd name="connsiteX26" fmla="*/ 902494 w 1628775"/>
                    <a:gd name="connsiteY26" fmla="*/ 203994 h 949325"/>
                    <a:gd name="connsiteX27" fmla="*/ 815182 w 1628775"/>
                    <a:gd name="connsiteY27" fmla="*/ 171450 h 949325"/>
                    <a:gd name="connsiteX28" fmla="*/ 776287 w 1628775"/>
                    <a:gd name="connsiteY28" fmla="*/ 156369 h 949325"/>
                    <a:gd name="connsiteX29" fmla="*/ 671513 w 1628775"/>
                    <a:gd name="connsiteY29" fmla="*/ 96044 h 949325"/>
                    <a:gd name="connsiteX30" fmla="*/ 651669 w 1628775"/>
                    <a:gd name="connsiteY30" fmla="*/ 129381 h 949325"/>
                    <a:gd name="connsiteX31" fmla="*/ 596900 w 1628775"/>
                    <a:gd name="connsiteY31" fmla="*/ 130175 h 949325"/>
                    <a:gd name="connsiteX32" fmla="*/ 607219 w 1628775"/>
                    <a:gd name="connsiteY32" fmla="*/ 201613 h 949325"/>
                    <a:gd name="connsiteX33" fmla="*/ 546100 w 1628775"/>
                    <a:gd name="connsiteY33" fmla="*/ 19050 h 949325"/>
                    <a:gd name="connsiteX34" fmla="*/ 463550 w 1628775"/>
                    <a:gd name="connsiteY34" fmla="*/ 0 h 949325"/>
                    <a:gd name="connsiteX35" fmla="*/ 412750 w 1628775"/>
                    <a:gd name="connsiteY35" fmla="*/ 22225 h 949325"/>
                    <a:gd name="connsiteX36" fmla="*/ 381000 w 1628775"/>
                    <a:gd name="connsiteY36" fmla="*/ 63500 h 949325"/>
                    <a:gd name="connsiteX37" fmla="*/ 352425 w 1628775"/>
                    <a:gd name="connsiteY37" fmla="*/ 92075 h 949325"/>
                    <a:gd name="connsiteX38" fmla="*/ 323850 w 1628775"/>
                    <a:gd name="connsiteY38" fmla="*/ 168275 h 949325"/>
                    <a:gd name="connsiteX39" fmla="*/ 323850 w 1628775"/>
                    <a:gd name="connsiteY39" fmla="*/ 200025 h 949325"/>
                    <a:gd name="connsiteX40" fmla="*/ 323850 w 1628775"/>
                    <a:gd name="connsiteY40" fmla="*/ 282575 h 949325"/>
                    <a:gd name="connsiteX41" fmla="*/ 336550 w 1628775"/>
                    <a:gd name="connsiteY41" fmla="*/ 323850 h 949325"/>
                    <a:gd name="connsiteX42" fmla="*/ 323850 w 1628775"/>
                    <a:gd name="connsiteY42" fmla="*/ 374650 h 949325"/>
                    <a:gd name="connsiteX43" fmla="*/ 266700 w 1628775"/>
                    <a:gd name="connsiteY43" fmla="*/ 371475 h 949325"/>
                    <a:gd name="connsiteX44" fmla="*/ 284162 w 1628775"/>
                    <a:gd name="connsiteY44" fmla="*/ 394494 h 949325"/>
                    <a:gd name="connsiteX45" fmla="*/ 247650 w 1628775"/>
                    <a:gd name="connsiteY45" fmla="*/ 425450 h 949325"/>
                    <a:gd name="connsiteX46" fmla="*/ 181769 w 1628775"/>
                    <a:gd name="connsiteY46" fmla="*/ 418306 h 949325"/>
                    <a:gd name="connsiteX47" fmla="*/ 123825 w 1628775"/>
                    <a:gd name="connsiteY47" fmla="*/ 459581 h 949325"/>
                    <a:gd name="connsiteX48" fmla="*/ 70644 w 1628775"/>
                    <a:gd name="connsiteY48" fmla="*/ 504032 h 949325"/>
                    <a:gd name="connsiteX49" fmla="*/ 0 w 1628775"/>
                    <a:gd name="connsiteY49" fmla="*/ 577850 h 949325"/>
                    <a:gd name="connsiteX0" fmla="*/ 0 w 1628775"/>
                    <a:gd name="connsiteY0" fmla="*/ 577850 h 949325"/>
                    <a:gd name="connsiteX1" fmla="*/ 92075 w 1628775"/>
                    <a:gd name="connsiteY1" fmla="*/ 784225 h 949325"/>
                    <a:gd name="connsiteX2" fmla="*/ 200025 w 1628775"/>
                    <a:gd name="connsiteY2" fmla="*/ 949325 h 949325"/>
                    <a:gd name="connsiteX3" fmla="*/ 561975 w 1628775"/>
                    <a:gd name="connsiteY3" fmla="*/ 895350 h 949325"/>
                    <a:gd name="connsiteX4" fmla="*/ 911225 w 1628775"/>
                    <a:gd name="connsiteY4" fmla="*/ 654050 h 949325"/>
                    <a:gd name="connsiteX5" fmla="*/ 1212850 w 1628775"/>
                    <a:gd name="connsiteY5" fmla="*/ 606425 h 949325"/>
                    <a:gd name="connsiteX6" fmla="*/ 1416050 w 1628775"/>
                    <a:gd name="connsiteY6" fmla="*/ 650875 h 949325"/>
                    <a:gd name="connsiteX7" fmla="*/ 1628775 w 1628775"/>
                    <a:gd name="connsiteY7" fmla="*/ 682625 h 949325"/>
                    <a:gd name="connsiteX8" fmla="*/ 1603375 w 1628775"/>
                    <a:gd name="connsiteY8" fmla="*/ 581025 h 949325"/>
                    <a:gd name="connsiteX9" fmla="*/ 1567656 w 1628775"/>
                    <a:gd name="connsiteY9" fmla="*/ 548482 h 949325"/>
                    <a:gd name="connsiteX10" fmla="*/ 1567656 w 1628775"/>
                    <a:gd name="connsiteY10" fmla="*/ 488950 h 949325"/>
                    <a:gd name="connsiteX11" fmla="*/ 1528763 w 1628775"/>
                    <a:gd name="connsiteY11" fmla="*/ 446882 h 949325"/>
                    <a:gd name="connsiteX12" fmla="*/ 1473993 w 1628775"/>
                    <a:gd name="connsiteY12" fmla="*/ 414337 h 949325"/>
                    <a:gd name="connsiteX13" fmla="*/ 1467644 w 1628775"/>
                    <a:gd name="connsiteY13" fmla="*/ 363538 h 949325"/>
                    <a:gd name="connsiteX14" fmla="*/ 1463675 w 1628775"/>
                    <a:gd name="connsiteY14" fmla="*/ 322262 h 949325"/>
                    <a:gd name="connsiteX15" fmla="*/ 1434306 w 1628775"/>
                    <a:gd name="connsiteY15" fmla="*/ 301625 h 949325"/>
                    <a:gd name="connsiteX16" fmla="*/ 1384300 w 1628775"/>
                    <a:gd name="connsiteY16" fmla="*/ 269081 h 949325"/>
                    <a:gd name="connsiteX17" fmla="*/ 1327150 w 1628775"/>
                    <a:gd name="connsiteY17" fmla="*/ 257175 h 949325"/>
                    <a:gd name="connsiteX18" fmla="*/ 1296193 w 1628775"/>
                    <a:gd name="connsiteY18" fmla="*/ 298450 h 949325"/>
                    <a:gd name="connsiteX19" fmla="*/ 1247776 w 1628775"/>
                    <a:gd name="connsiteY19" fmla="*/ 254000 h 949325"/>
                    <a:gd name="connsiteX20" fmla="*/ 1234281 w 1628775"/>
                    <a:gd name="connsiteY20" fmla="*/ 209550 h 949325"/>
                    <a:gd name="connsiteX21" fmla="*/ 1173163 w 1628775"/>
                    <a:gd name="connsiteY21" fmla="*/ 147638 h 949325"/>
                    <a:gd name="connsiteX22" fmla="*/ 1134269 w 1628775"/>
                    <a:gd name="connsiteY22" fmla="*/ 105569 h 949325"/>
                    <a:gd name="connsiteX23" fmla="*/ 1048543 w 1628775"/>
                    <a:gd name="connsiteY23" fmla="*/ 119063 h 949325"/>
                    <a:gd name="connsiteX24" fmla="*/ 1000918 w 1628775"/>
                    <a:gd name="connsiteY24" fmla="*/ 133350 h 949325"/>
                    <a:gd name="connsiteX25" fmla="*/ 942182 w 1628775"/>
                    <a:gd name="connsiteY25" fmla="*/ 135731 h 949325"/>
                    <a:gd name="connsiteX26" fmla="*/ 902494 w 1628775"/>
                    <a:gd name="connsiteY26" fmla="*/ 203994 h 949325"/>
                    <a:gd name="connsiteX27" fmla="*/ 815182 w 1628775"/>
                    <a:gd name="connsiteY27" fmla="*/ 171450 h 949325"/>
                    <a:gd name="connsiteX28" fmla="*/ 776287 w 1628775"/>
                    <a:gd name="connsiteY28" fmla="*/ 156369 h 949325"/>
                    <a:gd name="connsiteX29" fmla="*/ 671513 w 1628775"/>
                    <a:gd name="connsiteY29" fmla="*/ 96044 h 949325"/>
                    <a:gd name="connsiteX30" fmla="*/ 651669 w 1628775"/>
                    <a:gd name="connsiteY30" fmla="*/ 129381 h 949325"/>
                    <a:gd name="connsiteX31" fmla="*/ 596900 w 1628775"/>
                    <a:gd name="connsiteY31" fmla="*/ 130175 h 949325"/>
                    <a:gd name="connsiteX32" fmla="*/ 607219 w 1628775"/>
                    <a:gd name="connsiteY32" fmla="*/ 201613 h 949325"/>
                    <a:gd name="connsiteX33" fmla="*/ 561975 w 1628775"/>
                    <a:gd name="connsiteY33" fmla="*/ 63500 h 949325"/>
                    <a:gd name="connsiteX34" fmla="*/ 546100 w 1628775"/>
                    <a:gd name="connsiteY34" fmla="*/ 19050 h 949325"/>
                    <a:gd name="connsiteX35" fmla="*/ 463550 w 1628775"/>
                    <a:gd name="connsiteY35" fmla="*/ 0 h 949325"/>
                    <a:gd name="connsiteX36" fmla="*/ 412750 w 1628775"/>
                    <a:gd name="connsiteY36" fmla="*/ 22225 h 949325"/>
                    <a:gd name="connsiteX37" fmla="*/ 381000 w 1628775"/>
                    <a:gd name="connsiteY37" fmla="*/ 63500 h 949325"/>
                    <a:gd name="connsiteX38" fmla="*/ 352425 w 1628775"/>
                    <a:gd name="connsiteY38" fmla="*/ 92075 h 949325"/>
                    <a:gd name="connsiteX39" fmla="*/ 323850 w 1628775"/>
                    <a:gd name="connsiteY39" fmla="*/ 168275 h 949325"/>
                    <a:gd name="connsiteX40" fmla="*/ 323850 w 1628775"/>
                    <a:gd name="connsiteY40" fmla="*/ 200025 h 949325"/>
                    <a:gd name="connsiteX41" fmla="*/ 323850 w 1628775"/>
                    <a:gd name="connsiteY41" fmla="*/ 282575 h 949325"/>
                    <a:gd name="connsiteX42" fmla="*/ 336550 w 1628775"/>
                    <a:gd name="connsiteY42" fmla="*/ 323850 h 949325"/>
                    <a:gd name="connsiteX43" fmla="*/ 323850 w 1628775"/>
                    <a:gd name="connsiteY43" fmla="*/ 374650 h 949325"/>
                    <a:gd name="connsiteX44" fmla="*/ 266700 w 1628775"/>
                    <a:gd name="connsiteY44" fmla="*/ 371475 h 949325"/>
                    <a:gd name="connsiteX45" fmla="*/ 284162 w 1628775"/>
                    <a:gd name="connsiteY45" fmla="*/ 394494 h 949325"/>
                    <a:gd name="connsiteX46" fmla="*/ 247650 w 1628775"/>
                    <a:gd name="connsiteY46" fmla="*/ 425450 h 949325"/>
                    <a:gd name="connsiteX47" fmla="*/ 181769 w 1628775"/>
                    <a:gd name="connsiteY47" fmla="*/ 418306 h 949325"/>
                    <a:gd name="connsiteX48" fmla="*/ 123825 w 1628775"/>
                    <a:gd name="connsiteY48" fmla="*/ 459581 h 949325"/>
                    <a:gd name="connsiteX49" fmla="*/ 70644 w 1628775"/>
                    <a:gd name="connsiteY49" fmla="*/ 504032 h 949325"/>
                    <a:gd name="connsiteX50" fmla="*/ 0 w 1628775"/>
                    <a:gd name="connsiteY50" fmla="*/ 577850 h 949325"/>
                    <a:gd name="connsiteX0" fmla="*/ 0 w 1628775"/>
                    <a:gd name="connsiteY0" fmla="*/ 577850 h 949325"/>
                    <a:gd name="connsiteX1" fmla="*/ 92075 w 1628775"/>
                    <a:gd name="connsiteY1" fmla="*/ 784225 h 949325"/>
                    <a:gd name="connsiteX2" fmla="*/ 200025 w 1628775"/>
                    <a:gd name="connsiteY2" fmla="*/ 949325 h 949325"/>
                    <a:gd name="connsiteX3" fmla="*/ 561975 w 1628775"/>
                    <a:gd name="connsiteY3" fmla="*/ 895350 h 949325"/>
                    <a:gd name="connsiteX4" fmla="*/ 911225 w 1628775"/>
                    <a:gd name="connsiteY4" fmla="*/ 654050 h 949325"/>
                    <a:gd name="connsiteX5" fmla="*/ 1212850 w 1628775"/>
                    <a:gd name="connsiteY5" fmla="*/ 606425 h 949325"/>
                    <a:gd name="connsiteX6" fmla="*/ 1416050 w 1628775"/>
                    <a:gd name="connsiteY6" fmla="*/ 650875 h 949325"/>
                    <a:gd name="connsiteX7" fmla="*/ 1628775 w 1628775"/>
                    <a:gd name="connsiteY7" fmla="*/ 682625 h 949325"/>
                    <a:gd name="connsiteX8" fmla="*/ 1603375 w 1628775"/>
                    <a:gd name="connsiteY8" fmla="*/ 581025 h 949325"/>
                    <a:gd name="connsiteX9" fmla="*/ 1567656 w 1628775"/>
                    <a:gd name="connsiteY9" fmla="*/ 548482 h 949325"/>
                    <a:gd name="connsiteX10" fmla="*/ 1567656 w 1628775"/>
                    <a:gd name="connsiteY10" fmla="*/ 488950 h 949325"/>
                    <a:gd name="connsiteX11" fmla="*/ 1528763 w 1628775"/>
                    <a:gd name="connsiteY11" fmla="*/ 446882 h 949325"/>
                    <a:gd name="connsiteX12" fmla="*/ 1473993 w 1628775"/>
                    <a:gd name="connsiteY12" fmla="*/ 414337 h 949325"/>
                    <a:gd name="connsiteX13" fmla="*/ 1467644 w 1628775"/>
                    <a:gd name="connsiteY13" fmla="*/ 363538 h 949325"/>
                    <a:gd name="connsiteX14" fmla="*/ 1463675 w 1628775"/>
                    <a:gd name="connsiteY14" fmla="*/ 322262 h 949325"/>
                    <a:gd name="connsiteX15" fmla="*/ 1434306 w 1628775"/>
                    <a:gd name="connsiteY15" fmla="*/ 301625 h 949325"/>
                    <a:gd name="connsiteX16" fmla="*/ 1384300 w 1628775"/>
                    <a:gd name="connsiteY16" fmla="*/ 269081 h 949325"/>
                    <a:gd name="connsiteX17" fmla="*/ 1327150 w 1628775"/>
                    <a:gd name="connsiteY17" fmla="*/ 257175 h 949325"/>
                    <a:gd name="connsiteX18" fmla="*/ 1296193 w 1628775"/>
                    <a:gd name="connsiteY18" fmla="*/ 298450 h 949325"/>
                    <a:gd name="connsiteX19" fmla="*/ 1247776 w 1628775"/>
                    <a:gd name="connsiteY19" fmla="*/ 254000 h 949325"/>
                    <a:gd name="connsiteX20" fmla="*/ 1234281 w 1628775"/>
                    <a:gd name="connsiteY20" fmla="*/ 209550 h 949325"/>
                    <a:gd name="connsiteX21" fmla="*/ 1173163 w 1628775"/>
                    <a:gd name="connsiteY21" fmla="*/ 147638 h 949325"/>
                    <a:gd name="connsiteX22" fmla="*/ 1134269 w 1628775"/>
                    <a:gd name="connsiteY22" fmla="*/ 105569 h 949325"/>
                    <a:gd name="connsiteX23" fmla="*/ 1048543 w 1628775"/>
                    <a:gd name="connsiteY23" fmla="*/ 119063 h 949325"/>
                    <a:gd name="connsiteX24" fmla="*/ 1000918 w 1628775"/>
                    <a:gd name="connsiteY24" fmla="*/ 133350 h 949325"/>
                    <a:gd name="connsiteX25" fmla="*/ 942182 w 1628775"/>
                    <a:gd name="connsiteY25" fmla="*/ 135731 h 949325"/>
                    <a:gd name="connsiteX26" fmla="*/ 902494 w 1628775"/>
                    <a:gd name="connsiteY26" fmla="*/ 203994 h 949325"/>
                    <a:gd name="connsiteX27" fmla="*/ 815182 w 1628775"/>
                    <a:gd name="connsiteY27" fmla="*/ 171450 h 949325"/>
                    <a:gd name="connsiteX28" fmla="*/ 776287 w 1628775"/>
                    <a:gd name="connsiteY28" fmla="*/ 156369 h 949325"/>
                    <a:gd name="connsiteX29" fmla="*/ 671513 w 1628775"/>
                    <a:gd name="connsiteY29" fmla="*/ 96044 h 949325"/>
                    <a:gd name="connsiteX30" fmla="*/ 651669 w 1628775"/>
                    <a:gd name="connsiteY30" fmla="*/ 129381 h 949325"/>
                    <a:gd name="connsiteX31" fmla="*/ 596900 w 1628775"/>
                    <a:gd name="connsiteY31" fmla="*/ 130175 h 949325"/>
                    <a:gd name="connsiteX32" fmla="*/ 607219 w 1628775"/>
                    <a:gd name="connsiteY32" fmla="*/ 201613 h 949325"/>
                    <a:gd name="connsiteX33" fmla="*/ 511969 w 1628775"/>
                    <a:gd name="connsiteY33" fmla="*/ 168275 h 949325"/>
                    <a:gd name="connsiteX34" fmla="*/ 546100 w 1628775"/>
                    <a:gd name="connsiteY34" fmla="*/ 19050 h 949325"/>
                    <a:gd name="connsiteX35" fmla="*/ 463550 w 1628775"/>
                    <a:gd name="connsiteY35" fmla="*/ 0 h 949325"/>
                    <a:gd name="connsiteX36" fmla="*/ 412750 w 1628775"/>
                    <a:gd name="connsiteY36" fmla="*/ 22225 h 949325"/>
                    <a:gd name="connsiteX37" fmla="*/ 381000 w 1628775"/>
                    <a:gd name="connsiteY37" fmla="*/ 63500 h 949325"/>
                    <a:gd name="connsiteX38" fmla="*/ 352425 w 1628775"/>
                    <a:gd name="connsiteY38" fmla="*/ 92075 h 949325"/>
                    <a:gd name="connsiteX39" fmla="*/ 323850 w 1628775"/>
                    <a:gd name="connsiteY39" fmla="*/ 168275 h 949325"/>
                    <a:gd name="connsiteX40" fmla="*/ 323850 w 1628775"/>
                    <a:gd name="connsiteY40" fmla="*/ 200025 h 949325"/>
                    <a:gd name="connsiteX41" fmla="*/ 323850 w 1628775"/>
                    <a:gd name="connsiteY41" fmla="*/ 282575 h 949325"/>
                    <a:gd name="connsiteX42" fmla="*/ 336550 w 1628775"/>
                    <a:gd name="connsiteY42" fmla="*/ 323850 h 949325"/>
                    <a:gd name="connsiteX43" fmla="*/ 323850 w 1628775"/>
                    <a:gd name="connsiteY43" fmla="*/ 374650 h 949325"/>
                    <a:gd name="connsiteX44" fmla="*/ 266700 w 1628775"/>
                    <a:gd name="connsiteY44" fmla="*/ 371475 h 949325"/>
                    <a:gd name="connsiteX45" fmla="*/ 284162 w 1628775"/>
                    <a:gd name="connsiteY45" fmla="*/ 394494 h 949325"/>
                    <a:gd name="connsiteX46" fmla="*/ 247650 w 1628775"/>
                    <a:gd name="connsiteY46" fmla="*/ 425450 h 949325"/>
                    <a:gd name="connsiteX47" fmla="*/ 181769 w 1628775"/>
                    <a:gd name="connsiteY47" fmla="*/ 418306 h 949325"/>
                    <a:gd name="connsiteX48" fmla="*/ 123825 w 1628775"/>
                    <a:gd name="connsiteY48" fmla="*/ 459581 h 949325"/>
                    <a:gd name="connsiteX49" fmla="*/ 70644 w 1628775"/>
                    <a:gd name="connsiteY49" fmla="*/ 504032 h 949325"/>
                    <a:gd name="connsiteX50" fmla="*/ 0 w 1628775"/>
                    <a:gd name="connsiteY50" fmla="*/ 577850 h 949325"/>
                    <a:gd name="connsiteX0" fmla="*/ 0 w 1628775"/>
                    <a:gd name="connsiteY0" fmla="*/ 577850 h 949325"/>
                    <a:gd name="connsiteX1" fmla="*/ 92075 w 1628775"/>
                    <a:gd name="connsiteY1" fmla="*/ 784225 h 949325"/>
                    <a:gd name="connsiteX2" fmla="*/ 200025 w 1628775"/>
                    <a:gd name="connsiteY2" fmla="*/ 949325 h 949325"/>
                    <a:gd name="connsiteX3" fmla="*/ 561975 w 1628775"/>
                    <a:gd name="connsiteY3" fmla="*/ 895350 h 949325"/>
                    <a:gd name="connsiteX4" fmla="*/ 911225 w 1628775"/>
                    <a:gd name="connsiteY4" fmla="*/ 654050 h 949325"/>
                    <a:gd name="connsiteX5" fmla="*/ 1212850 w 1628775"/>
                    <a:gd name="connsiteY5" fmla="*/ 606425 h 949325"/>
                    <a:gd name="connsiteX6" fmla="*/ 1416050 w 1628775"/>
                    <a:gd name="connsiteY6" fmla="*/ 650875 h 949325"/>
                    <a:gd name="connsiteX7" fmla="*/ 1628775 w 1628775"/>
                    <a:gd name="connsiteY7" fmla="*/ 682625 h 949325"/>
                    <a:gd name="connsiteX8" fmla="*/ 1603375 w 1628775"/>
                    <a:gd name="connsiteY8" fmla="*/ 581025 h 949325"/>
                    <a:gd name="connsiteX9" fmla="*/ 1567656 w 1628775"/>
                    <a:gd name="connsiteY9" fmla="*/ 548482 h 949325"/>
                    <a:gd name="connsiteX10" fmla="*/ 1567656 w 1628775"/>
                    <a:gd name="connsiteY10" fmla="*/ 488950 h 949325"/>
                    <a:gd name="connsiteX11" fmla="*/ 1528763 w 1628775"/>
                    <a:gd name="connsiteY11" fmla="*/ 446882 h 949325"/>
                    <a:gd name="connsiteX12" fmla="*/ 1473993 w 1628775"/>
                    <a:gd name="connsiteY12" fmla="*/ 414337 h 949325"/>
                    <a:gd name="connsiteX13" fmla="*/ 1467644 w 1628775"/>
                    <a:gd name="connsiteY13" fmla="*/ 363538 h 949325"/>
                    <a:gd name="connsiteX14" fmla="*/ 1463675 w 1628775"/>
                    <a:gd name="connsiteY14" fmla="*/ 322262 h 949325"/>
                    <a:gd name="connsiteX15" fmla="*/ 1434306 w 1628775"/>
                    <a:gd name="connsiteY15" fmla="*/ 301625 h 949325"/>
                    <a:gd name="connsiteX16" fmla="*/ 1384300 w 1628775"/>
                    <a:gd name="connsiteY16" fmla="*/ 269081 h 949325"/>
                    <a:gd name="connsiteX17" fmla="*/ 1327150 w 1628775"/>
                    <a:gd name="connsiteY17" fmla="*/ 257175 h 949325"/>
                    <a:gd name="connsiteX18" fmla="*/ 1296193 w 1628775"/>
                    <a:gd name="connsiteY18" fmla="*/ 298450 h 949325"/>
                    <a:gd name="connsiteX19" fmla="*/ 1247776 w 1628775"/>
                    <a:gd name="connsiteY19" fmla="*/ 254000 h 949325"/>
                    <a:gd name="connsiteX20" fmla="*/ 1234281 w 1628775"/>
                    <a:gd name="connsiteY20" fmla="*/ 209550 h 949325"/>
                    <a:gd name="connsiteX21" fmla="*/ 1173163 w 1628775"/>
                    <a:gd name="connsiteY21" fmla="*/ 147638 h 949325"/>
                    <a:gd name="connsiteX22" fmla="*/ 1134269 w 1628775"/>
                    <a:gd name="connsiteY22" fmla="*/ 105569 h 949325"/>
                    <a:gd name="connsiteX23" fmla="*/ 1048543 w 1628775"/>
                    <a:gd name="connsiteY23" fmla="*/ 119063 h 949325"/>
                    <a:gd name="connsiteX24" fmla="*/ 1000918 w 1628775"/>
                    <a:gd name="connsiteY24" fmla="*/ 133350 h 949325"/>
                    <a:gd name="connsiteX25" fmla="*/ 942182 w 1628775"/>
                    <a:gd name="connsiteY25" fmla="*/ 135731 h 949325"/>
                    <a:gd name="connsiteX26" fmla="*/ 902494 w 1628775"/>
                    <a:gd name="connsiteY26" fmla="*/ 203994 h 949325"/>
                    <a:gd name="connsiteX27" fmla="*/ 815182 w 1628775"/>
                    <a:gd name="connsiteY27" fmla="*/ 171450 h 949325"/>
                    <a:gd name="connsiteX28" fmla="*/ 776287 w 1628775"/>
                    <a:gd name="connsiteY28" fmla="*/ 156369 h 949325"/>
                    <a:gd name="connsiteX29" fmla="*/ 671513 w 1628775"/>
                    <a:gd name="connsiteY29" fmla="*/ 96044 h 949325"/>
                    <a:gd name="connsiteX30" fmla="*/ 651669 w 1628775"/>
                    <a:gd name="connsiteY30" fmla="*/ 129381 h 949325"/>
                    <a:gd name="connsiteX31" fmla="*/ 596900 w 1628775"/>
                    <a:gd name="connsiteY31" fmla="*/ 130175 h 949325"/>
                    <a:gd name="connsiteX32" fmla="*/ 607219 w 1628775"/>
                    <a:gd name="connsiteY32" fmla="*/ 201613 h 949325"/>
                    <a:gd name="connsiteX33" fmla="*/ 511969 w 1628775"/>
                    <a:gd name="connsiteY33" fmla="*/ 168275 h 949325"/>
                    <a:gd name="connsiteX34" fmla="*/ 512762 w 1628775"/>
                    <a:gd name="connsiteY34" fmla="*/ 54768 h 949325"/>
                    <a:gd name="connsiteX35" fmla="*/ 463550 w 1628775"/>
                    <a:gd name="connsiteY35" fmla="*/ 0 h 949325"/>
                    <a:gd name="connsiteX36" fmla="*/ 412750 w 1628775"/>
                    <a:gd name="connsiteY36" fmla="*/ 22225 h 949325"/>
                    <a:gd name="connsiteX37" fmla="*/ 381000 w 1628775"/>
                    <a:gd name="connsiteY37" fmla="*/ 63500 h 949325"/>
                    <a:gd name="connsiteX38" fmla="*/ 352425 w 1628775"/>
                    <a:gd name="connsiteY38" fmla="*/ 92075 h 949325"/>
                    <a:gd name="connsiteX39" fmla="*/ 323850 w 1628775"/>
                    <a:gd name="connsiteY39" fmla="*/ 168275 h 949325"/>
                    <a:gd name="connsiteX40" fmla="*/ 323850 w 1628775"/>
                    <a:gd name="connsiteY40" fmla="*/ 200025 h 949325"/>
                    <a:gd name="connsiteX41" fmla="*/ 323850 w 1628775"/>
                    <a:gd name="connsiteY41" fmla="*/ 282575 h 949325"/>
                    <a:gd name="connsiteX42" fmla="*/ 336550 w 1628775"/>
                    <a:gd name="connsiteY42" fmla="*/ 323850 h 949325"/>
                    <a:gd name="connsiteX43" fmla="*/ 323850 w 1628775"/>
                    <a:gd name="connsiteY43" fmla="*/ 374650 h 949325"/>
                    <a:gd name="connsiteX44" fmla="*/ 266700 w 1628775"/>
                    <a:gd name="connsiteY44" fmla="*/ 371475 h 949325"/>
                    <a:gd name="connsiteX45" fmla="*/ 284162 w 1628775"/>
                    <a:gd name="connsiteY45" fmla="*/ 394494 h 949325"/>
                    <a:gd name="connsiteX46" fmla="*/ 247650 w 1628775"/>
                    <a:gd name="connsiteY46" fmla="*/ 425450 h 949325"/>
                    <a:gd name="connsiteX47" fmla="*/ 181769 w 1628775"/>
                    <a:gd name="connsiteY47" fmla="*/ 418306 h 949325"/>
                    <a:gd name="connsiteX48" fmla="*/ 123825 w 1628775"/>
                    <a:gd name="connsiteY48" fmla="*/ 459581 h 949325"/>
                    <a:gd name="connsiteX49" fmla="*/ 70644 w 1628775"/>
                    <a:gd name="connsiteY49" fmla="*/ 504032 h 949325"/>
                    <a:gd name="connsiteX50" fmla="*/ 0 w 1628775"/>
                    <a:gd name="connsiteY50" fmla="*/ 577850 h 949325"/>
                    <a:gd name="connsiteX0" fmla="*/ 0 w 1628775"/>
                    <a:gd name="connsiteY0" fmla="*/ 555625 h 927100"/>
                    <a:gd name="connsiteX1" fmla="*/ 92075 w 1628775"/>
                    <a:gd name="connsiteY1" fmla="*/ 762000 h 927100"/>
                    <a:gd name="connsiteX2" fmla="*/ 200025 w 1628775"/>
                    <a:gd name="connsiteY2" fmla="*/ 927100 h 927100"/>
                    <a:gd name="connsiteX3" fmla="*/ 561975 w 1628775"/>
                    <a:gd name="connsiteY3" fmla="*/ 873125 h 927100"/>
                    <a:gd name="connsiteX4" fmla="*/ 911225 w 1628775"/>
                    <a:gd name="connsiteY4" fmla="*/ 631825 h 927100"/>
                    <a:gd name="connsiteX5" fmla="*/ 1212850 w 1628775"/>
                    <a:gd name="connsiteY5" fmla="*/ 584200 h 927100"/>
                    <a:gd name="connsiteX6" fmla="*/ 1416050 w 1628775"/>
                    <a:gd name="connsiteY6" fmla="*/ 628650 h 927100"/>
                    <a:gd name="connsiteX7" fmla="*/ 1628775 w 1628775"/>
                    <a:gd name="connsiteY7" fmla="*/ 660400 h 927100"/>
                    <a:gd name="connsiteX8" fmla="*/ 1603375 w 1628775"/>
                    <a:gd name="connsiteY8" fmla="*/ 558800 h 927100"/>
                    <a:gd name="connsiteX9" fmla="*/ 1567656 w 1628775"/>
                    <a:gd name="connsiteY9" fmla="*/ 526257 h 927100"/>
                    <a:gd name="connsiteX10" fmla="*/ 1567656 w 1628775"/>
                    <a:gd name="connsiteY10" fmla="*/ 466725 h 927100"/>
                    <a:gd name="connsiteX11" fmla="*/ 1528763 w 1628775"/>
                    <a:gd name="connsiteY11" fmla="*/ 424657 h 927100"/>
                    <a:gd name="connsiteX12" fmla="*/ 1473993 w 1628775"/>
                    <a:gd name="connsiteY12" fmla="*/ 392112 h 927100"/>
                    <a:gd name="connsiteX13" fmla="*/ 1467644 w 1628775"/>
                    <a:gd name="connsiteY13" fmla="*/ 341313 h 927100"/>
                    <a:gd name="connsiteX14" fmla="*/ 1463675 w 1628775"/>
                    <a:gd name="connsiteY14" fmla="*/ 300037 h 927100"/>
                    <a:gd name="connsiteX15" fmla="*/ 1434306 w 1628775"/>
                    <a:gd name="connsiteY15" fmla="*/ 279400 h 927100"/>
                    <a:gd name="connsiteX16" fmla="*/ 1384300 w 1628775"/>
                    <a:gd name="connsiteY16" fmla="*/ 246856 h 927100"/>
                    <a:gd name="connsiteX17" fmla="*/ 1327150 w 1628775"/>
                    <a:gd name="connsiteY17" fmla="*/ 234950 h 927100"/>
                    <a:gd name="connsiteX18" fmla="*/ 1296193 w 1628775"/>
                    <a:gd name="connsiteY18" fmla="*/ 276225 h 927100"/>
                    <a:gd name="connsiteX19" fmla="*/ 1247776 w 1628775"/>
                    <a:gd name="connsiteY19" fmla="*/ 231775 h 927100"/>
                    <a:gd name="connsiteX20" fmla="*/ 1234281 w 1628775"/>
                    <a:gd name="connsiteY20" fmla="*/ 187325 h 927100"/>
                    <a:gd name="connsiteX21" fmla="*/ 1173163 w 1628775"/>
                    <a:gd name="connsiteY21" fmla="*/ 125413 h 927100"/>
                    <a:gd name="connsiteX22" fmla="*/ 1134269 w 1628775"/>
                    <a:gd name="connsiteY22" fmla="*/ 83344 h 927100"/>
                    <a:gd name="connsiteX23" fmla="*/ 1048543 w 1628775"/>
                    <a:gd name="connsiteY23" fmla="*/ 96838 h 927100"/>
                    <a:gd name="connsiteX24" fmla="*/ 1000918 w 1628775"/>
                    <a:gd name="connsiteY24" fmla="*/ 111125 h 927100"/>
                    <a:gd name="connsiteX25" fmla="*/ 942182 w 1628775"/>
                    <a:gd name="connsiteY25" fmla="*/ 113506 h 927100"/>
                    <a:gd name="connsiteX26" fmla="*/ 902494 w 1628775"/>
                    <a:gd name="connsiteY26" fmla="*/ 181769 h 927100"/>
                    <a:gd name="connsiteX27" fmla="*/ 815182 w 1628775"/>
                    <a:gd name="connsiteY27" fmla="*/ 149225 h 927100"/>
                    <a:gd name="connsiteX28" fmla="*/ 776287 w 1628775"/>
                    <a:gd name="connsiteY28" fmla="*/ 134144 h 927100"/>
                    <a:gd name="connsiteX29" fmla="*/ 671513 w 1628775"/>
                    <a:gd name="connsiteY29" fmla="*/ 73819 h 927100"/>
                    <a:gd name="connsiteX30" fmla="*/ 651669 w 1628775"/>
                    <a:gd name="connsiteY30" fmla="*/ 107156 h 927100"/>
                    <a:gd name="connsiteX31" fmla="*/ 596900 w 1628775"/>
                    <a:gd name="connsiteY31" fmla="*/ 107950 h 927100"/>
                    <a:gd name="connsiteX32" fmla="*/ 607219 w 1628775"/>
                    <a:gd name="connsiteY32" fmla="*/ 179388 h 927100"/>
                    <a:gd name="connsiteX33" fmla="*/ 511969 w 1628775"/>
                    <a:gd name="connsiteY33" fmla="*/ 146050 h 927100"/>
                    <a:gd name="connsiteX34" fmla="*/ 512762 w 1628775"/>
                    <a:gd name="connsiteY34" fmla="*/ 32543 h 927100"/>
                    <a:gd name="connsiteX35" fmla="*/ 461169 w 1628775"/>
                    <a:gd name="connsiteY35" fmla="*/ 39687 h 927100"/>
                    <a:gd name="connsiteX36" fmla="*/ 412750 w 1628775"/>
                    <a:gd name="connsiteY36" fmla="*/ 0 h 927100"/>
                    <a:gd name="connsiteX37" fmla="*/ 381000 w 1628775"/>
                    <a:gd name="connsiteY37" fmla="*/ 41275 h 927100"/>
                    <a:gd name="connsiteX38" fmla="*/ 352425 w 1628775"/>
                    <a:gd name="connsiteY38" fmla="*/ 69850 h 927100"/>
                    <a:gd name="connsiteX39" fmla="*/ 323850 w 1628775"/>
                    <a:gd name="connsiteY39" fmla="*/ 146050 h 927100"/>
                    <a:gd name="connsiteX40" fmla="*/ 323850 w 1628775"/>
                    <a:gd name="connsiteY40" fmla="*/ 177800 h 927100"/>
                    <a:gd name="connsiteX41" fmla="*/ 323850 w 1628775"/>
                    <a:gd name="connsiteY41" fmla="*/ 260350 h 927100"/>
                    <a:gd name="connsiteX42" fmla="*/ 336550 w 1628775"/>
                    <a:gd name="connsiteY42" fmla="*/ 301625 h 927100"/>
                    <a:gd name="connsiteX43" fmla="*/ 323850 w 1628775"/>
                    <a:gd name="connsiteY43" fmla="*/ 352425 h 927100"/>
                    <a:gd name="connsiteX44" fmla="*/ 266700 w 1628775"/>
                    <a:gd name="connsiteY44" fmla="*/ 349250 h 927100"/>
                    <a:gd name="connsiteX45" fmla="*/ 284162 w 1628775"/>
                    <a:gd name="connsiteY45" fmla="*/ 372269 h 927100"/>
                    <a:gd name="connsiteX46" fmla="*/ 247650 w 1628775"/>
                    <a:gd name="connsiteY46" fmla="*/ 403225 h 927100"/>
                    <a:gd name="connsiteX47" fmla="*/ 181769 w 1628775"/>
                    <a:gd name="connsiteY47" fmla="*/ 396081 h 927100"/>
                    <a:gd name="connsiteX48" fmla="*/ 123825 w 1628775"/>
                    <a:gd name="connsiteY48" fmla="*/ 437356 h 927100"/>
                    <a:gd name="connsiteX49" fmla="*/ 70644 w 1628775"/>
                    <a:gd name="connsiteY49" fmla="*/ 481807 h 927100"/>
                    <a:gd name="connsiteX50" fmla="*/ 0 w 1628775"/>
                    <a:gd name="connsiteY50" fmla="*/ 555625 h 927100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671513 w 1628775"/>
                    <a:gd name="connsiteY29" fmla="*/ 41276 h 894557"/>
                    <a:gd name="connsiteX30" fmla="*/ 651669 w 1628775"/>
                    <a:gd name="connsiteY30" fmla="*/ 74613 h 894557"/>
                    <a:gd name="connsiteX31" fmla="*/ 596900 w 1628775"/>
                    <a:gd name="connsiteY31" fmla="*/ 75407 h 894557"/>
                    <a:gd name="connsiteX32" fmla="*/ 607219 w 1628775"/>
                    <a:gd name="connsiteY32" fmla="*/ 146845 h 894557"/>
                    <a:gd name="connsiteX33" fmla="*/ 511969 w 1628775"/>
                    <a:gd name="connsiteY33" fmla="*/ 113507 h 894557"/>
                    <a:gd name="connsiteX34" fmla="*/ 512762 w 1628775"/>
                    <a:gd name="connsiteY34" fmla="*/ 0 h 894557"/>
                    <a:gd name="connsiteX35" fmla="*/ 461169 w 1628775"/>
                    <a:gd name="connsiteY35" fmla="*/ 7144 h 894557"/>
                    <a:gd name="connsiteX36" fmla="*/ 429418 w 1628775"/>
                    <a:gd name="connsiteY36" fmla="*/ 48419 h 894557"/>
                    <a:gd name="connsiteX37" fmla="*/ 381000 w 1628775"/>
                    <a:gd name="connsiteY37" fmla="*/ 8732 h 894557"/>
                    <a:gd name="connsiteX38" fmla="*/ 352425 w 1628775"/>
                    <a:gd name="connsiteY38" fmla="*/ 37307 h 894557"/>
                    <a:gd name="connsiteX39" fmla="*/ 323850 w 1628775"/>
                    <a:gd name="connsiteY39" fmla="*/ 113507 h 894557"/>
                    <a:gd name="connsiteX40" fmla="*/ 323850 w 1628775"/>
                    <a:gd name="connsiteY40" fmla="*/ 145257 h 894557"/>
                    <a:gd name="connsiteX41" fmla="*/ 323850 w 1628775"/>
                    <a:gd name="connsiteY41" fmla="*/ 227807 h 894557"/>
                    <a:gd name="connsiteX42" fmla="*/ 336550 w 1628775"/>
                    <a:gd name="connsiteY42" fmla="*/ 269082 h 894557"/>
                    <a:gd name="connsiteX43" fmla="*/ 323850 w 1628775"/>
                    <a:gd name="connsiteY43" fmla="*/ 319882 h 894557"/>
                    <a:gd name="connsiteX44" fmla="*/ 266700 w 1628775"/>
                    <a:gd name="connsiteY44" fmla="*/ 316707 h 894557"/>
                    <a:gd name="connsiteX45" fmla="*/ 284162 w 1628775"/>
                    <a:gd name="connsiteY45" fmla="*/ 339726 h 894557"/>
                    <a:gd name="connsiteX46" fmla="*/ 247650 w 1628775"/>
                    <a:gd name="connsiteY46" fmla="*/ 370682 h 894557"/>
                    <a:gd name="connsiteX47" fmla="*/ 181769 w 1628775"/>
                    <a:gd name="connsiteY47" fmla="*/ 363538 h 894557"/>
                    <a:gd name="connsiteX48" fmla="*/ 123825 w 1628775"/>
                    <a:gd name="connsiteY48" fmla="*/ 404813 h 894557"/>
                    <a:gd name="connsiteX49" fmla="*/ 70644 w 1628775"/>
                    <a:gd name="connsiteY49" fmla="*/ 449264 h 894557"/>
                    <a:gd name="connsiteX50" fmla="*/ 0 w 1628775"/>
                    <a:gd name="connsiteY50" fmla="*/ 523082 h 894557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671513 w 1628775"/>
                    <a:gd name="connsiteY29" fmla="*/ 41276 h 894557"/>
                    <a:gd name="connsiteX30" fmla="*/ 651669 w 1628775"/>
                    <a:gd name="connsiteY30" fmla="*/ 74613 h 894557"/>
                    <a:gd name="connsiteX31" fmla="*/ 596900 w 1628775"/>
                    <a:gd name="connsiteY31" fmla="*/ 75407 h 894557"/>
                    <a:gd name="connsiteX32" fmla="*/ 607219 w 1628775"/>
                    <a:gd name="connsiteY32" fmla="*/ 146845 h 894557"/>
                    <a:gd name="connsiteX33" fmla="*/ 511969 w 1628775"/>
                    <a:gd name="connsiteY33" fmla="*/ 113507 h 894557"/>
                    <a:gd name="connsiteX34" fmla="*/ 512762 w 1628775"/>
                    <a:gd name="connsiteY34" fmla="*/ 0 h 894557"/>
                    <a:gd name="connsiteX35" fmla="*/ 461169 w 1628775"/>
                    <a:gd name="connsiteY35" fmla="*/ 7144 h 894557"/>
                    <a:gd name="connsiteX36" fmla="*/ 429418 w 1628775"/>
                    <a:gd name="connsiteY36" fmla="*/ 48419 h 894557"/>
                    <a:gd name="connsiteX37" fmla="*/ 400050 w 1628775"/>
                    <a:gd name="connsiteY37" fmla="*/ 70645 h 894557"/>
                    <a:gd name="connsiteX38" fmla="*/ 352425 w 1628775"/>
                    <a:gd name="connsiteY38" fmla="*/ 37307 h 894557"/>
                    <a:gd name="connsiteX39" fmla="*/ 323850 w 1628775"/>
                    <a:gd name="connsiteY39" fmla="*/ 113507 h 894557"/>
                    <a:gd name="connsiteX40" fmla="*/ 323850 w 1628775"/>
                    <a:gd name="connsiteY40" fmla="*/ 145257 h 894557"/>
                    <a:gd name="connsiteX41" fmla="*/ 323850 w 1628775"/>
                    <a:gd name="connsiteY41" fmla="*/ 227807 h 894557"/>
                    <a:gd name="connsiteX42" fmla="*/ 336550 w 1628775"/>
                    <a:gd name="connsiteY42" fmla="*/ 269082 h 894557"/>
                    <a:gd name="connsiteX43" fmla="*/ 323850 w 1628775"/>
                    <a:gd name="connsiteY43" fmla="*/ 319882 h 894557"/>
                    <a:gd name="connsiteX44" fmla="*/ 266700 w 1628775"/>
                    <a:gd name="connsiteY44" fmla="*/ 316707 h 894557"/>
                    <a:gd name="connsiteX45" fmla="*/ 284162 w 1628775"/>
                    <a:gd name="connsiteY45" fmla="*/ 339726 h 894557"/>
                    <a:gd name="connsiteX46" fmla="*/ 247650 w 1628775"/>
                    <a:gd name="connsiteY46" fmla="*/ 370682 h 894557"/>
                    <a:gd name="connsiteX47" fmla="*/ 181769 w 1628775"/>
                    <a:gd name="connsiteY47" fmla="*/ 363538 h 894557"/>
                    <a:gd name="connsiteX48" fmla="*/ 123825 w 1628775"/>
                    <a:gd name="connsiteY48" fmla="*/ 404813 h 894557"/>
                    <a:gd name="connsiteX49" fmla="*/ 70644 w 1628775"/>
                    <a:gd name="connsiteY49" fmla="*/ 449264 h 894557"/>
                    <a:gd name="connsiteX50" fmla="*/ 0 w 1628775"/>
                    <a:gd name="connsiteY50" fmla="*/ 523082 h 894557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671513 w 1628775"/>
                    <a:gd name="connsiteY29" fmla="*/ 41276 h 894557"/>
                    <a:gd name="connsiteX30" fmla="*/ 651669 w 1628775"/>
                    <a:gd name="connsiteY30" fmla="*/ 74613 h 894557"/>
                    <a:gd name="connsiteX31" fmla="*/ 596900 w 1628775"/>
                    <a:gd name="connsiteY31" fmla="*/ 75407 h 894557"/>
                    <a:gd name="connsiteX32" fmla="*/ 607219 w 1628775"/>
                    <a:gd name="connsiteY32" fmla="*/ 146845 h 894557"/>
                    <a:gd name="connsiteX33" fmla="*/ 511969 w 1628775"/>
                    <a:gd name="connsiteY33" fmla="*/ 113507 h 894557"/>
                    <a:gd name="connsiteX34" fmla="*/ 512762 w 1628775"/>
                    <a:gd name="connsiteY34" fmla="*/ 0 h 894557"/>
                    <a:gd name="connsiteX35" fmla="*/ 461169 w 1628775"/>
                    <a:gd name="connsiteY35" fmla="*/ 7144 h 894557"/>
                    <a:gd name="connsiteX36" fmla="*/ 429418 w 1628775"/>
                    <a:gd name="connsiteY36" fmla="*/ 48419 h 894557"/>
                    <a:gd name="connsiteX37" fmla="*/ 400050 w 1628775"/>
                    <a:gd name="connsiteY37" fmla="*/ 70645 h 894557"/>
                    <a:gd name="connsiteX38" fmla="*/ 378619 w 1628775"/>
                    <a:gd name="connsiteY38" fmla="*/ 111126 h 894557"/>
                    <a:gd name="connsiteX39" fmla="*/ 323850 w 1628775"/>
                    <a:gd name="connsiteY39" fmla="*/ 113507 h 894557"/>
                    <a:gd name="connsiteX40" fmla="*/ 323850 w 1628775"/>
                    <a:gd name="connsiteY40" fmla="*/ 145257 h 894557"/>
                    <a:gd name="connsiteX41" fmla="*/ 323850 w 1628775"/>
                    <a:gd name="connsiteY41" fmla="*/ 227807 h 894557"/>
                    <a:gd name="connsiteX42" fmla="*/ 336550 w 1628775"/>
                    <a:gd name="connsiteY42" fmla="*/ 269082 h 894557"/>
                    <a:gd name="connsiteX43" fmla="*/ 323850 w 1628775"/>
                    <a:gd name="connsiteY43" fmla="*/ 319882 h 894557"/>
                    <a:gd name="connsiteX44" fmla="*/ 266700 w 1628775"/>
                    <a:gd name="connsiteY44" fmla="*/ 316707 h 894557"/>
                    <a:gd name="connsiteX45" fmla="*/ 284162 w 1628775"/>
                    <a:gd name="connsiteY45" fmla="*/ 339726 h 894557"/>
                    <a:gd name="connsiteX46" fmla="*/ 247650 w 1628775"/>
                    <a:gd name="connsiteY46" fmla="*/ 370682 h 894557"/>
                    <a:gd name="connsiteX47" fmla="*/ 181769 w 1628775"/>
                    <a:gd name="connsiteY47" fmla="*/ 363538 h 894557"/>
                    <a:gd name="connsiteX48" fmla="*/ 123825 w 1628775"/>
                    <a:gd name="connsiteY48" fmla="*/ 404813 h 894557"/>
                    <a:gd name="connsiteX49" fmla="*/ 70644 w 1628775"/>
                    <a:gd name="connsiteY49" fmla="*/ 449264 h 894557"/>
                    <a:gd name="connsiteX50" fmla="*/ 0 w 1628775"/>
                    <a:gd name="connsiteY50" fmla="*/ 523082 h 894557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671513 w 1628775"/>
                    <a:gd name="connsiteY29" fmla="*/ 41276 h 894557"/>
                    <a:gd name="connsiteX30" fmla="*/ 651669 w 1628775"/>
                    <a:gd name="connsiteY30" fmla="*/ 74613 h 894557"/>
                    <a:gd name="connsiteX31" fmla="*/ 596900 w 1628775"/>
                    <a:gd name="connsiteY31" fmla="*/ 75407 h 894557"/>
                    <a:gd name="connsiteX32" fmla="*/ 607219 w 1628775"/>
                    <a:gd name="connsiteY32" fmla="*/ 146845 h 894557"/>
                    <a:gd name="connsiteX33" fmla="*/ 511969 w 1628775"/>
                    <a:gd name="connsiteY33" fmla="*/ 113507 h 894557"/>
                    <a:gd name="connsiteX34" fmla="*/ 512762 w 1628775"/>
                    <a:gd name="connsiteY34" fmla="*/ 0 h 894557"/>
                    <a:gd name="connsiteX35" fmla="*/ 461169 w 1628775"/>
                    <a:gd name="connsiteY35" fmla="*/ 7144 h 894557"/>
                    <a:gd name="connsiteX36" fmla="*/ 429418 w 1628775"/>
                    <a:gd name="connsiteY36" fmla="*/ 48419 h 894557"/>
                    <a:gd name="connsiteX37" fmla="*/ 400050 w 1628775"/>
                    <a:gd name="connsiteY37" fmla="*/ 70645 h 894557"/>
                    <a:gd name="connsiteX38" fmla="*/ 378619 w 1628775"/>
                    <a:gd name="connsiteY38" fmla="*/ 111126 h 894557"/>
                    <a:gd name="connsiteX39" fmla="*/ 385762 w 1628775"/>
                    <a:gd name="connsiteY39" fmla="*/ 173039 h 894557"/>
                    <a:gd name="connsiteX40" fmla="*/ 323850 w 1628775"/>
                    <a:gd name="connsiteY40" fmla="*/ 145257 h 894557"/>
                    <a:gd name="connsiteX41" fmla="*/ 323850 w 1628775"/>
                    <a:gd name="connsiteY41" fmla="*/ 227807 h 894557"/>
                    <a:gd name="connsiteX42" fmla="*/ 336550 w 1628775"/>
                    <a:gd name="connsiteY42" fmla="*/ 269082 h 894557"/>
                    <a:gd name="connsiteX43" fmla="*/ 323850 w 1628775"/>
                    <a:gd name="connsiteY43" fmla="*/ 319882 h 894557"/>
                    <a:gd name="connsiteX44" fmla="*/ 266700 w 1628775"/>
                    <a:gd name="connsiteY44" fmla="*/ 316707 h 894557"/>
                    <a:gd name="connsiteX45" fmla="*/ 284162 w 1628775"/>
                    <a:gd name="connsiteY45" fmla="*/ 339726 h 894557"/>
                    <a:gd name="connsiteX46" fmla="*/ 247650 w 1628775"/>
                    <a:gd name="connsiteY46" fmla="*/ 370682 h 894557"/>
                    <a:gd name="connsiteX47" fmla="*/ 181769 w 1628775"/>
                    <a:gd name="connsiteY47" fmla="*/ 363538 h 894557"/>
                    <a:gd name="connsiteX48" fmla="*/ 123825 w 1628775"/>
                    <a:gd name="connsiteY48" fmla="*/ 404813 h 894557"/>
                    <a:gd name="connsiteX49" fmla="*/ 70644 w 1628775"/>
                    <a:gd name="connsiteY49" fmla="*/ 449264 h 894557"/>
                    <a:gd name="connsiteX50" fmla="*/ 0 w 1628775"/>
                    <a:gd name="connsiteY50" fmla="*/ 523082 h 894557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671513 w 1628775"/>
                    <a:gd name="connsiteY29" fmla="*/ 41276 h 894557"/>
                    <a:gd name="connsiteX30" fmla="*/ 651669 w 1628775"/>
                    <a:gd name="connsiteY30" fmla="*/ 74613 h 894557"/>
                    <a:gd name="connsiteX31" fmla="*/ 596900 w 1628775"/>
                    <a:gd name="connsiteY31" fmla="*/ 75407 h 894557"/>
                    <a:gd name="connsiteX32" fmla="*/ 607219 w 1628775"/>
                    <a:gd name="connsiteY32" fmla="*/ 146845 h 894557"/>
                    <a:gd name="connsiteX33" fmla="*/ 511969 w 1628775"/>
                    <a:gd name="connsiteY33" fmla="*/ 113507 h 894557"/>
                    <a:gd name="connsiteX34" fmla="*/ 512762 w 1628775"/>
                    <a:gd name="connsiteY34" fmla="*/ 0 h 894557"/>
                    <a:gd name="connsiteX35" fmla="*/ 461169 w 1628775"/>
                    <a:gd name="connsiteY35" fmla="*/ 7144 h 894557"/>
                    <a:gd name="connsiteX36" fmla="*/ 429418 w 1628775"/>
                    <a:gd name="connsiteY36" fmla="*/ 48419 h 894557"/>
                    <a:gd name="connsiteX37" fmla="*/ 400050 w 1628775"/>
                    <a:gd name="connsiteY37" fmla="*/ 70645 h 894557"/>
                    <a:gd name="connsiteX38" fmla="*/ 378619 w 1628775"/>
                    <a:gd name="connsiteY38" fmla="*/ 111126 h 894557"/>
                    <a:gd name="connsiteX39" fmla="*/ 385762 w 1628775"/>
                    <a:gd name="connsiteY39" fmla="*/ 173039 h 894557"/>
                    <a:gd name="connsiteX40" fmla="*/ 404813 w 1628775"/>
                    <a:gd name="connsiteY40" fmla="*/ 233363 h 894557"/>
                    <a:gd name="connsiteX41" fmla="*/ 323850 w 1628775"/>
                    <a:gd name="connsiteY41" fmla="*/ 227807 h 894557"/>
                    <a:gd name="connsiteX42" fmla="*/ 336550 w 1628775"/>
                    <a:gd name="connsiteY42" fmla="*/ 269082 h 894557"/>
                    <a:gd name="connsiteX43" fmla="*/ 323850 w 1628775"/>
                    <a:gd name="connsiteY43" fmla="*/ 319882 h 894557"/>
                    <a:gd name="connsiteX44" fmla="*/ 266700 w 1628775"/>
                    <a:gd name="connsiteY44" fmla="*/ 316707 h 894557"/>
                    <a:gd name="connsiteX45" fmla="*/ 284162 w 1628775"/>
                    <a:gd name="connsiteY45" fmla="*/ 339726 h 894557"/>
                    <a:gd name="connsiteX46" fmla="*/ 247650 w 1628775"/>
                    <a:gd name="connsiteY46" fmla="*/ 370682 h 894557"/>
                    <a:gd name="connsiteX47" fmla="*/ 181769 w 1628775"/>
                    <a:gd name="connsiteY47" fmla="*/ 363538 h 894557"/>
                    <a:gd name="connsiteX48" fmla="*/ 123825 w 1628775"/>
                    <a:gd name="connsiteY48" fmla="*/ 404813 h 894557"/>
                    <a:gd name="connsiteX49" fmla="*/ 70644 w 1628775"/>
                    <a:gd name="connsiteY49" fmla="*/ 449264 h 894557"/>
                    <a:gd name="connsiteX50" fmla="*/ 0 w 1628775"/>
                    <a:gd name="connsiteY50" fmla="*/ 523082 h 894557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671513 w 1628775"/>
                    <a:gd name="connsiteY29" fmla="*/ 41276 h 894557"/>
                    <a:gd name="connsiteX30" fmla="*/ 651669 w 1628775"/>
                    <a:gd name="connsiteY30" fmla="*/ 74613 h 894557"/>
                    <a:gd name="connsiteX31" fmla="*/ 596900 w 1628775"/>
                    <a:gd name="connsiteY31" fmla="*/ 75407 h 894557"/>
                    <a:gd name="connsiteX32" fmla="*/ 607219 w 1628775"/>
                    <a:gd name="connsiteY32" fmla="*/ 146845 h 894557"/>
                    <a:gd name="connsiteX33" fmla="*/ 511969 w 1628775"/>
                    <a:gd name="connsiteY33" fmla="*/ 113507 h 894557"/>
                    <a:gd name="connsiteX34" fmla="*/ 512762 w 1628775"/>
                    <a:gd name="connsiteY34" fmla="*/ 0 h 894557"/>
                    <a:gd name="connsiteX35" fmla="*/ 461169 w 1628775"/>
                    <a:gd name="connsiteY35" fmla="*/ 7144 h 894557"/>
                    <a:gd name="connsiteX36" fmla="*/ 429418 w 1628775"/>
                    <a:gd name="connsiteY36" fmla="*/ 48419 h 894557"/>
                    <a:gd name="connsiteX37" fmla="*/ 400050 w 1628775"/>
                    <a:gd name="connsiteY37" fmla="*/ 70645 h 894557"/>
                    <a:gd name="connsiteX38" fmla="*/ 378619 w 1628775"/>
                    <a:gd name="connsiteY38" fmla="*/ 111126 h 894557"/>
                    <a:gd name="connsiteX39" fmla="*/ 385762 w 1628775"/>
                    <a:gd name="connsiteY39" fmla="*/ 173039 h 894557"/>
                    <a:gd name="connsiteX40" fmla="*/ 404813 w 1628775"/>
                    <a:gd name="connsiteY40" fmla="*/ 233363 h 894557"/>
                    <a:gd name="connsiteX41" fmla="*/ 323850 w 1628775"/>
                    <a:gd name="connsiteY41" fmla="*/ 227807 h 894557"/>
                    <a:gd name="connsiteX42" fmla="*/ 336550 w 1628775"/>
                    <a:gd name="connsiteY42" fmla="*/ 269082 h 894557"/>
                    <a:gd name="connsiteX43" fmla="*/ 381000 w 1628775"/>
                    <a:gd name="connsiteY43" fmla="*/ 360363 h 894557"/>
                    <a:gd name="connsiteX44" fmla="*/ 266700 w 1628775"/>
                    <a:gd name="connsiteY44" fmla="*/ 316707 h 894557"/>
                    <a:gd name="connsiteX45" fmla="*/ 284162 w 1628775"/>
                    <a:gd name="connsiteY45" fmla="*/ 339726 h 894557"/>
                    <a:gd name="connsiteX46" fmla="*/ 247650 w 1628775"/>
                    <a:gd name="connsiteY46" fmla="*/ 370682 h 894557"/>
                    <a:gd name="connsiteX47" fmla="*/ 181769 w 1628775"/>
                    <a:gd name="connsiteY47" fmla="*/ 363538 h 894557"/>
                    <a:gd name="connsiteX48" fmla="*/ 123825 w 1628775"/>
                    <a:gd name="connsiteY48" fmla="*/ 404813 h 894557"/>
                    <a:gd name="connsiteX49" fmla="*/ 70644 w 1628775"/>
                    <a:gd name="connsiteY49" fmla="*/ 449264 h 894557"/>
                    <a:gd name="connsiteX50" fmla="*/ 0 w 1628775"/>
                    <a:gd name="connsiteY50" fmla="*/ 523082 h 894557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671513 w 1628775"/>
                    <a:gd name="connsiteY29" fmla="*/ 41276 h 894557"/>
                    <a:gd name="connsiteX30" fmla="*/ 651669 w 1628775"/>
                    <a:gd name="connsiteY30" fmla="*/ 74613 h 894557"/>
                    <a:gd name="connsiteX31" fmla="*/ 596900 w 1628775"/>
                    <a:gd name="connsiteY31" fmla="*/ 75407 h 894557"/>
                    <a:gd name="connsiteX32" fmla="*/ 607219 w 1628775"/>
                    <a:gd name="connsiteY32" fmla="*/ 146845 h 894557"/>
                    <a:gd name="connsiteX33" fmla="*/ 511969 w 1628775"/>
                    <a:gd name="connsiteY33" fmla="*/ 113507 h 894557"/>
                    <a:gd name="connsiteX34" fmla="*/ 512762 w 1628775"/>
                    <a:gd name="connsiteY34" fmla="*/ 0 h 894557"/>
                    <a:gd name="connsiteX35" fmla="*/ 461169 w 1628775"/>
                    <a:gd name="connsiteY35" fmla="*/ 7144 h 894557"/>
                    <a:gd name="connsiteX36" fmla="*/ 429418 w 1628775"/>
                    <a:gd name="connsiteY36" fmla="*/ 48419 h 894557"/>
                    <a:gd name="connsiteX37" fmla="*/ 400050 w 1628775"/>
                    <a:gd name="connsiteY37" fmla="*/ 70645 h 894557"/>
                    <a:gd name="connsiteX38" fmla="*/ 378619 w 1628775"/>
                    <a:gd name="connsiteY38" fmla="*/ 111126 h 894557"/>
                    <a:gd name="connsiteX39" fmla="*/ 385762 w 1628775"/>
                    <a:gd name="connsiteY39" fmla="*/ 173039 h 894557"/>
                    <a:gd name="connsiteX40" fmla="*/ 404813 w 1628775"/>
                    <a:gd name="connsiteY40" fmla="*/ 233363 h 894557"/>
                    <a:gd name="connsiteX41" fmla="*/ 323850 w 1628775"/>
                    <a:gd name="connsiteY41" fmla="*/ 227807 h 894557"/>
                    <a:gd name="connsiteX42" fmla="*/ 336550 w 1628775"/>
                    <a:gd name="connsiteY42" fmla="*/ 269082 h 894557"/>
                    <a:gd name="connsiteX43" fmla="*/ 381000 w 1628775"/>
                    <a:gd name="connsiteY43" fmla="*/ 360363 h 894557"/>
                    <a:gd name="connsiteX44" fmla="*/ 328612 w 1628775"/>
                    <a:gd name="connsiteY44" fmla="*/ 338138 h 894557"/>
                    <a:gd name="connsiteX45" fmla="*/ 284162 w 1628775"/>
                    <a:gd name="connsiteY45" fmla="*/ 339726 h 894557"/>
                    <a:gd name="connsiteX46" fmla="*/ 247650 w 1628775"/>
                    <a:gd name="connsiteY46" fmla="*/ 370682 h 894557"/>
                    <a:gd name="connsiteX47" fmla="*/ 181769 w 1628775"/>
                    <a:gd name="connsiteY47" fmla="*/ 363538 h 894557"/>
                    <a:gd name="connsiteX48" fmla="*/ 123825 w 1628775"/>
                    <a:gd name="connsiteY48" fmla="*/ 404813 h 894557"/>
                    <a:gd name="connsiteX49" fmla="*/ 70644 w 1628775"/>
                    <a:gd name="connsiteY49" fmla="*/ 449264 h 894557"/>
                    <a:gd name="connsiteX50" fmla="*/ 0 w 1628775"/>
                    <a:gd name="connsiteY50" fmla="*/ 523082 h 894557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671513 w 1628775"/>
                    <a:gd name="connsiteY29" fmla="*/ 41276 h 894557"/>
                    <a:gd name="connsiteX30" fmla="*/ 651669 w 1628775"/>
                    <a:gd name="connsiteY30" fmla="*/ 74613 h 894557"/>
                    <a:gd name="connsiteX31" fmla="*/ 596900 w 1628775"/>
                    <a:gd name="connsiteY31" fmla="*/ 75407 h 894557"/>
                    <a:gd name="connsiteX32" fmla="*/ 607219 w 1628775"/>
                    <a:gd name="connsiteY32" fmla="*/ 146845 h 894557"/>
                    <a:gd name="connsiteX33" fmla="*/ 511969 w 1628775"/>
                    <a:gd name="connsiteY33" fmla="*/ 113507 h 894557"/>
                    <a:gd name="connsiteX34" fmla="*/ 512762 w 1628775"/>
                    <a:gd name="connsiteY34" fmla="*/ 0 h 894557"/>
                    <a:gd name="connsiteX35" fmla="*/ 461169 w 1628775"/>
                    <a:gd name="connsiteY35" fmla="*/ 7144 h 894557"/>
                    <a:gd name="connsiteX36" fmla="*/ 429418 w 1628775"/>
                    <a:gd name="connsiteY36" fmla="*/ 48419 h 894557"/>
                    <a:gd name="connsiteX37" fmla="*/ 400050 w 1628775"/>
                    <a:gd name="connsiteY37" fmla="*/ 70645 h 894557"/>
                    <a:gd name="connsiteX38" fmla="*/ 378619 w 1628775"/>
                    <a:gd name="connsiteY38" fmla="*/ 111126 h 894557"/>
                    <a:gd name="connsiteX39" fmla="*/ 385762 w 1628775"/>
                    <a:gd name="connsiteY39" fmla="*/ 173039 h 894557"/>
                    <a:gd name="connsiteX40" fmla="*/ 404813 w 1628775"/>
                    <a:gd name="connsiteY40" fmla="*/ 233363 h 894557"/>
                    <a:gd name="connsiteX41" fmla="*/ 323850 w 1628775"/>
                    <a:gd name="connsiteY41" fmla="*/ 227807 h 894557"/>
                    <a:gd name="connsiteX42" fmla="*/ 419894 w 1628775"/>
                    <a:gd name="connsiteY42" fmla="*/ 319088 h 894557"/>
                    <a:gd name="connsiteX43" fmla="*/ 381000 w 1628775"/>
                    <a:gd name="connsiteY43" fmla="*/ 360363 h 894557"/>
                    <a:gd name="connsiteX44" fmla="*/ 328612 w 1628775"/>
                    <a:gd name="connsiteY44" fmla="*/ 338138 h 894557"/>
                    <a:gd name="connsiteX45" fmla="*/ 284162 w 1628775"/>
                    <a:gd name="connsiteY45" fmla="*/ 339726 h 894557"/>
                    <a:gd name="connsiteX46" fmla="*/ 247650 w 1628775"/>
                    <a:gd name="connsiteY46" fmla="*/ 370682 h 894557"/>
                    <a:gd name="connsiteX47" fmla="*/ 181769 w 1628775"/>
                    <a:gd name="connsiteY47" fmla="*/ 363538 h 894557"/>
                    <a:gd name="connsiteX48" fmla="*/ 123825 w 1628775"/>
                    <a:gd name="connsiteY48" fmla="*/ 404813 h 894557"/>
                    <a:gd name="connsiteX49" fmla="*/ 70644 w 1628775"/>
                    <a:gd name="connsiteY49" fmla="*/ 449264 h 894557"/>
                    <a:gd name="connsiteX50" fmla="*/ 0 w 1628775"/>
                    <a:gd name="connsiteY50" fmla="*/ 523082 h 894557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671513 w 1628775"/>
                    <a:gd name="connsiteY29" fmla="*/ 41276 h 894557"/>
                    <a:gd name="connsiteX30" fmla="*/ 651669 w 1628775"/>
                    <a:gd name="connsiteY30" fmla="*/ 74613 h 894557"/>
                    <a:gd name="connsiteX31" fmla="*/ 596900 w 1628775"/>
                    <a:gd name="connsiteY31" fmla="*/ 75407 h 894557"/>
                    <a:gd name="connsiteX32" fmla="*/ 607219 w 1628775"/>
                    <a:gd name="connsiteY32" fmla="*/ 146845 h 894557"/>
                    <a:gd name="connsiteX33" fmla="*/ 511969 w 1628775"/>
                    <a:gd name="connsiteY33" fmla="*/ 113507 h 894557"/>
                    <a:gd name="connsiteX34" fmla="*/ 512762 w 1628775"/>
                    <a:gd name="connsiteY34" fmla="*/ 0 h 894557"/>
                    <a:gd name="connsiteX35" fmla="*/ 461169 w 1628775"/>
                    <a:gd name="connsiteY35" fmla="*/ 7144 h 894557"/>
                    <a:gd name="connsiteX36" fmla="*/ 429418 w 1628775"/>
                    <a:gd name="connsiteY36" fmla="*/ 48419 h 894557"/>
                    <a:gd name="connsiteX37" fmla="*/ 400050 w 1628775"/>
                    <a:gd name="connsiteY37" fmla="*/ 70645 h 894557"/>
                    <a:gd name="connsiteX38" fmla="*/ 378619 w 1628775"/>
                    <a:gd name="connsiteY38" fmla="*/ 111126 h 894557"/>
                    <a:gd name="connsiteX39" fmla="*/ 385762 w 1628775"/>
                    <a:gd name="connsiteY39" fmla="*/ 173039 h 894557"/>
                    <a:gd name="connsiteX40" fmla="*/ 404813 w 1628775"/>
                    <a:gd name="connsiteY40" fmla="*/ 233363 h 894557"/>
                    <a:gd name="connsiteX41" fmla="*/ 431006 w 1628775"/>
                    <a:gd name="connsiteY41" fmla="*/ 270669 h 894557"/>
                    <a:gd name="connsiteX42" fmla="*/ 419894 w 1628775"/>
                    <a:gd name="connsiteY42" fmla="*/ 319088 h 894557"/>
                    <a:gd name="connsiteX43" fmla="*/ 381000 w 1628775"/>
                    <a:gd name="connsiteY43" fmla="*/ 360363 h 894557"/>
                    <a:gd name="connsiteX44" fmla="*/ 328612 w 1628775"/>
                    <a:gd name="connsiteY44" fmla="*/ 338138 h 894557"/>
                    <a:gd name="connsiteX45" fmla="*/ 284162 w 1628775"/>
                    <a:gd name="connsiteY45" fmla="*/ 339726 h 894557"/>
                    <a:gd name="connsiteX46" fmla="*/ 247650 w 1628775"/>
                    <a:gd name="connsiteY46" fmla="*/ 370682 h 894557"/>
                    <a:gd name="connsiteX47" fmla="*/ 181769 w 1628775"/>
                    <a:gd name="connsiteY47" fmla="*/ 363538 h 894557"/>
                    <a:gd name="connsiteX48" fmla="*/ 123825 w 1628775"/>
                    <a:gd name="connsiteY48" fmla="*/ 404813 h 894557"/>
                    <a:gd name="connsiteX49" fmla="*/ 70644 w 1628775"/>
                    <a:gd name="connsiteY49" fmla="*/ 449264 h 894557"/>
                    <a:gd name="connsiteX50" fmla="*/ 0 w 1628775"/>
                    <a:gd name="connsiteY50" fmla="*/ 523082 h 894557"/>
                    <a:gd name="connsiteX0" fmla="*/ 0 w 1628775"/>
                    <a:gd name="connsiteY0" fmla="*/ 523082 h 894557"/>
                    <a:gd name="connsiteX1" fmla="*/ 92075 w 1628775"/>
                    <a:gd name="connsiteY1" fmla="*/ 729457 h 894557"/>
                    <a:gd name="connsiteX2" fmla="*/ 200025 w 1628775"/>
                    <a:gd name="connsiteY2" fmla="*/ 894557 h 894557"/>
                    <a:gd name="connsiteX3" fmla="*/ 561975 w 1628775"/>
                    <a:gd name="connsiteY3" fmla="*/ 840582 h 894557"/>
                    <a:gd name="connsiteX4" fmla="*/ 911225 w 1628775"/>
                    <a:gd name="connsiteY4" fmla="*/ 599282 h 894557"/>
                    <a:gd name="connsiteX5" fmla="*/ 1212850 w 1628775"/>
                    <a:gd name="connsiteY5" fmla="*/ 551657 h 894557"/>
                    <a:gd name="connsiteX6" fmla="*/ 1416050 w 1628775"/>
                    <a:gd name="connsiteY6" fmla="*/ 596107 h 894557"/>
                    <a:gd name="connsiteX7" fmla="*/ 1628775 w 1628775"/>
                    <a:gd name="connsiteY7" fmla="*/ 627857 h 894557"/>
                    <a:gd name="connsiteX8" fmla="*/ 1603375 w 1628775"/>
                    <a:gd name="connsiteY8" fmla="*/ 526257 h 894557"/>
                    <a:gd name="connsiteX9" fmla="*/ 1567656 w 1628775"/>
                    <a:gd name="connsiteY9" fmla="*/ 493714 h 894557"/>
                    <a:gd name="connsiteX10" fmla="*/ 1567656 w 1628775"/>
                    <a:gd name="connsiteY10" fmla="*/ 434182 h 894557"/>
                    <a:gd name="connsiteX11" fmla="*/ 1528763 w 1628775"/>
                    <a:gd name="connsiteY11" fmla="*/ 392114 h 894557"/>
                    <a:gd name="connsiteX12" fmla="*/ 1473993 w 1628775"/>
                    <a:gd name="connsiteY12" fmla="*/ 359569 h 894557"/>
                    <a:gd name="connsiteX13" fmla="*/ 1467644 w 1628775"/>
                    <a:gd name="connsiteY13" fmla="*/ 308770 h 894557"/>
                    <a:gd name="connsiteX14" fmla="*/ 1463675 w 1628775"/>
                    <a:gd name="connsiteY14" fmla="*/ 267494 h 894557"/>
                    <a:gd name="connsiteX15" fmla="*/ 1434306 w 1628775"/>
                    <a:gd name="connsiteY15" fmla="*/ 246857 h 894557"/>
                    <a:gd name="connsiteX16" fmla="*/ 1384300 w 1628775"/>
                    <a:gd name="connsiteY16" fmla="*/ 214313 h 894557"/>
                    <a:gd name="connsiteX17" fmla="*/ 1327150 w 1628775"/>
                    <a:gd name="connsiteY17" fmla="*/ 202407 h 894557"/>
                    <a:gd name="connsiteX18" fmla="*/ 1296193 w 1628775"/>
                    <a:gd name="connsiteY18" fmla="*/ 243682 h 894557"/>
                    <a:gd name="connsiteX19" fmla="*/ 1247776 w 1628775"/>
                    <a:gd name="connsiteY19" fmla="*/ 199232 h 894557"/>
                    <a:gd name="connsiteX20" fmla="*/ 1234281 w 1628775"/>
                    <a:gd name="connsiteY20" fmla="*/ 154782 h 894557"/>
                    <a:gd name="connsiteX21" fmla="*/ 1173163 w 1628775"/>
                    <a:gd name="connsiteY21" fmla="*/ 92870 h 894557"/>
                    <a:gd name="connsiteX22" fmla="*/ 1134269 w 1628775"/>
                    <a:gd name="connsiteY22" fmla="*/ 50801 h 894557"/>
                    <a:gd name="connsiteX23" fmla="*/ 1048543 w 1628775"/>
                    <a:gd name="connsiteY23" fmla="*/ 64295 h 894557"/>
                    <a:gd name="connsiteX24" fmla="*/ 1000918 w 1628775"/>
                    <a:gd name="connsiteY24" fmla="*/ 78582 h 894557"/>
                    <a:gd name="connsiteX25" fmla="*/ 942182 w 1628775"/>
                    <a:gd name="connsiteY25" fmla="*/ 80963 h 894557"/>
                    <a:gd name="connsiteX26" fmla="*/ 902494 w 1628775"/>
                    <a:gd name="connsiteY26" fmla="*/ 149226 h 894557"/>
                    <a:gd name="connsiteX27" fmla="*/ 815182 w 1628775"/>
                    <a:gd name="connsiteY27" fmla="*/ 116682 h 894557"/>
                    <a:gd name="connsiteX28" fmla="*/ 776287 w 1628775"/>
                    <a:gd name="connsiteY28" fmla="*/ 101601 h 894557"/>
                    <a:gd name="connsiteX29" fmla="*/ 738188 w 1628775"/>
                    <a:gd name="connsiteY29" fmla="*/ 53975 h 894557"/>
                    <a:gd name="connsiteX30" fmla="*/ 671513 w 1628775"/>
                    <a:gd name="connsiteY30" fmla="*/ 41276 h 894557"/>
                    <a:gd name="connsiteX31" fmla="*/ 651669 w 1628775"/>
                    <a:gd name="connsiteY31" fmla="*/ 74613 h 894557"/>
                    <a:gd name="connsiteX32" fmla="*/ 596900 w 1628775"/>
                    <a:gd name="connsiteY32" fmla="*/ 75407 h 894557"/>
                    <a:gd name="connsiteX33" fmla="*/ 607219 w 1628775"/>
                    <a:gd name="connsiteY33" fmla="*/ 146845 h 894557"/>
                    <a:gd name="connsiteX34" fmla="*/ 511969 w 1628775"/>
                    <a:gd name="connsiteY34" fmla="*/ 113507 h 894557"/>
                    <a:gd name="connsiteX35" fmla="*/ 512762 w 1628775"/>
                    <a:gd name="connsiteY35" fmla="*/ 0 h 894557"/>
                    <a:gd name="connsiteX36" fmla="*/ 461169 w 1628775"/>
                    <a:gd name="connsiteY36" fmla="*/ 7144 h 894557"/>
                    <a:gd name="connsiteX37" fmla="*/ 429418 w 1628775"/>
                    <a:gd name="connsiteY37" fmla="*/ 48419 h 894557"/>
                    <a:gd name="connsiteX38" fmla="*/ 400050 w 1628775"/>
                    <a:gd name="connsiteY38" fmla="*/ 70645 h 894557"/>
                    <a:gd name="connsiteX39" fmla="*/ 378619 w 1628775"/>
                    <a:gd name="connsiteY39" fmla="*/ 111126 h 894557"/>
                    <a:gd name="connsiteX40" fmla="*/ 385762 w 1628775"/>
                    <a:gd name="connsiteY40" fmla="*/ 173039 h 894557"/>
                    <a:gd name="connsiteX41" fmla="*/ 404813 w 1628775"/>
                    <a:gd name="connsiteY41" fmla="*/ 233363 h 894557"/>
                    <a:gd name="connsiteX42" fmla="*/ 431006 w 1628775"/>
                    <a:gd name="connsiteY42" fmla="*/ 270669 h 894557"/>
                    <a:gd name="connsiteX43" fmla="*/ 419894 w 1628775"/>
                    <a:gd name="connsiteY43" fmla="*/ 319088 h 894557"/>
                    <a:gd name="connsiteX44" fmla="*/ 381000 w 1628775"/>
                    <a:gd name="connsiteY44" fmla="*/ 360363 h 894557"/>
                    <a:gd name="connsiteX45" fmla="*/ 328612 w 1628775"/>
                    <a:gd name="connsiteY45" fmla="*/ 338138 h 894557"/>
                    <a:gd name="connsiteX46" fmla="*/ 284162 w 1628775"/>
                    <a:gd name="connsiteY46" fmla="*/ 339726 h 894557"/>
                    <a:gd name="connsiteX47" fmla="*/ 247650 w 1628775"/>
                    <a:gd name="connsiteY47" fmla="*/ 370682 h 894557"/>
                    <a:gd name="connsiteX48" fmla="*/ 181769 w 1628775"/>
                    <a:gd name="connsiteY48" fmla="*/ 363538 h 894557"/>
                    <a:gd name="connsiteX49" fmla="*/ 123825 w 1628775"/>
                    <a:gd name="connsiteY49" fmla="*/ 404813 h 894557"/>
                    <a:gd name="connsiteX50" fmla="*/ 70644 w 1628775"/>
                    <a:gd name="connsiteY50" fmla="*/ 449264 h 894557"/>
                    <a:gd name="connsiteX51" fmla="*/ 0 w 1628775"/>
                    <a:gd name="connsiteY51" fmla="*/ 523082 h 89455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1628775" h="894557">
                      <a:moveTo>
                        <a:pt x="0" y="523082"/>
                      </a:moveTo>
                      <a:lnTo>
                        <a:pt x="92075" y="729457"/>
                      </a:lnTo>
                      <a:lnTo>
                        <a:pt x="200025" y="894557"/>
                      </a:lnTo>
                      <a:lnTo>
                        <a:pt x="561975" y="840582"/>
                      </a:lnTo>
                      <a:lnTo>
                        <a:pt x="911225" y="599282"/>
                      </a:lnTo>
                      <a:lnTo>
                        <a:pt x="1212850" y="551657"/>
                      </a:lnTo>
                      <a:lnTo>
                        <a:pt x="1416050" y="596107"/>
                      </a:lnTo>
                      <a:lnTo>
                        <a:pt x="1628775" y="627857"/>
                      </a:lnTo>
                      <a:lnTo>
                        <a:pt x="1603375" y="526257"/>
                      </a:lnTo>
                      <a:lnTo>
                        <a:pt x="1567656" y="493714"/>
                      </a:lnTo>
                      <a:lnTo>
                        <a:pt x="1567656" y="434182"/>
                      </a:lnTo>
                      <a:lnTo>
                        <a:pt x="1528763" y="392114"/>
                      </a:lnTo>
                      <a:lnTo>
                        <a:pt x="1473993" y="359569"/>
                      </a:lnTo>
                      <a:cubicBezTo>
                        <a:pt x="1491720" y="341048"/>
                        <a:pt x="1469364" y="324116"/>
                        <a:pt x="1467644" y="308770"/>
                      </a:cubicBezTo>
                      <a:cubicBezTo>
                        <a:pt x="1465924" y="293424"/>
                        <a:pt x="1472142" y="278077"/>
                        <a:pt x="1463675" y="267494"/>
                      </a:cubicBezTo>
                      <a:lnTo>
                        <a:pt x="1434306" y="246857"/>
                      </a:lnTo>
                      <a:cubicBezTo>
                        <a:pt x="1433512" y="225690"/>
                        <a:pt x="1385094" y="235480"/>
                        <a:pt x="1384300" y="214313"/>
                      </a:cubicBezTo>
                      <a:lnTo>
                        <a:pt x="1327150" y="202407"/>
                      </a:lnTo>
                      <a:lnTo>
                        <a:pt x="1296193" y="243682"/>
                      </a:lnTo>
                      <a:lnTo>
                        <a:pt x="1247776" y="199232"/>
                      </a:lnTo>
                      <a:lnTo>
                        <a:pt x="1234281" y="154782"/>
                      </a:lnTo>
                      <a:lnTo>
                        <a:pt x="1173163" y="92870"/>
                      </a:lnTo>
                      <a:lnTo>
                        <a:pt x="1134269" y="50801"/>
                      </a:lnTo>
                      <a:lnTo>
                        <a:pt x="1048543" y="64295"/>
                      </a:lnTo>
                      <a:cubicBezTo>
                        <a:pt x="1027112" y="37307"/>
                        <a:pt x="1018645" y="75804"/>
                        <a:pt x="1000918" y="78582"/>
                      </a:cubicBezTo>
                      <a:cubicBezTo>
                        <a:pt x="983191" y="81360"/>
                        <a:pt x="971286" y="96573"/>
                        <a:pt x="942182" y="80963"/>
                      </a:cubicBezTo>
                      <a:lnTo>
                        <a:pt x="902494" y="149226"/>
                      </a:lnTo>
                      <a:lnTo>
                        <a:pt x="815182" y="116682"/>
                      </a:lnTo>
                      <a:lnTo>
                        <a:pt x="776287" y="101601"/>
                      </a:lnTo>
                      <a:cubicBezTo>
                        <a:pt x="761206" y="92076"/>
                        <a:pt x="753269" y="63500"/>
                        <a:pt x="738188" y="53975"/>
                      </a:cubicBezTo>
                      <a:lnTo>
                        <a:pt x="671513" y="41276"/>
                      </a:lnTo>
                      <a:lnTo>
                        <a:pt x="651669" y="74613"/>
                      </a:lnTo>
                      <a:lnTo>
                        <a:pt x="596900" y="75407"/>
                      </a:lnTo>
                      <a:lnTo>
                        <a:pt x="607219" y="146845"/>
                      </a:lnTo>
                      <a:lnTo>
                        <a:pt x="511969" y="113507"/>
                      </a:lnTo>
                      <a:cubicBezTo>
                        <a:pt x="512233" y="75671"/>
                        <a:pt x="512498" y="37836"/>
                        <a:pt x="512762" y="0"/>
                      </a:cubicBezTo>
                      <a:lnTo>
                        <a:pt x="461169" y="7144"/>
                      </a:lnTo>
                      <a:lnTo>
                        <a:pt x="429418" y="48419"/>
                      </a:lnTo>
                      <a:lnTo>
                        <a:pt x="400050" y="70645"/>
                      </a:lnTo>
                      <a:lnTo>
                        <a:pt x="378619" y="111126"/>
                      </a:lnTo>
                      <a:lnTo>
                        <a:pt x="385762" y="173039"/>
                      </a:lnTo>
                      <a:cubicBezTo>
                        <a:pt x="365125" y="163778"/>
                        <a:pt x="397272" y="217091"/>
                        <a:pt x="404813" y="233363"/>
                      </a:cubicBezTo>
                      <a:cubicBezTo>
                        <a:pt x="412354" y="249635"/>
                        <a:pt x="431006" y="243152"/>
                        <a:pt x="431006" y="270669"/>
                      </a:cubicBezTo>
                      <a:lnTo>
                        <a:pt x="419894" y="319088"/>
                      </a:lnTo>
                      <a:lnTo>
                        <a:pt x="381000" y="360363"/>
                      </a:lnTo>
                      <a:cubicBezTo>
                        <a:pt x="361950" y="359305"/>
                        <a:pt x="344752" y="341577"/>
                        <a:pt x="328612" y="338138"/>
                      </a:cubicBezTo>
                      <a:cubicBezTo>
                        <a:pt x="312472" y="334699"/>
                        <a:pt x="278341" y="332053"/>
                        <a:pt x="284162" y="339726"/>
                      </a:cubicBezTo>
                      <a:lnTo>
                        <a:pt x="247650" y="370682"/>
                      </a:lnTo>
                      <a:lnTo>
                        <a:pt x="181769" y="363538"/>
                      </a:lnTo>
                      <a:lnTo>
                        <a:pt x="123825" y="404813"/>
                      </a:lnTo>
                      <a:lnTo>
                        <a:pt x="70644" y="449264"/>
                      </a:lnTo>
                      <a:lnTo>
                        <a:pt x="0" y="523082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4" name="Freeform 83"/>
                <p:cNvSpPr/>
                <p:nvPr/>
              </p:nvSpPr>
              <p:spPr>
                <a:xfrm>
                  <a:off x="2062163" y="1882183"/>
                  <a:ext cx="2205037" cy="2075456"/>
                </a:xfrm>
                <a:custGeom>
                  <a:avLst/>
                  <a:gdLst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43112 w 2205037"/>
                    <a:gd name="connsiteY17" fmla="*/ 133350 h 2157413"/>
                    <a:gd name="connsiteX18" fmla="*/ 2014537 w 2205037"/>
                    <a:gd name="connsiteY18" fmla="*/ 119063 h 2157413"/>
                    <a:gd name="connsiteX19" fmla="*/ 1962150 w 2205037"/>
                    <a:gd name="connsiteY19" fmla="*/ 80963 h 2157413"/>
                    <a:gd name="connsiteX20" fmla="*/ 1914525 w 2205037"/>
                    <a:gd name="connsiteY20" fmla="*/ 71438 h 2157413"/>
                    <a:gd name="connsiteX21" fmla="*/ 1847850 w 2205037"/>
                    <a:gd name="connsiteY21" fmla="*/ 52388 h 2157413"/>
                    <a:gd name="connsiteX22" fmla="*/ 1795462 w 2205037"/>
                    <a:gd name="connsiteY22" fmla="*/ 42863 h 2157413"/>
                    <a:gd name="connsiteX23" fmla="*/ 1724025 w 2205037"/>
                    <a:gd name="connsiteY23" fmla="*/ 33338 h 2157413"/>
                    <a:gd name="connsiteX24" fmla="*/ 1657350 w 2205037"/>
                    <a:gd name="connsiteY24" fmla="*/ 28575 h 2157413"/>
                    <a:gd name="connsiteX25" fmla="*/ 1585912 w 2205037"/>
                    <a:gd name="connsiteY25" fmla="*/ 9525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14537 w 2205037"/>
                    <a:gd name="connsiteY18" fmla="*/ 119063 h 2157413"/>
                    <a:gd name="connsiteX19" fmla="*/ 1962150 w 2205037"/>
                    <a:gd name="connsiteY19" fmla="*/ 80963 h 2157413"/>
                    <a:gd name="connsiteX20" fmla="*/ 1914525 w 2205037"/>
                    <a:gd name="connsiteY20" fmla="*/ 71438 h 2157413"/>
                    <a:gd name="connsiteX21" fmla="*/ 1847850 w 2205037"/>
                    <a:gd name="connsiteY21" fmla="*/ 52388 h 2157413"/>
                    <a:gd name="connsiteX22" fmla="*/ 1795462 w 2205037"/>
                    <a:gd name="connsiteY22" fmla="*/ 42863 h 2157413"/>
                    <a:gd name="connsiteX23" fmla="*/ 1724025 w 2205037"/>
                    <a:gd name="connsiteY23" fmla="*/ 33338 h 2157413"/>
                    <a:gd name="connsiteX24" fmla="*/ 1657350 w 2205037"/>
                    <a:gd name="connsiteY24" fmla="*/ 28575 h 2157413"/>
                    <a:gd name="connsiteX25" fmla="*/ 1585912 w 2205037"/>
                    <a:gd name="connsiteY25" fmla="*/ 9525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62150 w 2205037"/>
                    <a:gd name="connsiteY19" fmla="*/ 80963 h 2157413"/>
                    <a:gd name="connsiteX20" fmla="*/ 1914525 w 2205037"/>
                    <a:gd name="connsiteY20" fmla="*/ 71438 h 2157413"/>
                    <a:gd name="connsiteX21" fmla="*/ 1847850 w 2205037"/>
                    <a:gd name="connsiteY21" fmla="*/ 52388 h 2157413"/>
                    <a:gd name="connsiteX22" fmla="*/ 1795462 w 2205037"/>
                    <a:gd name="connsiteY22" fmla="*/ 42863 h 2157413"/>
                    <a:gd name="connsiteX23" fmla="*/ 1724025 w 2205037"/>
                    <a:gd name="connsiteY23" fmla="*/ 33338 h 2157413"/>
                    <a:gd name="connsiteX24" fmla="*/ 1657350 w 2205037"/>
                    <a:gd name="connsiteY24" fmla="*/ 28575 h 2157413"/>
                    <a:gd name="connsiteX25" fmla="*/ 1585912 w 2205037"/>
                    <a:gd name="connsiteY25" fmla="*/ 9525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14525 w 2205037"/>
                    <a:gd name="connsiteY20" fmla="*/ 71438 h 2157413"/>
                    <a:gd name="connsiteX21" fmla="*/ 1847850 w 2205037"/>
                    <a:gd name="connsiteY21" fmla="*/ 52388 h 2157413"/>
                    <a:gd name="connsiteX22" fmla="*/ 1795462 w 2205037"/>
                    <a:gd name="connsiteY22" fmla="*/ 42863 h 2157413"/>
                    <a:gd name="connsiteX23" fmla="*/ 1724025 w 2205037"/>
                    <a:gd name="connsiteY23" fmla="*/ 33338 h 2157413"/>
                    <a:gd name="connsiteX24" fmla="*/ 1657350 w 2205037"/>
                    <a:gd name="connsiteY24" fmla="*/ 28575 h 2157413"/>
                    <a:gd name="connsiteX25" fmla="*/ 1585912 w 2205037"/>
                    <a:gd name="connsiteY25" fmla="*/ 9525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02619 w 2205037"/>
                    <a:gd name="connsiteY20" fmla="*/ 150019 h 2157413"/>
                    <a:gd name="connsiteX21" fmla="*/ 1847850 w 2205037"/>
                    <a:gd name="connsiteY21" fmla="*/ 52388 h 2157413"/>
                    <a:gd name="connsiteX22" fmla="*/ 1795462 w 2205037"/>
                    <a:gd name="connsiteY22" fmla="*/ 42863 h 2157413"/>
                    <a:gd name="connsiteX23" fmla="*/ 1724025 w 2205037"/>
                    <a:gd name="connsiteY23" fmla="*/ 33338 h 2157413"/>
                    <a:gd name="connsiteX24" fmla="*/ 1657350 w 2205037"/>
                    <a:gd name="connsiteY24" fmla="*/ 28575 h 2157413"/>
                    <a:gd name="connsiteX25" fmla="*/ 1585912 w 2205037"/>
                    <a:gd name="connsiteY25" fmla="*/ 9525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02619 w 2205037"/>
                    <a:gd name="connsiteY20" fmla="*/ 150019 h 2157413"/>
                    <a:gd name="connsiteX21" fmla="*/ 1828800 w 2205037"/>
                    <a:gd name="connsiteY21" fmla="*/ 135731 h 2157413"/>
                    <a:gd name="connsiteX22" fmla="*/ 1795462 w 2205037"/>
                    <a:gd name="connsiteY22" fmla="*/ 42863 h 2157413"/>
                    <a:gd name="connsiteX23" fmla="*/ 1724025 w 2205037"/>
                    <a:gd name="connsiteY23" fmla="*/ 33338 h 2157413"/>
                    <a:gd name="connsiteX24" fmla="*/ 1657350 w 2205037"/>
                    <a:gd name="connsiteY24" fmla="*/ 28575 h 2157413"/>
                    <a:gd name="connsiteX25" fmla="*/ 1585912 w 2205037"/>
                    <a:gd name="connsiteY25" fmla="*/ 9525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02619 w 2205037"/>
                    <a:gd name="connsiteY20" fmla="*/ 150019 h 2157413"/>
                    <a:gd name="connsiteX21" fmla="*/ 1828800 w 2205037"/>
                    <a:gd name="connsiteY21" fmla="*/ 135731 h 2157413"/>
                    <a:gd name="connsiteX22" fmla="*/ 1785937 w 2205037"/>
                    <a:gd name="connsiteY22" fmla="*/ 114300 h 2157413"/>
                    <a:gd name="connsiteX23" fmla="*/ 1724025 w 2205037"/>
                    <a:gd name="connsiteY23" fmla="*/ 33338 h 2157413"/>
                    <a:gd name="connsiteX24" fmla="*/ 1657350 w 2205037"/>
                    <a:gd name="connsiteY24" fmla="*/ 28575 h 2157413"/>
                    <a:gd name="connsiteX25" fmla="*/ 1585912 w 2205037"/>
                    <a:gd name="connsiteY25" fmla="*/ 9525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02619 w 2205037"/>
                    <a:gd name="connsiteY20" fmla="*/ 150019 h 2157413"/>
                    <a:gd name="connsiteX21" fmla="*/ 1828800 w 2205037"/>
                    <a:gd name="connsiteY21" fmla="*/ 135731 h 2157413"/>
                    <a:gd name="connsiteX22" fmla="*/ 1785937 w 2205037"/>
                    <a:gd name="connsiteY22" fmla="*/ 114300 h 2157413"/>
                    <a:gd name="connsiteX23" fmla="*/ 1733550 w 2205037"/>
                    <a:gd name="connsiteY23" fmla="*/ 133350 h 2157413"/>
                    <a:gd name="connsiteX24" fmla="*/ 1657350 w 2205037"/>
                    <a:gd name="connsiteY24" fmla="*/ 28575 h 2157413"/>
                    <a:gd name="connsiteX25" fmla="*/ 1585912 w 2205037"/>
                    <a:gd name="connsiteY25" fmla="*/ 9525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02619 w 2205037"/>
                    <a:gd name="connsiteY20" fmla="*/ 150019 h 2157413"/>
                    <a:gd name="connsiteX21" fmla="*/ 1828800 w 2205037"/>
                    <a:gd name="connsiteY21" fmla="*/ 135731 h 2157413"/>
                    <a:gd name="connsiteX22" fmla="*/ 1785937 w 2205037"/>
                    <a:gd name="connsiteY22" fmla="*/ 114300 h 2157413"/>
                    <a:gd name="connsiteX23" fmla="*/ 1733550 w 2205037"/>
                    <a:gd name="connsiteY23" fmla="*/ 133350 h 2157413"/>
                    <a:gd name="connsiteX24" fmla="*/ 1735931 w 2205037"/>
                    <a:gd name="connsiteY24" fmla="*/ 88107 h 2157413"/>
                    <a:gd name="connsiteX25" fmla="*/ 1585912 w 2205037"/>
                    <a:gd name="connsiteY25" fmla="*/ 9525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02619 w 2205037"/>
                    <a:gd name="connsiteY20" fmla="*/ 150019 h 2157413"/>
                    <a:gd name="connsiteX21" fmla="*/ 1828800 w 2205037"/>
                    <a:gd name="connsiteY21" fmla="*/ 135731 h 2157413"/>
                    <a:gd name="connsiteX22" fmla="*/ 1785937 w 2205037"/>
                    <a:gd name="connsiteY22" fmla="*/ 114300 h 2157413"/>
                    <a:gd name="connsiteX23" fmla="*/ 1733550 w 2205037"/>
                    <a:gd name="connsiteY23" fmla="*/ 133350 h 2157413"/>
                    <a:gd name="connsiteX24" fmla="*/ 1735931 w 2205037"/>
                    <a:gd name="connsiteY24" fmla="*/ 88107 h 2157413"/>
                    <a:gd name="connsiteX25" fmla="*/ 1678781 w 2205037"/>
                    <a:gd name="connsiteY25" fmla="*/ 107156 h 2157413"/>
                    <a:gd name="connsiteX26" fmla="*/ 1547812 w 2205037"/>
                    <a:gd name="connsiteY26" fmla="*/ 4763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02619 w 2205037"/>
                    <a:gd name="connsiteY20" fmla="*/ 150019 h 2157413"/>
                    <a:gd name="connsiteX21" fmla="*/ 1828800 w 2205037"/>
                    <a:gd name="connsiteY21" fmla="*/ 135731 h 2157413"/>
                    <a:gd name="connsiteX22" fmla="*/ 1785937 w 2205037"/>
                    <a:gd name="connsiteY22" fmla="*/ 114300 h 2157413"/>
                    <a:gd name="connsiteX23" fmla="*/ 1733550 w 2205037"/>
                    <a:gd name="connsiteY23" fmla="*/ 133350 h 2157413"/>
                    <a:gd name="connsiteX24" fmla="*/ 1735931 w 2205037"/>
                    <a:gd name="connsiteY24" fmla="*/ 88107 h 2157413"/>
                    <a:gd name="connsiteX25" fmla="*/ 1678781 w 2205037"/>
                    <a:gd name="connsiteY25" fmla="*/ 107156 h 2157413"/>
                    <a:gd name="connsiteX26" fmla="*/ 1631156 w 2205037"/>
                    <a:gd name="connsiteY26" fmla="*/ 111919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02619 w 2205037"/>
                    <a:gd name="connsiteY20" fmla="*/ 150019 h 2157413"/>
                    <a:gd name="connsiteX21" fmla="*/ 1828800 w 2205037"/>
                    <a:gd name="connsiteY21" fmla="*/ 135731 h 2157413"/>
                    <a:gd name="connsiteX22" fmla="*/ 1785937 w 2205037"/>
                    <a:gd name="connsiteY22" fmla="*/ 114300 h 2157413"/>
                    <a:gd name="connsiteX23" fmla="*/ 1733550 w 2205037"/>
                    <a:gd name="connsiteY23" fmla="*/ 133350 h 2157413"/>
                    <a:gd name="connsiteX24" fmla="*/ 1735931 w 2205037"/>
                    <a:gd name="connsiteY24" fmla="*/ 88107 h 2157413"/>
                    <a:gd name="connsiteX25" fmla="*/ 1678781 w 2205037"/>
                    <a:gd name="connsiteY25" fmla="*/ 100013 h 2157413"/>
                    <a:gd name="connsiteX26" fmla="*/ 1631156 w 2205037"/>
                    <a:gd name="connsiteY26" fmla="*/ 111919 h 2157413"/>
                    <a:gd name="connsiteX27" fmla="*/ 1452562 w 2205037"/>
                    <a:gd name="connsiteY27" fmla="*/ 0 h 2157413"/>
                    <a:gd name="connsiteX28" fmla="*/ 1404937 w 2205037"/>
                    <a:gd name="connsiteY28" fmla="*/ 0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88055 h 2164468"/>
                    <a:gd name="connsiteX1" fmla="*/ 252412 w 2205037"/>
                    <a:gd name="connsiteY1" fmla="*/ 630943 h 2164468"/>
                    <a:gd name="connsiteX2" fmla="*/ 0 w 2205037"/>
                    <a:gd name="connsiteY2" fmla="*/ 1135768 h 2164468"/>
                    <a:gd name="connsiteX3" fmla="*/ 261937 w 2205037"/>
                    <a:gd name="connsiteY3" fmla="*/ 1435805 h 2164468"/>
                    <a:gd name="connsiteX4" fmla="*/ 614362 w 2205037"/>
                    <a:gd name="connsiteY4" fmla="*/ 1526293 h 2164468"/>
                    <a:gd name="connsiteX5" fmla="*/ 957262 w 2205037"/>
                    <a:gd name="connsiteY5" fmla="*/ 1750130 h 2164468"/>
                    <a:gd name="connsiteX6" fmla="*/ 995362 w 2205037"/>
                    <a:gd name="connsiteY6" fmla="*/ 1973968 h 2164468"/>
                    <a:gd name="connsiteX7" fmla="*/ 971550 w 2205037"/>
                    <a:gd name="connsiteY7" fmla="*/ 2159705 h 2164468"/>
                    <a:gd name="connsiteX8" fmla="*/ 1185862 w 2205037"/>
                    <a:gd name="connsiteY8" fmla="*/ 2164468 h 2164468"/>
                    <a:gd name="connsiteX9" fmla="*/ 1371600 w 2205037"/>
                    <a:gd name="connsiteY9" fmla="*/ 2073980 h 2164468"/>
                    <a:gd name="connsiteX10" fmla="*/ 1681162 w 2205037"/>
                    <a:gd name="connsiteY10" fmla="*/ 2107318 h 2164468"/>
                    <a:gd name="connsiteX11" fmla="*/ 1976437 w 2205037"/>
                    <a:gd name="connsiteY11" fmla="*/ 1721555 h 2164468"/>
                    <a:gd name="connsiteX12" fmla="*/ 2205037 w 2205037"/>
                    <a:gd name="connsiteY12" fmla="*/ 1150055 h 2164468"/>
                    <a:gd name="connsiteX13" fmla="*/ 2205037 w 2205037"/>
                    <a:gd name="connsiteY13" fmla="*/ 883355 h 2164468"/>
                    <a:gd name="connsiteX14" fmla="*/ 2119312 w 2205037"/>
                    <a:gd name="connsiteY14" fmla="*/ 564268 h 2164468"/>
                    <a:gd name="connsiteX15" fmla="*/ 2171700 w 2205037"/>
                    <a:gd name="connsiteY15" fmla="*/ 278518 h 2164468"/>
                    <a:gd name="connsiteX16" fmla="*/ 2119312 w 2205037"/>
                    <a:gd name="connsiteY16" fmla="*/ 188030 h 2164468"/>
                    <a:gd name="connsiteX17" fmla="*/ 2078831 w 2205037"/>
                    <a:gd name="connsiteY17" fmla="*/ 226130 h 2164468"/>
                    <a:gd name="connsiteX18" fmla="*/ 2005012 w 2205037"/>
                    <a:gd name="connsiteY18" fmla="*/ 195174 h 2164468"/>
                    <a:gd name="connsiteX19" fmla="*/ 1933575 w 2205037"/>
                    <a:gd name="connsiteY19" fmla="*/ 183268 h 2164468"/>
                    <a:gd name="connsiteX20" fmla="*/ 1902619 w 2205037"/>
                    <a:gd name="connsiteY20" fmla="*/ 157074 h 2164468"/>
                    <a:gd name="connsiteX21" fmla="*/ 1828800 w 2205037"/>
                    <a:gd name="connsiteY21" fmla="*/ 142786 h 2164468"/>
                    <a:gd name="connsiteX22" fmla="*/ 1785937 w 2205037"/>
                    <a:gd name="connsiteY22" fmla="*/ 121355 h 2164468"/>
                    <a:gd name="connsiteX23" fmla="*/ 1733550 w 2205037"/>
                    <a:gd name="connsiteY23" fmla="*/ 140405 h 2164468"/>
                    <a:gd name="connsiteX24" fmla="*/ 1735931 w 2205037"/>
                    <a:gd name="connsiteY24" fmla="*/ 95162 h 2164468"/>
                    <a:gd name="connsiteX25" fmla="*/ 1678781 w 2205037"/>
                    <a:gd name="connsiteY25" fmla="*/ 107068 h 2164468"/>
                    <a:gd name="connsiteX26" fmla="*/ 1631156 w 2205037"/>
                    <a:gd name="connsiteY26" fmla="*/ 118974 h 2164468"/>
                    <a:gd name="connsiteX27" fmla="*/ 1590674 w 2205037"/>
                    <a:gd name="connsiteY27" fmla="*/ 102305 h 2164468"/>
                    <a:gd name="connsiteX28" fmla="*/ 1404937 w 2205037"/>
                    <a:gd name="connsiteY28" fmla="*/ 7055 h 2164468"/>
                    <a:gd name="connsiteX29" fmla="*/ 1314450 w 2205037"/>
                    <a:gd name="connsiteY29" fmla="*/ 7055 h 2164468"/>
                    <a:gd name="connsiteX30" fmla="*/ 1223962 w 2205037"/>
                    <a:gd name="connsiteY30" fmla="*/ 21343 h 2164468"/>
                    <a:gd name="connsiteX31" fmla="*/ 1133475 w 2205037"/>
                    <a:gd name="connsiteY31" fmla="*/ 54680 h 2164468"/>
                    <a:gd name="connsiteX32" fmla="*/ 1057275 w 2205037"/>
                    <a:gd name="connsiteY32" fmla="*/ 92780 h 2164468"/>
                    <a:gd name="connsiteX33" fmla="*/ 966787 w 2205037"/>
                    <a:gd name="connsiteY33" fmla="*/ 149930 h 2164468"/>
                    <a:gd name="connsiteX34" fmla="*/ 900112 w 2205037"/>
                    <a:gd name="connsiteY34" fmla="*/ 192793 h 2164468"/>
                    <a:gd name="connsiteX35" fmla="*/ 828675 w 2205037"/>
                    <a:gd name="connsiteY35" fmla="*/ 249943 h 2164468"/>
                    <a:gd name="connsiteX36" fmla="*/ 785812 w 2205037"/>
                    <a:gd name="connsiteY36" fmla="*/ 240418 h 2164468"/>
                    <a:gd name="connsiteX37" fmla="*/ 728662 w 2205037"/>
                    <a:gd name="connsiteY37" fmla="*/ 211843 h 2164468"/>
                    <a:gd name="connsiteX38" fmla="*/ 695325 w 2205037"/>
                    <a:gd name="connsiteY38" fmla="*/ 183268 h 2164468"/>
                    <a:gd name="connsiteX39" fmla="*/ 661987 w 2205037"/>
                    <a:gd name="connsiteY39" fmla="*/ 164218 h 2164468"/>
                    <a:gd name="connsiteX40" fmla="*/ 595312 w 2205037"/>
                    <a:gd name="connsiteY40" fmla="*/ 149930 h 2164468"/>
                    <a:gd name="connsiteX41" fmla="*/ 438150 w 2205037"/>
                    <a:gd name="connsiteY41" fmla="*/ 135643 h 2164468"/>
                    <a:gd name="connsiteX42" fmla="*/ 357187 w 2205037"/>
                    <a:gd name="connsiteY42" fmla="*/ 168980 h 2164468"/>
                    <a:gd name="connsiteX43" fmla="*/ 357187 w 2205037"/>
                    <a:gd name="connsiteY43" fmla="*/ 230893 h 2164468"/>
                    <a:gd name="connsiteX44" fmla="*/ 319087 w 2205037"/>
                    <a:gd name="connsiteY44" fmla="*/ 288043 h 2164468"/>
                    <a:gd name="connsiteX45" fmla="*/ 347662 w 2205037"/>
                    <a:gd name="connsiteY45" fmla="*/ 388055 h 2164468"/>
                    <a:gd name="connsiteX0" fmla="*/ 347662 w 2205037"/>
                    <a:gd name="connsiteY0" fmla="*/ 381000 h 2157413"/>
                    <a:gd name="connsiteX1" fmla="*/ 252412 w 2205037"/>
                    <a:gd name="connsiteY1" fmla="*/ 623888 h 2157413"/>
                    <a:gd name="connsiteX2" fmla="*/ 0 w 2205037"/>
                    <a:gd name="connsiteY2" fmla="*/ 1128713 h 2157413"/>
                    <a:gd name="connsiteX3" fmla="*/ 261937 w 2205037"/>
                    <a:gd name="connsiteY3" fmla="*/ 1428750 h 2157413"/>
                    <a:gd name="connsiteX4" fmla="*/ 614362 w 2205037"/>
                    <a:gd name="connsiteY4" fmla="*/ 1519238 h 2157413"/>
                    <a:gd name="connsiteX5" fmla="*/ 957262 w 2205037"/>
                    <a:gd name="connsiteY5" fmla="*/ 1743075 h 2157413"/>
                    <a:gd name="connsiteX6" fmla="*/ 995362 w 2205037"/>
                    <a:gd name="connsiteY6" fmla="*/ 1966913 h 2157413"/>
                    <a:gd name="connsiteX7" fmla="*/ 971550 w 2205037"/>
                    <a:gd name="connsiteY7" fmla="*/ 2152650 h 2157413"/>
                    <a:gd name="connsiteX8" fmla="*/ 1185862 w 2205037"/>
                    <a:gd name="connsiteY8" fmla="*/ 2157413 h 2157413"/>
                    <a:gd name="connsiteX9" fmla="*/ 1371600 w 2205037"/>
                    <a:gd name="connsiteY9" fmla="*/ 2066925 h 2157413"/>
                    <a:gd name="connsiteX10" fmla="*/ 1681162 w 2205037"/>
                    <a:gd name="connsiteY10" fmla="*/ 2100263 h 2157413"/>
                    <a:gd name="connsiteX11" fmla="*/ 1976437 w 2205037"/>
                    <a:gd name="connsiteY11" fmla="*/ 1714500 h 2157413"/>
                    <a:gd name="connsiteX12" fmla="*/ 2205037 w 2205037"/>
                    <a:gd name="connsiteY12" fmla="*/ 1143000 h 2157413"/>
                    <a:gd name="connsiteX13" fmla="*/ 2205037 w 2205037"/>
                    <a:gd name="connsiteY13" fmla="*/ 876300 h 2157413"/>
                    <a:gd name="connsiteX14" fmla="*/ 2119312 w 2205037"/>
                    <a:gd name="connsiteY14" fmla="*/ 557213 h 2157413"/>
                    <a:gd name="connsiteX15" fmla="*/ 2171700 w 2205037"/>
                    <a:gd name="connsiteY15" fmla="*/ 271463 h 2157413"/>
                    <a:gd name="connsiteX16" fmla="*/ 2119312 w 2205037"/>
                    <a:gd name="connsiteY16" fmla="*/ 180975 h 2157413"/>
                    <a:gd name="connsiteX17" fmla="*/ 2078831 w 2205037"/>
                    <a:gd name="connsiteY17" fmla="*/ 219075 h 2157413"/>
                    <a:gd name="connsiteX18" fmla="*/ 2005012 w 2205037"/>
                    <a:gd name="connsiteY18" fmla="*/ 188119 h 2157413"/>
                    <a:gd name="connsiteX19" fmla="*/ 1933575 w 2205037"/>
                    <a:gd name="connsiteY19" fmla="*/ 176213 h 2157413"/>
                    <a:gd name="connsiteX20" fmla="*/ 1902619 w 2205037"/>
                    <a:gd name="connsiteY20" fmla="*/ 150019 h 2157413"/>
                    <a:gd name="connsiteX21" fmla="*/ 1828800 w 2205037"/>
                    <a:gd name="connsiteY21" fmla="*/ 135731 h 2157413"/>
                    <a:gd name="connsiteX22" fmla="*/ 1785937 w 2205037"/>
                    <a:gd name="connsiteY22" fmla="*/ 114300 h 2157413"/>
                    <a:gd name="connsiteX23" fmla="*/ 1733550 w 2205037"/>
                    <a:gd name="connsiteY23" fmla="*/ 133350 h 2157413"/>
                    <a:gd name="connsiteX24" fmla="*/ 1735931 w 2205037"/>
                    <a:gd name="connsiteY24" fmla="*/ 88107 h 2157413"/>
                    <a:gd name="connsiteX25" fmla="*/ 1678781 w 2205037"/>
                    <a:gd name="connsiteY25" fmla="*/ 100013 h 2157413"/>
                    <a:gd name="connsiteX26" fmla="*/ 1631156 w 2205037"/>
                    <a:gd name="connsiteY26" fmla="*/ 111919 h 2157413"/>
                    <a:gd name="connsiteX27" fmla="*/ 1590674 w 2205037"/>
                    <a:gd name="connsiteY27" fmla="*/ 95250 h 2157413"/>
                    <a:gd name="connsiteX28" fmla="*/ 1543049 w 2205037"/>
                    <a:gd name="connsiteY28" fmla="*/ 102394 h 2157413"/>
                    <a:gd name="connsiteX29" fmla="*/ 1314450 w 2205037"/>
                    <a:gd name="connsiteY29" fmla="*/ 0 h 2157413"/>
                    <a:gd name="connsiteX30" fmla="*/ 1223962 w 2205037"/>
                    <a:gd name="connsiteY30" fmla="*/ 14288 h 2157413"/>
                    <a:gd name="connsiteX31" fmla="*/ 1133475 w 2205037"/>
                    <a:gd name="connsiteY31" fmla="*/ 47625 h 2157413"/>
                    <a:gd name="connsiteX32" fmla="*/ 1057275 w 2205037"/>
                    <a:gd name="connsiteY32" fmla="*/ 85725 h 2157413"/>
                    <a:gd name="connsiteX33" fmla="*/ 966787 w 2205037"/>
                    <a:gd name="connsiteY33" fmla="*/ 142875 h 2157413"/>
                    <a:gd name="connsiteX34" fmla="*/ 900112 w 2205037"/>
                    <a:gd name="connsiteY34" fmla="*/ 185738 h 2157413"/>
                    <a:gd name="connsiteX35" fmla="*/ 828675 w 2205037"/>
                    <a:gd name="connsiteY35" fmla="*/ 242888 h 2157413"/>
                    <a:gd name="connsiteX36" fmla="*/ 785812 w 2205037"/>
                    <a:gd name="connsiteY36" fmla="*/ 233363 h 2157413"/>
                    <a:gd name="connsiteX37" fmla="*/ 728662 w 2205037"/>
                    <a:gd name="connsiteY37" fmla="*/ 204788 h 2157413"/>
                    <a:gd name="connsiteX38" fmla="*/ 695325 w 2205037"/>
                    <a:gd name="connsiteY38" fmla="*/ 176213 h 2157413"/>
                    <a:gd name="connsiteX39" fmla="*/ 661987 w 2205037"/>
                    <a:gd name="connsiteY39" fmla="*/ 157163 h 2157413"/>
                    <a:gd name="connsiteX40" fmla="*/ 595312 w 2205037"/>
                    <a:gd name="connsiteY40" fmla="*/ 142875 h 2157413"/>
                    <a:gd name="connsiteX41" fmla="*/ 438150 w 2205037"/>
                    <a:gd name="connsiteY41" fmla="*/ 128588 h 2157413"/>
                    <a:gd name="connsiteX42" fmla="*/ 357187 w 2205037"/>
                    <a:gd name="connsiteY42" fmla="*/ 161925 h 2157413"/>
                    <a:gd name="connsiteX43" fmla="*/ 357187 w 2205037"/>
                    <a:gd name="connsiteY43" fmla="*/ 223838 h 2157413"/>
                    <a:gd name="connsiteX44" fmla="*/ 319087 w 2205037"/>
                    <a:gd name="connsiteY44" fmla="*/ 280988 h 2157413"/>
                    <a:gd name="connsiteX45" fmla="*/ 347662 w 2205037"/>
                    <a:gd name="connsiteY45" fmla="*/ 381000 h 2157413"/>
                    <a:gd name="connsiteX0" fmla="*/ 347662 w 2205037"/>
                    <a:gd name="connsiteY0" fmla="*/ 366712 h 2143125"/>
                    <a:gd name="connsiteX1" fmla="*/ 252412 w 2205037"/>
                    <a:gd name="connsiteY1" fmla="*/ 609600 h 2143125"/>
                    <a:gd name="connsiteX2" fmla="*/ 0 w 2205037"/>
                    <a:gd name="connsiteY2" fmla="*/ 1114425 h 2143125"/>
                    <a:gd name="connsiteX3" fmla="*/ 261937 w 2205037"/>
                    <a:gd name="connsiteY3" fmla="*/ 1414462 h 2143125"/>
                    <a:gd name="connsiteX4" fmla="*/ 614362 w 2205037"/>
                    <a:gd name="connsiteY4" fmla="*/ 1504950 h 2143125"/>
                    <a:gd name="connsiteX5" fmla="*/ 957262 w 2205037"/>
                    <a:gd name="connsiteY5" fmla="*/ 1728787 h 2143125"/>
                    <a:gd name="connsiteX6" fmla="*/ 995362 w 2205037"/>
                    <a:gd name="connsiteY6" fmla="*/ 1952625 h 2143125"/>
                    <a:gd name="connsiteX7" fmla="*/ 971550 w 2205037"/>
                    <a:gd name="connsiteY7" fmla="*/ 2138362 h 2143125"/>
                    <a:gd name="connsiteX8" fmla="*/ 1185862 w 2205037"/>
                    <a:gd name="connsiteY8" fmla="*/ 2143125 h 2143125"/>
                    <a:gd name="connsiteX9" fmla="*/ 1371600 w 2205037"/>
                    <a:gd name="connsiteY9" fmla="*/ 2052637 h 2143125"/>
                    <a:gd name="connsiteX10" fmla="*/ 1681162 w 2205037"/>
                    <a:gd name="connsiteY10" fmla="*/ 2085975 h 2143125"/>
                    <a:gd name="connsiteX11" fmla="*/ 1976437 w 2205037"/>
                    <a:gd name="connsiteY11" fmla="*/ 1700212 h 2143125"/>
                    <a:gd name="connsiteX12" fmla="*/ 2205037 w 2205037"/>
                    <a:gd name="connsiteY12" fmla="*/ 1128712 h 2143125"/>
                    <a:gd name="connsiteX13" fmla="*/ 2205037 w 2205037"/>
                    <a:gd name="connsiteY13" fmla="*/ 862012 h 2143125"/>
                    <a:gd name="connsiteX14" fmla="*/ 2119312 w 2205037"/>
                    <a:gd name="connsiteY14" fmla="*/ 542925 h 2143125"/>
                    <a:gd name="connsiteX15" fmla="*/ 2171700 w 2205037"/>
                    <a:gd name="connsiteY15" fmla="*/ 257175 h 2143125"/>
                    <a:gd name="connsiteX16" fmla="*/ 2119312 w 2205037"/>
                    <a:gd name="connsiteY16" fmla="*/ 166687 h 2143125"/>
                    <a:gd name="connsiteX17" fmla="*/ 2078831 w 2205037"/>
                    <a:gd name="connsiteY17" fmla="*/ 204787 h 2143125"/>
                    <a:gd name="connsiteX18" fmla="*/ 2005012 w 2205037"/>
                    <a:gd name="connsiteY18" fmla="*/ 173831 h 2143125"/>
                    <a:gd name="connsiteX19" fmla="*/ 1933575 w 2205037"/>
                    <a:gd name="connsiteY19" fmla="*/ 161925 h 2143125"/>
                    <a:gd name="connsiteX20" fmla="*/ 1902619 w 2205037"/>
                    <a:gd name="connsiteY20" fmla="*/ 135731 h 2143125"/>
                    <a:gd name="connsiteX21" fmla="*/ 1828800 w 2205037"/>
                    <a:gd name="connsiteY21" fmla="*/ 121443 h 2143125"/>
                    <a:gd name="connsiteX22" fmla="*/ 1785937 w 2205037"/>
                    <a:gd name="connsiteY22" fmla="*/ 100012 h 2143125"/>
                    <a:gd name="connsiteX23" fmla="*/ 1733550 w 2205037"/>
                    <a:gd name="connsiteY23" fmla="*/ 119062 h 2143125"/>
                    <a:gd name="connsiteX24" fmla="*/ 1735931 w 2205037"/>
                    <a:gd name="connsiteY24" fmla="*/ 73819 h 2143125"/>
                    <a:gd name="connsiteX25" fmla="*/ 1678781 w 2205037"/>
                    <a:gd name="connsiteY25" fmla="*/ 85725 h 2143125"/>
                    <a:gd name="connsiteX26" fmla="*/ 1631156 w 2205037"/>
                    <a:gd name="connsiteY26" fmla="*/ 97631 h 2143125"/>
                    <a:gd name="connsiteX27" fmla="*/ 1590674 w 2205037"/>
                    <a:gd name="connsiteY27" fmla="*/ 80962 h 2143125"/>
                    <a:gd name="connsiteX28" fmla="*/ 1543049 w 2205037"/>
                    <a:gd name="connsiteY28" fmla="*/ 88106 h 2143125"/>
                    <a:gd name="connsiteX29" fmla="*/ 1462087 w 2205037"/>
                    <a:gd name="connsiteY29" fmla="*/ 107156 h 2143125"/>
                    <a:gd name="connsiteX30" fmla="*/ 1223962 w 2205037"/>
                    <a:gd name="connsiteY30" fmla="*/ 0 h 2143125"/>
                    <a:gd name="connsiteX31" fmla="*/ 1133475 w 2205037"/>
                    <a:gd name="connsiteY31" fmla="*/ 33337 h 2143125"/>
                    <a:gd name="connsiteX32" fmla="*/ 1057275 w 2205037"/>
                    <a:gd name="connsiteY32" fmla="*/ 71437 h 2143125"/>
                    <a:gd name="connsiteX33" fmla="*/ 966787 w 2205037"/>
                    <a:gd name="connsiteY33" fmla="*/ 128587 h 2143125"/>
                    <a:gd name="connsiteX34" fmla="*/ 900112 w 2205037"/>
                    <a:gd name="connsiteY34" fmla="*/ 171450 h 2143125"/>
                    <a:gd name="connsiteX35" fmla="*/ 828675 w 2205037"/>
                    <a:gd name="connsiteY35" fmla="*/ 228600 h 2143125"/>
                    <a:gd name="connsiteX36" fmla="*/ 785812 w 2205037"/>
                    <a:gd name="connsiteY36" fmla="*/ 219075 h 2143125"/>
                    <a:gd name="connsiteX37" fmla="*/ 728662 w 2205037"/>
                    <a:gd name="connsiteY37" fmla="*/ 190500 h 2143125"/>
                    <a:gd name="connsiteX38" fmla="*/ 695325 w 2205037"/>
                    <a:gd name="connsiteY38" fmla="*/ 161925 h 2143125"/>
                    <a:gd name="connsiteX39" fmla="*/ 661987 w 2205037"/>
                    <a:gd name="connsiteY39" fmla="*/ 142875 h 2143125"/>
                    <a:gd name="connsiteX40" fmla="*/ 595312 w 2205037"/>
                    <a:gd name="connsiteY40" fmla="*/ 128587 h 2143125"/>
                    <a:gd name="connsiteX41" fmla="*/ 438150 w 2205037"/>
                    <a:gd name="connsiteY41" fmla="*/ 114300 h 2143125"/>
                    <a:gd name="connsiteX42" fmla="*/ 357187 w 2205037"/>
                    <a:gd name="connsiteY42" fmla="*/ 147637 h 2143125"/>
                    <a:gd name="connsiteX43" fmla="*/ 357187 w 2205037"/>
                    <a:gd name="connsiteY43" fmla="*/ 209550 h 2143125"/>
                    <a:gd name="connsiteX44" fmla="*/ 319087 w 2205037"/>
                    <a:gd name="connsiteY44" fmla="*/ 266700 h 2143125"/>
                    <a:gd name="connsiteX45" fmla="*/ 347662 w 2205037"/>
                    <a:gd name="connsiteY45" fmla="*/ 366712 h 2143125"/>
                    <a:gd name="connsiteX0" fmla="*/ 347662 w 2205037"/>
                    <a:gd name="connsiteY0" fmla="*/ 333375 h 2109788"/>
                    <a:gd name="connsiteX1" fmla="*/ 252412 w 2205037"/>
                    <a:gd name="connsiteY1" fmla="*/ 576263 h 2109788"/>
                    <a:gd name="connsiteX2" fmla="*/ 0 w 2205037"/>
                    <a:gd name="connsiteY2" fmla="*/ 1081088 h 2109788"/>
                    <a:gd name="connsiteX3" fmla="*/ 261937 w 2205037"/>
                    <a:gd name="connsiteY3" fmla="*/ 1381125 h 2109788"/>
                    <a:gd name="connsiteX4" fmla="*/ 614362 w 2205037"/>
                    <a:gd name="connsiteY4" fmla="*/ 1471613 h 2109788"/>
                    <a:gd name="connsiteX5" fmla="*/ 957262 w 2205037"/>
                    <a:gd name="connsiteY5" fmla="*/ 1695450 h 2109788"/>
                    <a:gd name="connsiteX6" fmla="*/ 995362 w 2205037"/>
                    <a:gd name="connsiteY6" fmla="*/ 1919288 h 2109788"/>
                    <a:gd name="connsiteX7" fmla="*/ 971550 w 2205037"/>
                    <a:gd name="connsiteY7" fmla="*/ 2105025 h 2109788"/>
                    <a:gd name="connsiteX8" fmla="*/ 1185862 w 2205037"/>
                    <a:gd name="connsiteY8" fmla="*/ 2109788 h 2109788"/>
                    <a:gd name="connsiteX9" fmla="*/ 1371600 w 2205037"/>
                    <a:gd name="connsiteY9" fmla="*/ 2019300 h 2109788"/>
                    <a:gd name="connsiteX10" fmla="*/ 1681162 w 2205037"/>
                    <a:gd name="connsiteY10" fmla="*/ 2052638 h 2109788"/>
                    <a:gd name="connsiteX11" fmla="*/ 1976437 w 2205037"/>
                    <a:gd name="connsiteY11" fmla="*/ 1666875 h 2109788"/>
                    <a:gd name="connsiteX12" fmla="*/ 2205037 w 2205037"/>
                    <a:gd name="connsiteY12" fmla="*/ 1095375 h 2109788"/>
                    <a:gd name="connsiteX13" fmla="*/ 2205037 w 2205037"/>
                    <a:gd name="connsiteY13" fmla="*/ 828675 h 2109788"/>
                    <a:gd name="connsiteX14" fmla="*/ 2119312 w 2205037"/>
                    <a:gd name="connsiteY14" fmla="*/ 509588 h 2109788"/>
                    <a:gd name="connsiteX15" fmla="*/ 2171700 w 2205037"/>
                    <a:gd name="connsiteY15" fmla="*/ 223838 h 2109788"/>
                    <a:gd name="connsiteX16" fmla="*/ 2119312 w 2205037"/>
                    <a:gd name="connsiteY16" fmla="*/ 133350 h 2109788"/>
                    <a:gd name="connsiteX17" fmla="*/ 2078831 w 2205037"/>
                    <a:gd name="connsiteY17" fmla="*/ 171450 h 2109788"/>
                    <a:gd name="connsiteX18" fmla="*/ 2005012 w 2205037"/>
                    <a:gd name="connsiteY18" fmla="*/ 140494 h 2109788"/>
                    <a:gd name="connsiteX19" fmla="*/ 1933575 w 2205037"/>
                    <a:gd name="connsiteY19" fmla="*/ 128588 h 2109788"/>
                    <a:gd name="connsiteX20" fmla="*/ 1902619 w 2205037"/>
                    <a:gd name="connsiteY20" fmla="*/ 102394 h 2109788"/>
                    <a:gd name="connsiteX21" fmla="*/ 1828800 w 2205037"/>
                    <a:gd name="connsiteY21" fmla="*/ 88106 h 2109788"/>
                    <a:gd name="connsiteX22" fmla="*/ 1785937 w 2205037"/>
                    <a:gd name="connsiteY22" fmla="*/ 66675 h 2109788"/>
                    <a:gd name="connsiteX23" fmla="*/ 1733550 w 2205037"/>
                    <a:gd name="connsiteY23" fmla="*/ 85725 h 2109788"/>
                    <a:gd name="connsiteX24" fmla="*/ 1735931 w 2205037"/>
                    <a:gd name="connsiteY24" fmla="*/ 40482 h 2109788"/>
                    <a:gd name="connsiteX25" fmla="*/ 1678781 w 2205037"/>
                    <a:gd name="connsiteY25" fmla="*/ 52388 h 2109788"/>
                    <a:gd name="connsiteX26" fmla="*/ 1631156 w 2205037"/>
                    <a:gd name="connsiteY26" fmla="*/ 64294 h 2109788"/>
                    <a:gd name="connsiteX27" fmla="*/ 1590674 w 2205037"/>
                    <a:gd name="connsiteY27" fmla="*/ 47625 h 2109788"/>
                    <a:gd name="connsiteX28" fmla="*/ 1543049 w 2205037"/>
                    <a:gd name="connsiteY28" fmla="*/ 54769 h 2109788"/>
                    <a:gd name="connsiteX29" fmla="*/ 1462087 w 2205037"/>
                    <a:gd name="connsiteY29" fmla="*/ 73819 h 2109788"/>
                    <a:gd name="connsiteX30" fmla="*/ 1450181 w 2205037"/>
                    <a:gd name="connsiteY30" fmla="*/ 92869 h 2109788"/>
                    <a:gd name="connsiteX31" fmla="*/ 1133475 w 2205037"/>
                    <a:gd name="connsiteY31" fmla="*/ 0 h 2109788"/>
                    <a:gd name="connsiteX32" fmla="*/ 1057275 w 2205037"/>
                    <a:gd name="connsiteY32" fmla="*/ 38100 h 2109788"/>
                    <a:gd name="connsiteX33" fmla="*/ 966787 w 2205037"/>
                    <a:gd name="connsiteY33" fmla="*/ 95250 h 2109788"/>
                    <a:gd name="connsiteX34" fmla="*/ 900112 w 2205037"/>
                    <a:gd name="connsiteY34" fmla="*/ 138113 h 2109788"/>
                    <a:gd name="connsiteX35" fmla="*/ 828675 w 2205037"/>
                    <a:gd name="connsiteY35" fmla="*/ 195263 h 2109788"/>
                    <a:gd name="connsiteX36" fmla="*/ 785812 w 2205037"/>
                    <a:gd name="connsiteY36" fmla="*/ 185738 h 2109788"/>
                    <a:gd name="connsiteX37" fmla="*/ 728662 w 2205037"/>
                    <a:gd name="connsiteY37" fmla="*/ 157163 h 2109788"/>
                    <a:gd name="connsiteX38" fmla="*/ 695325 w 2205037"/>
                    <a:gd name="connsiteY38" fmla="*/ 128588 h 2109788"/>
                    <a:gd name="connsiteX39" fmla="*/ 661987 w 2205037"/>
                    <a:gd name="connsiteY39" fmla="*/ 109538 h 2109788"/>
                    <a:gd name="connsiteX40" fmla="*/ 595312 w 2205037"/>
                    <a:gd name="connsiteY40" fmla="*/ 95250 h 2109788"/>
                    <a:gd name="connsiteX41" fmla="*/ 438150 w 2205037"/>
                    <a:gd name="connsiteY41" fmla="*/ 80963 h 2109788"/>
                    <a:gd name="connsiteX42" fmla="*/ 357187 w 2205037"/>
                    <a:gd name="connsiteY42" fmla="*/ 114300 h 2109788"/>
                    <a:gd name="connsiteX43" fmla="*/ 357187 w 2205037"/>
                    <a:gd name="connsiteY43" fmla="*/ 176213 h 2109788"/>
                    <a:gd name="connsiteX44" fmla="*/ 319087 w 2205037"/>
                    <a:gd name="connsiteY44" fmla="*/ 233363 h 2109788"/>
                    <a:gd name="connsiteX45" fmla="*/ 347662 w 2205037"/>
                    <a:gd name="connsiteY45" fmla="*/ 333375 h 2109788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057275 w 2205037"/>
                    <a:gd name="connsiteY32" fmla="*/ 3768 h 2075456"/>
                    <a:gd name="connsiteX33" fmla="*/ 966787 w 2205037"/>
                    <a:gd name="connsiteY33" fmla="*/ 60918 h 2075456"/>
                    <a:gd name="connsiteX34" fmla="*/ 900112 w 2205037"/>
                    <a:gd name="connsiteY34" fmla="*/ 103781 h 2075456"/>
                    <a:gd name="connsiteX35" fmla="*/ 828675 w 2205037"/>
                    <a:gd name="connsiteY35" fmla="*/ 160931 h 2075456"/>
                    <a:gd name="connsiteX36" fmla="*/ 785812 w 2205037"/>
                    <a:gd name="connsiteY36" fmla="*/ 151406 h 2075456"/>
                    <a:gd name="connsiteX37" fmla="*/ 728662 w 2205037"/>
                    <a:gd name="connsiteY37" fmla="*/ 122831 h 2075456"/>
                    <a:gd name="connsiteX38" fmla="*/ 695325 w 2205037"/>
                    <a:gd name="connsiteY38" fmla="*/ 94256 h 2075456"/>
                    <a:gd name="connsiteX39" fmla="*/ 661987 w 2205037"/>
                    <a:gd name="connsiteY39" fmla="*/ 75206 h 2075456"/>
                    <a:gd name="connsiteX40" fmla="*/ 595312 w 2205037"/>
                    <a:gd name="connsiteY40" fmla="*/ 60918 h 2075456"/>
                    <a:gd name="connsiteX41" fmla="*/ 438150 w 2205037"/>
                    <a:gd name="connsiteY41" fmla="*/ 46631 h 2075456"/>
                    <a:gd name="connsiteX42" fmla="*/ 357187 w 2205037"/>
                    <a:gd name="connsiteY42" fmla="*/ 79968 h 2075456"/>
                    <a:gd name="connsiteX43" fmla="*/ 357187 w 2205037"/>
                    <a:gd name="connsiteY43" fmla="*/ 141881 h 2075456"/>
                    <a:gd name="connsiteX44" fmla="*/ 319087 w 2205037"/>
                    <a:gd name="connsiteY44" fmla="*/ 199031 h 2075456"/>
                    <a:gd name="connsiteX45" fmla="*/ 347662 w 2205037"/>
                    <a:gd name="connsiteY45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966787 w 2205037"/>
                    <a:gd name="connsiteY33" fmla="*/ 60918 h 2075456"/>
                    <a:gd name="connsiteX34" fmla="*/ 900112 w 2205037"/>
                    <a:gd name="connsiteY34" fmla="*/ 103781 h 2075456"/>
                    <a:gd name="connsiteX35" fmla="*/ 828675 w 2205037"/>
                    <a:gd name="connsiteY35" fmla="*/ 160931 h 2075456"/>
                    <a:gd name="connsiteX36" fmla="*/ 785812 w 2205037"/>
                    <a:gd name="connsiteY36" fmla="*/ 151406 h 2075456"/>
                    <a:gd name="connsiteX37" fmla="*/ 728662 w 2205037"/>
                    <a:gd name="connsiteY37" fmla="*/ 122831 h 2075456"/>
                    <a:gd name="connsiteX38" fmla="*/ 695325 w 2205037"/>
                    <a:gd name="connsiteY38" fmla="*/ 94256 h 2075456"/>
                    <a:gd name="connsiteX39" fmla="*/ 661987 w 2205037"/>
                    <a:gd name="connsiteY39" fmla="*/ 75206 h 2075456"/>
                    <a:gd name="connsiteX40" fmla="*/ 595312 w 2205037"/>
                    <a:gd name="connsiteY40" fmla="*/ 60918 h 2075456"/>
                    <a:gd name="connsiteX41" fmla="*/ 438150 w 2205037"/>
                    <a:gd name="connsiteY41" fmla="*/ 46631 h 2075456"/>
                    <a:gd name="connsiteX42" fmla="*/ 357187 w 2205037"/>
                    <a:gd name="connsiteY42" fmla="*/ 79968 h 2075456"/>
                    <a:gd name="connsiteX43" fmla="*/ 357187 w 2205037"/>
                    <a:gd name="connsiteY43" fmla="*/ 141881 h 2075456"/>
                    <a:gd name="connsiteX44" fmla="*/ 319087 w 2205037"/>
                    <a:gd name="connsiteY44" fmla="*/ 199031 h 2075456"/>
                    <a:gd name="connsiteX45" fmla="*/ 347662 w 2205037"/>
                    <a:gd name="connsiteY45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900112 w 2205037"/>
                    <a:gd name="connsiteY34" fmla="*/ 103781 h 2075456"/>
                    <a:gd name="connsiteX35" fmla="*/ 828675 w 2205037"/>
                    <a:gd name="connsiteY35" fmla="*/ 160931 h 2075456"/>
                    <a:gd name="connsiteX36" fmla="*/ 785812 w 2205037"/>
                    <a:gd name="connsiteY36" fmla="*/ 151406 h 2075456"/>
                    <a:gd name="connsiteX37" fmla="*/ 728662 w 2205037"/>
                    <a:gd name="connsiteY37" fmla="*/ 122831 h 2075456"/>
                    <a:gd name="connsiteX38" fmla="*/ 695325 w 2205037"/>
                    <a:gd name="connsiteY38" fmla="*/ 94256 h 2075456"/>
                    <a:gd name="connsiteX39" fmla="*/ 661987 w 2205037"/>
                    <a:gd name="connsiteY39" fmla="*/ 75206 h 2075456"/>
                    <a:gd name="connsiteX40" fmla="*/ 595312 w 2205037"/>
                    <a:gd name="connsiteY40" fmla="*/ 60918 h 2075456"/>
                    <a:gd name="connsiteX41" fmla="*/ 438150 w 2205037"/>
                    <a:gd name="connsiteY41" fmla="*/ 46631 h 2075456"/>
                    <a:gd name="connsiteX42" fmla="*/ 357187 w 2205037"/>
                    <a:gd name="connsiteY42" fmla="*/ 79968 h 2075456"/>
                    <a:gd name="connsiteX43" fmla="*/ 357187 w 2205037"/>
                    <a:gd name="connsiteY43" fmla="*/ 141881 h 2075456"/>
                    <a:gd name="connsiteX44" fmla="*/ 319087 w 2205037"/>
                    <a:gd name="connsiteY44" fmla="*/ 199031 h 2075456"/>
                    <a:gd name="connsiteX45" fmla="*/ 347662 w 2205037"/>
                    <a:gd name="connsiteY45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900112 w 2205037"/>
                    <a:gd name="connsiteY35" fmla="*/ 103781 h 2075456"/>
                    <a:gd name="connsiteX36" fmla="*/ 828675 w 2205037"/>
                    <a:gd name="connsiteY36" fmla="*/ 160931 h 2075456"/>
                    <a:gd name="connsiteX37" fmla="*/ 785812 w 2205037"/>
                    <a:gd name="connsiteY37" fmla="*/ 151406 h 2075456"/>
                    <a:gd name="connsiteX38" fmla="*/ 728662 w 2205037"/>
                    <a:gd name="connsiteY38" fmla="*/ 122831 h 2075456"/>
                    <a:gd name="connsiteX39" fmla="*/ 695325 w 2205037"/>
                    <a:gd name="connsiteY39" fmla="*/ 94256 h 2075456"/>
                    <a:gd name="connsiteX40" fmla="*/ 661987 w 2205037"/>
                    <a:gd name="connsiteY40" fmla="*/ 75206 h 2075456"/>
                    <a:gd name="connsiteX41" fmla="*/ 595312 w 2205037"/>
                    <a:gd name="connsiteY41" fmla="*/ 60918 h 2075456"/>
                    <a:gd name="connsiteX42" fmla="*/ 438150 w 2205037"/>
                    <a:gd name="connsiteY42" fmla="*/ 46631 h 2075456"/>
                    <a:gd name="connsiteX43" fmla="*/ 357187 w 2205037"/>
                    <a:gd name="connsiteY43" fmla="*/ 79968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828675 w 2205037"/>
                    <a:gd name="connsiteY36" fmla="*/ 160931 h 2075456"/>
                    <a:gd name="connsiteX37" fmla="*/ 785812 w 2205037"/>
                    <a:gd name="connsiteY37" fmla="*/ 151406 h 2075456"/>
                    <a:gd name="connsiteX38" fmla="*/ 728662 w 2205037"/>
                    <a:gd name="connsiteY38" fmla="*/ 122831 h 2075456"/>
                    <a:gd name="connsiteX39" fmla="*/ 695325 w 2205037"/>
                    <a:gd name="connsiteY39" fmla="*/ 94256 h 2075456"/>
                    <a:gd name="connsiteX40" fmla="*/ 661987 w 2205037"/>
                    <a:gd name="connsiteY40" fmla="*/ 75206 h 2075456"/>
                    <a:gd name="connsiteX41" fmla="*/ 595312 w 2205037"/>
                    <a:gd name="connsiteY41" fmla="*/ 60918 h 2075456"/>
                    <a:gd name="connsiteX42" fmla="*/ 438150 w 2205037"/>
                    <a:gd name="connsiteY42" fmla="*/ 46631 h 2075456"/>
                    <a:gd name="connsiteX43" fmla="*/ 357187 w 2205037"/>
                    <a:gd name="connsiteY43" fmla="*/ 79968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785812 w 2205037"/>
                    <a:gd name="connsiteY37" fmla="*/ 151406 h 2075456"/>
                    <a:gd name="connsiteX38" fmla="*/ 728662 w 2205037"/>
                    <a:gd name="connsiteY38" fmla="*/ 122831 h 2075456"/>
                    <a:gd name="connsiteX39" fmla="*/ 695325 w 2205037"/>
                    <a:gd name="connsiteY39" fmla="*/ 94256 h 2075456"/>
                    <a:gd name="connsiteX40" fmla="*/ 661987 w 2205037"/>
                    <a:gd name="connsiteY40" fmla="*/ 75206 h 2075456"/>
                    <a:gd name="connsiteX41" fmla="*/ 595312 w 2205037"/>
                    <a:gd name="connsiteY41" fmla="*/ 60918 h 2075456"/>
                    <a:gd name="connsiteX42" fmla="*/ 438150 w 2205037"/>
                    <a:gd name="connsiteY42" fmla="*/ 46631 h 2075456"/>
                    <a:gd name="connsiteX43" fmla="*/ 357187 w 2205037"/>
                    <a:gd name="connsiteY43" fmla="*/ 79968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728662 w 2205037"/>
                    <a:gd name="connsiteY38" fmla="*/ 122831 h 2075456"/>
                    <a:gd name="connsiteX39" fmla="*/ 695325 w 2205037"/>
                    <a:gd name="connsiteY39" fmla="*/ 94256 h 2075456"/>
                    <a:gd name="connsiteX40" fmla="*/ 661987 w 2205037"/>
                    <a:gd name="connsiteY40" fmla="*/ 75206 h 2075456"/>
                    <a:gd name="connsiteX41" fmla="*/ 595312 w 2205037"/>
                    <a:gd name="connsiteY41" fmla="*/ 60918 h 2075456"/>
                    <a:gd name="connsiteX42" fmla="*/ 438150 w 2205037"/>
                    <a:gd name="connsiteY42" fmla="*/ 46631 h 2075456"/>
                    <a:gd name="connsiteX43" fmla="*/ 357187 w 2205037"/>
                    <a:gd name="connsiteY43" fmla="*/ 79968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695325 w 2205037"/>
                    <a:gd name="connsiteY39" fmla="*/ 94256 h 2075456"/>
                    <a:gd name="connsiteX40" fmla="*/ 661987 w 2205037"/>
                    <a:gd name="connsiteY40" fmla="*/ 75206 h 2075456"/>
                    <a:gd name="connsiteX41" fmla="*/ 595312 w 2205037"/>
                    <a:gd name="connsiteY41" fmla="*/ 60918 h 2075456"/>
                    <a:gd name="connsiteX42" fmla="*/ 438150 w 2205037"/>
                    <a:gd name="connsiteY42" fmla="*/ 46631 h 2075456"/>
                    <a:gd name="connsiteX43" fmla="*/ 357187 w 2205037"/>
                    <a:gd name="connsiteY43" fmla="*/ 79968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661987 w 2205037"/>
                    <a:gd name="connsiteY40" fmla="*/ 75206 h 2075456"/>
                    <a:gd name="connsiteX41" fmla="*/ 595312 w 2205037"/>
                    <a:gd name="connsiteY41" fmla="*/ 60918 h 2075456"/>
                    <a:gd name="connsiteX42" fmla="*/ 438150 w 2205037"/>
                    <a:gd name="connsiteY42" fmla="*/ 46631 h 2075456"/>
                    <a:gd name="connsiteX43" fmla="*/ 357187 w 2205037"/>
                    <a:gd name="connsiteY43" fmla="*/ 79968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595312 w 2205037"/>
                    <a:gd name="connsiteY41" fmla="*/ 60918 h 2075456"/>
                    <a:gd name="connsiteX42" fmla="*/ 438150 w 2205037"/>
                    <a:gd name="connsiteY42" fmla="*/ 46631 h 2075456"/>
                    <a:gd name="connsiteX43" fmla="*/ 357187 w 2205037"/>
                    <a:gd name="connsiteY43" fmla="*/ 79968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438150 w 2205037"/>
                    <a:gd name="connsiteY42" fmla="*/ 46631 h 2075456"/>
                    <a:gd name="connsiteX43" fmla="*/ 357187 w 2205037"/>
                    <a:gd name="connsiteY43" fmla="*/ 79968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357187 w 2205037"/>
                    <a:gd name="connsiteY43" fmla="*/ 79968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357187 w 2205037"/>
                    <a:gd name="connsiteY44" fmla="*/ 141881 h 2075456"/>
                    <a:gd name="connsiteX45" fmla="*/ 319087 w 2205037"/>
                    <a:gd name="connsiteY45" fmla="*/ 199031 h 2075456"/>
                    <a:gd name="connsiteX46" fmla="*/ 347662 w 2205037"/>
                    <a:gd name="connsiteY46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357187 w 2205037"/>
                    <a:gd name="connsiteY45" fmla="*/ 141881 h 2075456"/>
                    <a:gd name="connsiteX46" fmla="*/ 319087 w 2205037"/>
                    <a:gd name="connsiteY46" fmla="*/ 199031 h 2075456"/>
                    <a:gd name="connsiteX47" fmla="*/ 347662 w 2205037"/>
                    <a:gd name="connsiteY47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535781 w 2205037"/>
                    <a:gd name="connsiteY45" fmla="*/ 191886 h 2075456"/>
                    <a:gd name="connsiteX46" fmla="*/ 357187 w 2205037"/>
                    <a:gd name="connsiteY46" fmla="*/ 141881 h 2075456"/>
                    <a:gd name="connsiteX47" fmla="*/ 319087 w 2205037"/>
                    <a:gd name="connsiteY47" fmla="*/ 199031 h 2075456"/>
                    <a:gd name="connsiteX48" fmla="*/ 347662 w 2205037"/>
                    <a:gd name="connsiteY48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357187 w 2205037"/>
                    <a:gd name="connsiteY46" fmla="*/ 141881 h 2075456"/>
                    <a:gd name="connsiteX47" fmla="*/ 319087 w 2205037"/>
                    <a:gd name="connsiteY47" fmla="*/ 199031 h 2075456"/>
                    <a:gd name="connsiteX48" fmla="*/ 347662 w 2205037"/>
                    <a:gd name="connsiteY48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502443 w 2205037"/>
                    <a:gd name="connsiteY46" fmla="*/ 179980 h 2075456"/>
                    <a:gd name="connsiteX47" fmla="*/ 357187 w 2205037"/>
                    <a:gd name="connsiteY47" fmla="*/ 141881 h 2075456"/>
                    <a:gd name="connsiteX48" fmla="*/ 319087 w 2205037"/>
                    <a:gd name="connsiteY48" fmla="*/ 199031 h 2075456"/>
                    <a:gd name="connsiteX49" fmla="*/ 347662 w 2205037"/>
                    <a:gd name="connsiteY49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357187 w 2205037"/>
                    <a:gd name="connsiteY47" fmla="*/ 141881 h 2075456"/>
                    <a:gd name="connsiteX48" fmla="*/ 319087 w 2205037"/>
                    <a:gd name="connsiteY48" fmla="*/ 199031 h 2075456"/>
                    <a:gd name="connsiteX49" fmla="*/ 347662 w 2205037"/>
                    <a:gd name="connsiteY49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497681 w 2205037"/>
                    <a:gd name="connsiteY47" fmla="*/ 234748 h 2075456"/>
                    <a:gd name="connsiteX48" fmla="*/ 357187 w 2205037"/>
                    <a:gd name="connsiteY48" fmla="*/ 141881 h 2075456"/>
                    <a:gd name="connsiteX49" fmla="*/ 319087 w 2205037"/>
                    <a:gd name="connsiteY49" fmla="*/ 199031 h 2075456"/>
                    <a:gd name="connsiteX50" fmla="*/ 347662 w 2205037"/>
                    <a:gd name="connsiteY50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357187 w 2205037"/>
                    <a:gd name="connsiteY48" fmla="*/ 141881 h 2075456"/>
                    <a:gd name="connsiteX49" fmla="*/ 319087 w 2205037"/>
                    <a:gd name="connsiteY49" fmla="*/ 199031 h 2075456"/>
                    <a:gd name="connsiteX50" fmla="*/ 347662 w 2205037"/>
                    <a:gd name="connsiteY50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423862 w 2205037"/>
                    <a:gd name="connsiteY48" fmla="*/ 149023 h 2075456"/>
                    <a:gd name="connsiteX49" fmla="*/ 357187 w 2205037"/>
                    <a:gd name="connsiteY49" fmla="*/ 141881 h 2075456"/>
                    <a:gd name="connsiteX50" fmla="*/ 319087 w 2205037"/>
                    <a:gd name="connsiteY50" fmla="*/ 199031 h 2075456"/>
                    <a:gd name="connsiteX51" fmla="*/ 347662 w 2205037"/>
                    <a:gd name="connsiteY51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488156 w 2205037"/>
                    <a:gd name="connsiteY48" fmla="*/ 160930 h 2075456"/>
                    <a:gd name="connsiteX49" fmla="*/ 423862 w 2205037"/>
                    <a:gd name="connsiteY49" fmla="*/ 149023 h 2075456"/>
                    <a:gd name="connsiteX50" fmla="*/ 357187 w 2205037"/>
                    <a:gd name="connsiteY50" fmla="*/ 141881 h 2075456"/>
                    <a:gd name="connsiteX51" fmla="*/ 319087 w 2205037"/>
                    <a:gd name="connsiteY51" fmla="*/ 199031 h 2075456"/>
                    <a:gd name="connsiteX52" fmla="*/ 347662 w 2205037"/>
                    <a:gd name="connsiteY52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588168 w 2205037"/>
                    <a:gd name="connsiteY48" fmla="*/ 175217 h 2075456"/>
                    <a:gd name="connsiteX49" fmla="*/ 488156 w 2205037"/>
                    <a:gd name="connsiteY49" fmla="*/ 160930 h 2075456"/>
                    <a:gd name="connsiteX50" fmla="*/ 423862 w 2205037"/>
                    <a:gd name="connsiteY50" fmla="*/ 149023 h 2075456"/>
                    <a:gd name="connsiteX51" fmla="*/ 357187 w 2205037"/>
                    <a:gd name="connsiteY51" fmla="*/ 141881 h 2075456"/>
                    <a:gd name="connsiteX52" fmla="*/ 319087 w 2205037"/>
                    <a:gd name="connsiteY52" fmla="*/ 199031 h 2075456"/>
                    <a:gd name="connsiteX53" fmla="*/ 347662 w 2205037"/>
                    <a:gd name="connsiteY53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619124 w 2205037"/>
                    <a:gd name="connsiteY48" fmla="*/ 122829 h 2075456"/>
                    <a:gd name="connsiteX49" fmla="*/ 488156 w 2205037"/>
                    <a:gd name="connsiteY49" fmla="*/ 160930 h 2075456"/>
                    <a:gd name="connsiteX50" fmla="*/ 423862 w 2205037"/>
                    <a:gd name="connsiteY50" fmla="*/ 149023 h 2075456"/>
                    <a:gd name="connsiteX51" fmla="*/ 357187 w 2205037"/>
                    <a:gd name="connsiteY51" fmla="*/ 141881 h 2075456"/>
                    <a:gd name="connsiteX52" fmla="*/ 319087 w 2205037"/>
                    <a:gd name="connsiteY52" fmla="*/ 199031 h 2075456"/>
                    <a:gd name="connsiteX53" fmla="*/ 347662 w 2205037"/>
                    <a:gd name="connsiteY53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619124 w 2205037"/>
                    <a:gd name="connsiteY48" fmla="*/ 122829 h 2075456"/>
                    <a:gd name="connsiteX49" fmla="*/ 545306 w 2205037"/>
                    <a:gd name="connsiteY49" fmla="*/ 125211 h 2075456"/>
                    <a:gd name="connsiteX50" fmla="*/ 423862 w 2205037"/>
                    <a:gd name="connsiteY50" fmla="*/ 149023 h 2075456"/>
                    <a:gd name="connsiteX51" fmla="*/ 357187 w 2205037"/>
                    <a:gd name="connsiteY51" fmla="*/ 141881 h 2075456"/>
                    <a:gd name="connsiteX52" fmla="*/ 319087 w 2205037"/>
                    <a:gd name="connsiteY52" fmla="*/ 199031 h 2075456"/>
                    <a:gd name="connsiteX53" fmla="*/ 347662 w 2205037"/>
                    <a:gd name="connsiteY53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619124 w 2205037"/>
                    <a:gd name="connsiteY48" fmla="*/ 122829 h 2075456"/>
                    <a:gd name="connsiteX49" fmla="*/ 545306 w 2205037"/>
                    <a:gd name="connsiteY49" fmla="*/ 125211 h 2075456"/>
                    <a:gd name="connsiteX50" fmla="*/ 514350 w 2205037"/>
                    <a:gd name="connsiteY50" fmla="*/ 99017 h 2075456"/>
                    <a:gd name="connsiteX51" fmla="*/ 357187 w 2205037"/>
                    <a:gd name="connsiteY51" fmla="*/ 141881 h 2075456"/>
                    <a:gd name="connsiteX52" fmla="*/ 319087 w 2205037"/>
                    <a:gd name="connsiteY52" fmla="*/ 199031 h 2075456"/>
                    <a:gd name="connsiteX53" fmla="*/ 347662 w 2205037"/>
                    <a:gd name="connsiteY53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619124 w 2205037"/>
                    <a:gd name="connsiteY48" fmla="*/ 122829 h 2075456"/>
                    <a:gd name="connsiteX49" fmla="*/ 545306 w 2205037"/>
                    <a:gd name="connsiteY49" fmla="*/ 125211 h 2075456"/>
                    <a:gd name="connsiteX50" fmla="*/ 514350 w 2205037"/>
                    <a:gd name="connsiteY50" fmla="*/ 99017 h 2075456"/>
                    <a:gd name="connsiteX51" fmla="*/ 461962 w 2205037"/>
                    <a:gd name="connsiteY51" fmla="*/ 175219 h 2075456"/>
                    <a:gd name="connsiteX52" fmla="*/ 319087 w 2205037"/>
                    <a:gd name="connsiteY52" fmla="*/ 199031 h 2075456"/>
                    <a:gd name="connsiteX53" fmla="*/ 347662 w 2205037"/>
                    <a:gd name="connsiteY53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619124 w 2205037"/>
                    <a:gd name="connsiteY48" fmla="*/ 122829 h 2075456"/>
                    <a:gd name="connsiteX49" fmla="*/ 545306 w 2205037"/>
                    <a:gd name="connsiteY49" fmla="*/ 125211 h 2075456"/>
                    <a:gd name="connsiteX50" fmla="*/ 514350 w 2205037"/>
                    <a:gd name="connsiteY50" fmla="*/ 99017 h 2075456"/>
                    <a:gd name="connsiteX51" fmla="*/ 461962 w 2205037"/>
                    <a:gd name="connsiteY51" fmla="*/ 175219 h 2075456"/>
                    <a:gd name="connsiteX52" fmla="*/ 500062 w 2205037"/>
                    <a:gd name="connsiteY52" fmla="*/ 239512 h 2075456"/>
                    <a:gd name="connsiteX53" fmla="*/ 347662 w 2205037"/>
                    <a:gd name="connsiteY53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619124 w 2205037"/>
                    <a:gd name="connsiteY48" fmla="*/ 122829 h 2075456"/>
                    <a:gd name="connsiteX49" fmla="*/ 545306 w 2205037"/>
                    <a:gd name="connsiteY49" fmla="*/ 125211 h 2075456"/>
                    <a:gd name="connsiteX50" fmla="*/ 514350 w 2205037"/>
                    <a:gd name="connsiteY50" fmla="*/ 99017 h 2075456"/>
                    <a:gd name="connsiteX51" fmla="*/ 461962 w 2205037"/>
                    <a:gd name="connsiteY51" fmla="*/ 175219 h 2075456"/>
                    <a:gd name="connsiteX52" fmla="*/ 476250 w 2205037"/>
                    <a:gd name="connsiteY52" fmla="*/ 196648 h 2075456"/>
                    <a:gd name="connsiteX53" fmla="*/ 500062 w 2205037"/>
                    <a:gd name="connsiteY53" fmla="*/ 239512 h 2075456"/>
                    <a:gd name="connsiteX54" fmla="*/ 347662 w 2205037"/>
                    <a:gd name="connsiteY54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619124 w 2205037"/>
                    <a:gd name="connsiteY48" fmla="*/ 122829 h 2075456"/>
                    <a:gd name="connsiteX49" fmla="*/ 545306 w 2205037"/>
                    <a:gd name="connsiteY49" fmla="*/ 125211 h 2075456"/>
                    <a:gd name="connsiteX50" fmla="*/ 514350 w 2205037"/>
                    <a:gd name="connsiteY50" fmla="*/ 99017 h 2075456"/>
                    <a:gd name="connsiteX51" fmla="*/ 461962 w 2205037"/>
                    <a:gd name="connsiteY51" fmla="*/ 175219 h 2075456"/>
                    <a:gd name="connsiteX52" fmla="*/ 492919 w 2205037"/>
                    <a:gd name="connsiteY52" fmla="*/ 199029 h 2075456"/>
                    <a:gd name="connsiteX53" fmla="*/ 500062 w 2205037"/>
                    <a:gd name="connsiteY53" fmla="*/ 239512 h 2075456"/>
                    <a:gd name="connsiteX54" fmla="*/ 347662 w 2205037"/>
                    <a:gd name="connsiteY54" fmla="*/ 299043 h 2075456"/>
                    <a:gd name="connsiteX0" fmla="*/ 347662 w 2205037"/>
                    <a:gd name="connsiteY0" fmla="*/ 299043 h 2075456"/>
                    <a:gd name="connsiteX1" fmla="*/ 252412 w 2205037"/>
                    <a:gd name="connsiteY1" fmla="*/ 541931 h 2075456"/>
                    <a:gd name="connsiteX2" fmla="*/ 0 w 2205037"/>
                    <a:gd name="connsiteY2" fmla="*/ 1046756 h 2075456"/>
                    <a:gd name="connsiteX3" fmla="*/ 261937 w 2205037"/>
                    <a:gd name="connsiteY3" fmla="*/ 1346793 h 2075456"/>
                    <a:gd name="connsiteX4" fmla="*/ 614362 w 2205037"/>
                    <a:gd name="connsiteY4" fmla="*/ 1437281 h 2075456"/>
                    <a:gd name="connsiteX5" fmla="*/ 957262 w 2205037"/>
                    <a:gd name="connsiteY5" fmla="*/ 1661118 h 2075456"/>
                    <a:gd name="connsiteX6" fmla="*/ 995362 w 2205037"/>
                    <a:gd name="connsiteY6" fmla="*/ 1884956 h 2075456"/>
                    <a:gd name="connsiteX7" fmla="*/ 971550 w 2205037"/>
                    <a:gd name="connsiteY7" fmla="*/ 2070693 h 2075456"/>
                    <a:gd name="connsiteX8" fmla="*/ 1185862 w 2205037"/>
                    <a:gd name="connsiteY8" fmla="*/ 2075456 h 2075456"/>
                    <a:gd name="connsiteX9" fmla="*/ 1371600 w 2205037"/>
                    <a:gd name="connsiteY9" fmla="*/ 1984968 h 2075456"/>
                    <a:gd name="connsiteX10" fmla="*/ 1681162 w 2205037"/>
                    <a:gd name="connsiteY10" fmla="*/ 2018306 h 2075456"/>
                    <a:gd name="connsiteX11" fmla="*/ 1976437 w 2205037"/>
                    <a:gd name="connsiteY11" fmla="*/ 1632543 h 2075456"/>
                    <a:gd name="connsiteX12" fmla="*/ 2205037 w 2205037"/>
                    <a:gd name="connsiteY12" fmla="*/ 1061043 h 2075456"/>
                    <a:gd name="connsiteX13" fmla="*/ 2205037 w 2205037"/>
                    <a:gd name="connsiteY13" fmla="*/ 794343 h 2075456"/>
                    <a:gd name="connsiteX14" fmla="*/ 2119312 w 2205037"/>
                    <a:gd name="connsiteY14" fmla="*/ 475256 h 2075456"/>
                    <a:gd name="connsiteX15" fmla="*/ 2171700 w 2205037"/>
                    <a:gd name="connsiteY15" fmla="*/ 189506 h 2075456"/>
                    <a:gd name="connsiteX16" fmla="*/ 2119312 w 2205037"/>
                    <a:gd name="connsiteY16" fmla="*/ 99018 h 2075456"/>
                    <a:gd name="connsiteX17" fmla="*/ 2078831 w 2205037"/>
                    <a:gd name="connsiteY17" fmla="*/ 137118 h 2075456"/>
                    <a:gd name="connsiteX18" fmla="*/ 2005012 w 2205037"/>
                    <a:gd name="connsiteY18" fmla="*/ 106162 h 2075456"/>
                    <a:gd name="connsiteX19" fmla="*/ 1933575 w 2205037"/>
                    <a:gd name="connsiteY19" fmla="*/ 94256 h 2075456"/>
                    <a:gd name="connsiteX20" fmla="*/ 1902619 w 2205037"/>
                    <a:gd name="connsiteY20" fmla="*/ 68062 h 2075456"/>
                    <a:gd name="connsiteX21" fmla="*/ 1828800 w 2205037"/>
                    <a:gd name="connsiteY21" fmla="*/ 53774 h 2075456"/>
                    <a:gd name="connsiteX22" fmla="*/ 1785937 w 2205037"/>
                    <a:gd name="connsiteY22" fmla="*/ 32343 h 2075456"/>
                    <a:gd name="connsiteX23" fmla="*/ 1733550 w 2205037"/>
                    <a:gd name="connsiteY23" fmla="*/ 51393 h 2075456"/>
                    <a:gd name="connsiteX24" fmla="*/ 1735931 w 2205037"/>
                    <a:gd name="connsiteY24" fmla="*/ 6150 h 2075456"/>
                    <a:gd name="connsiteX25" fmla="*/ 1678781 w 2205037"/>
                    <a:gd name="connsiteY25" fmla="*/ 18056 h 2075456"/>
                    <a:gd name="connsiteX26" fmla="*/ 1631156 w 2205037"/>
                    <a:gd name="connsiteY26" fmla="*/ 29962 h 2075456"/>
                    <a:gd name="connsiteX27" fmla="*/ 1590674 w 2205037"/>
                    <a:gd name="connsiteY27" fmla="*/ 13293 h 2075456"/>
                    <a:gd name="connsiteX28" fmla="*/ 1543049 w 2205037"/>
                    <a:gd name="connsiteY28" fmla="*/ 20437 h 2075456"/>
                    <a:gd name="connsiteX29" fmla="*/ 1462087 w 2205037"/>
                    <a:gd name="connsiteY29" fmla="*/ 39487 h 2075456"/>
                    <a:gd name="connsiteX30" fmla="*/ 1450181 w 2205037"/>
                    <a:gd name="connsiteY30" fmla="*/ 58537 h 2075456"/>
                    <a:gd name="connsiteX31" fmla="*/ 1357313 w 2205037"/>
                    <a:gd name="connsiteY31" fmla="*/ 60918 h 2075456"/>
                    <a:gd name="connsiteX32" fmla="*/ 1326356 w 2205037"/>
                    <a:gd name="connsiteY32" fmla="*/ 22818 h 2075456"/>
                    <a:gd name="connsiteX33" fmla="*/ 1278731 w 2205037"/>
                    <a:gd name="connsiteY33" fmla="*/ 34725 h 2075456"/>
                    <a:gd name="connsiteX34" fmla="*/ 1245393 w 2205037"/>
                    <a:gd name="connsiteY34" fmla="*/ 25198 h 2075456"/>
                    <a:gd name="connsiteX35" fmla="*/ 1212055 w 2205037"/>
                    <a:gd name="connsiteY35" fmla="*/ 56156 h 2075456"/>
                    <a:gd name="connsiteX36" fmla="*/ 1154906 w 2205037"/>
                    <a:gd name="connsiteY36" fmla="*/ 60918 h 2075456"/>
                    <a:gd name="connsiteX37" fmla="*/ 1145381 w 2205037"/>
                    <a:gd name="connsiteY37" fmla="*/ 125212 h 2075456"/>
                    <a:gd name="connsiteX38" fmla="*/ 1112043 w 2205037"/>
                    <a:gd name="connsiteY38" fmla="*/ 177600 h 2075456"/>
                    <a:gd name="connsiteX39" fmla="*/ 1157287 w 2205037"/>
                    <a:gd name="connsiteY39" fmla="*/ 206174 h 2075456"/>
                    <a:gd name="connsiteX40" fmla="*/ 1164430 w 2205037"/>
                    <a:gd name="connsiteY40" fmla="*/ 239512 h 2075456"/>
                    <a:gd name="connsiteX41" fmla="*/ 1071562 w 2205037"/>
                    <a:gd name="connsiteY41" fmla="*/ 263324 h 2075456"/>
                    <a:gd name="connsiteX42" fmla="*/ 1054894 w 2205037"/>
                    <a:gd name="connsiteY42" fmla="*/ 196650 h 2075456"/>
                    <a:gd name="connsiteX43" fmla="*/ 1021556 w 2205037"/>
                    <a:gd name="connsiteY43" fmla="*/ 208555 h 2075456"/>
                    <a:gd name="connsiteX44" fmla="*/ 942975 w 2205037"/>
                    <a:gd name="connsiteY44" fmla="*/ 318092 h 2075456"/>
                    <a:gd name="connsiteX45" fmla="*/ 828675 w 2205037"/>
                    <a:gd name="connsiteY45" fmla="*/ 275230 h 2075456"/>
                    <a:gd name="connsiteX46" fmla="*/ 692943 w 2205037"/>
                    <a:gd name="connsiteY46" fmla="*/ 368098 h 2075456"/>
                    <a:gd name="connsiteX47" fmla="*/ 676275 w 2205037"/>
                    <a:gd name="connsiteY47" fmla="*/ 182361 h 2075456"/>
                    <a:gd name="connsiteX48" fmla="*/ 619124 w 2205037"/>
                    <a:gd name="connsiteY48" fmla="*/ 122829 h 2075456"/>
                    <a:gd name="connsiteX49" fmla="*/ 545306 w 2205037"/>
                    <a:gd name="connsiteY49" fmla="*/ 125211 h 2075456"/>
                    <a:gd name="connsiteX50" fmla="*/ 514350 w 2205037"/>
                    <a:gd name="connsiteY50" fmla="*/ 99017 h 2075456"/>
                    <a:gd name="connsiteX51" fmla="*/ 461962 w 2205037"/>
                    <a:gd name="connsiteY51" fmla="*/ 175219 h 2075456"/>
                    <a:gd name="connsiteX52" fmla="*/ 492919 w 2205037"/>
                    <a:gd name="connsiteY52" fmla="*/ 199029 h 2075456"/>
                    <a:gd name="connsiteX53" fmla="*/ 500062 w 2205037"/>
                    <a:gd name="connsiteY53" fmla="*/ 239512 h 2075456"/>
                    <a:gd name="connsiteX54" fmla="*/ 388143 w 2205037"/>
                    <a:gd name="connsiteY54" fmla="*/ 232367 h 2075456"/>
                    <a:gd name="connsiteX55" fmla="*/ 347662 w 2205037"/>
                    <a:gd name="connsiteY55" fmla="*/ 299043 h 20754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2205037" h="2075456">
                      <a:moveTo>
                        <a:pt x="347662" y="299043"/>
                      </a:moveTo>
                      <a:lnTo>
                        <a:pt x="252412" y="541931"/>
                      </a:lnTo>
                      <a:lnTo>
                        <a:pt x="0" y="1046756"/>
                      </a:lnTo>
                      <a:lnTo>
                        <a:pt x="261937" y="1346793"/>
                      </a:lnTo>
                      <a:lnTo>
                        <a:pt x="614362" y="1437281"/>
                      </a:lnTo>
                      <a:lnTo>
                        <a:pt x="957262" y="1661118"/>
                      </a:lnTo>
                      <a:lnTo>
                        <a:pt x="995362" y="1884956"/>
                      </a:lnTo>
                      <a:lnTo>
                        <a:pt x="971550" y="2070693"/>
                      </a:lnTo>
                      <a:lnTo>
                        <a:pt x="1185862" y="2075456"/>
                      </a:lnTo>
                      <a:lnTo>
                        <a:pt x="1371600" y="1984968"/>
                      </a:lnTo>
                      <a:lnTo>
                        <a:pt x="1681162" y="2018306"/>
                      </a:lnTo>
                      <a:lnTo>
                        <a:pt x="1976437" y="1632543"/>
                      </a:lnTo>
                      <a:lnTo>
                        <a:pt x="2205037" y="1061043"/>
                      </a:lnTo>
                      <a:lnTo>
                        <a:pt x="2205037" y="794343"/>
                      </a:lnTo>
                      <a:lnTo>
                        <a:pt x="2119312" y="475256"/>
                      </a:lnTo>
                      <a:lnTo>
                        <a:pt x="2171700" y="189506"/>
                      </a:lnTo>
                      <a:lnTo>
                        <a:pt x="2119312" y="99018"/>
                      </a:lnTo>
                      <a:lnTo>
                        <a:pt x="2078831" y="137118"/>
                      </a:lnTo>
                      <a:lnTo>
                        <a:pt x="2005012" y="106162"/>
                      </a:lnTo>
                      <a:lnTo>
                        <a:pt x="1933575" y="94256"/>
                      </a:lnTo>
                      <a:lnTo>
                        <a:pt x="1902619" y="68062"/>
                      </a:lnTo>
                      <a:lnTo>
                        <a:pt x="1828800" y="53774"/>
                      </a:lnTo>
                      <a:lnTo>
                        <a:pt x="1785937" y="32343"/>
                      </a:lnTo>
                      <a:lnTo>
                        <a:pt x="1733550" y="51393"/>
                      </a:lnTo>
                      <a:lnTo>
                        <a:pt x="1735931" y="6150"/>
                      </a:lnTo>
                      <a:lnTo>
                        <a:pt x="1678781" y="18056"/>
                      </a:lnTo>
                      <a:lnTo>
                        <a:pt x="1631156" y="29962"/>
                      </a:lnTo>
                      <a:lnTo>
                        <a:pt x="1590674" y="13293"/>
                      </a:lnTo>
                      <a:cubicBezTo>
                        <a:pt x="1528762" y="-18457"/>
                        <a:pt x="1564480" y="16071"/>
                        <a:pt x="1543049" y="20437"/>
                      </a:cubicBezTo>
                      <a:cubicBezTo>
                        <a:pt x="1521618" y="24803"/>
                        <a:pt x="1492249" y="39487"/>
                        <a:pt x="1462087" y="39487"/>
                      </a:cubicBezTo>
                      <a:lnTo>
                        <a:pt x="1450181" y="58537"/>
                      </a:lnTo>
                      <a:lnTo>
                        <a:pt x="1357313" y="60918"/>
                      </a:lnTo>
                      <a:lnTo>
                        <a:pt x="1326356" y="22818"/>
                      </a:lnTo>
                      <a:cubicBezTo>
                        <a:pt x="1206500" y="35518"/>
                        <a:pt x="1292225" y="34328"/>
                        <a:pt x="1278731" y="34725"/>
                      </a:cubicBezTo>
                      <a:cubicBezTo>
                        <a:pt x="1265237" y="35122"/>
                        <a:pt x="1308496" y="13689"/>
                        <a:pt x="1245393" y="25198"/>
                      </a:cubicBezTo>
                      <a:cubicBezTo>
                        <a:pt x="1182290" y="36707"/>
                        <a:pt x="1238645" y="43456"/>
                        <a:pt x="1212055" y="56156"/>
                      </a:cubicBezTo>
                      <a:lnTo>
                        <a:pt x="1154906" y="60918"/>
                      </a:lnTo>
                      <a:lnTo>
                        <a:pt x="1145381" y="125212"/>
                      </a:lnTo>
                      <a:lnTo>
                        <a:pt x="1112043" y="177600"/>
                      </a:lnTo>
                      <a:lnTo>
                        <a:pt x="1157287" y="206174"/>
                      </a:lnTo>
                      <a:lnTo>
                        <a:pt x="1164430" y="239512"/>
                      </a:lnTo>
                      <a:lnTo>
                        <a:pt x="1071562" y="263324"/>
                      </a:lnTo>
                      <a:lnTo>
                        <a:pt x="1054894" y="196650"/>
                      </a:lnTo>
                      <a:lnTo>
                        <a:pt x="1021556" y="208555"/>
                      </a:lnTo>
                      <a:cubicBezTo>
                        <a:pt x="927893" y="199824"/>
                        <a:pt x="1036638" y="326823"/>
                        <a:pt x="942975" y="318092"/>
                      </a:cubicBezTo>
                      <a:lnTo>
                        <a:pt x="828675" y="275230"/>
                      </a:lnTo>
                      <a:lnTo>
                        <a:pt x="692943" y="368098"/>
                      </a:lnTo>
                      <a:lnTo>
                        <a:pt x="676275" y="182361"/>
                      </a:lnTo>
                      <a:lnTo>
                        <a:pt x="619124" y="122829"/>
                      </a:lnTo>
                      <a:lnTo>
                        <a:pt x="545306" y="125211"/>
                      </a:lnTo>
                      <a:lnTo>
                        <a:pt x="514350" y="99017"/>
                      </a:lnTo>
                      <a:lnTo>
                        <a:pt x="461962" y="175219"/>
                      </a:lnTo>
                      <a:lnTo>
                        <a:pt x="492919" y="199029"/>
                      </a:lnTo>
                      <a:lnTo>
                        <a:pt x="500062" y="239512"/>
                      </a:lnTo>
                      <a:cubicBezTo>
                        <a:pt x="480218" y="249037"/>
                        <a:pt x="407987" y="222842"/>
                        <a:pt x="388143" y="232367"/>
                      </a:cubicBezTo>
                      <a:lnTo>
                        <a:pt x="347662" y="29904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5" name="Freeform 84"/>
                <p:cNvSpPr/>
                <p:nvPr/>
              </p:nvSpPr>
              <p:spPr>
                <a:xfrm>
                  <a:off x="3657600" y="1847850"/>
                  <a:ext cx="1285875" cy="2352675"/>
                </a:xfrm>
                <a:custGeom>
                  <a:avLst/>
                  <a:gdLst>
                    <a:gd name="connsiteX0" fmla="*/ 804863 w 1295400"/>
                    <a:gd name="connsiteY0" fmla="*/ 4762 h 2357437"/>
                    <a:gd name="connsiteX1" fmla="*/ 700088 w 1295400"/>
                    <a:gd name="connsiteY1" fmla="*/ 0 h 2357437"/>
                    <a:gd name="connsiteX2" fmla="*/ 661988 w 1295400"/>
                    <a:gd name="connsiteY2" fmla="*/ 14287 h 2357437"/>
                    <a:gd name="connsiteX3" fmla="*/ 619125 w 1295400"/>
                    <a:gd name="connsiteY3" fmla="*/ 23812 h 2357437"/>
                    <a:gd name="connsiteX4" fmla="*/ 571500 w 1295400"/>
                    <a:gd name="connsiteY4" fmla="*/ 52387 h 2357437"/>
                    <a:gd name="connsiteX5" fmla="*/ 500063 w 1295400"/>
                    <a:gd name="connsiteY5" fmla="*/ 95250 h 2357437"/>
                    <a:gd name="connsiteX6" fmla="*/ 500063 w 1295400"/>
                    <a:gd name="connsiteY6" fmla="*/ 95250 h 2357437"/>
                    <a:gd name="connsiteX7" fmla="*/ 423863 w 1295400"/>
                    <a:gd name="connsiteY7" fmla="*/ 176212 h 2357437"/>
                    <a:gd name="connsiteX8" fmla="*/ 361950 w 1295400"/>
                    <a:gd name="connsiteY8" fmla="*/ 228600 h 2357437"/>
                    <a:gd name="connsiteX9" fmla="*/ 280988 w 1295400"/>
                    <a:gd name="connsiteY9" fmla="*/ 300037 h 2357437"/>
                    <a:gd name="connsiteX10" fmla="*/ 266700 w 1295400"/>
                    <a:gd name="connsiteY10" fmla="*/ 390525 h 2357437"/>
                    <a:gd name="connsiteX11" fmla="*/ 233363 w 1295400"/>
                    <a:gd name="connsiteY11" fmla="*/ 466725 h 2357437"/>
                    <a:gd name="connsiteX12" fmla="*/ 233363 w 1295400"/>
                    <a:gd name="connsiteY12" fmla="*/ 538162 h 2357437"/>
                    <a:gd name="connsiteX13" fmla="*/ 214313 w 1295400"/>
                    <a:gd name="connsiteY13" fmla="*/ 633412 h 2357437"/>
                    <a:gd name="connsiteX14" fmla="*/ 195263 w 1295400"/>
                    <a:gd name="connsiteY14" fmla="*/ 723900 h 2357437"/>
                    <a:gd name="connsiteX15" fmla="*/ 214313 w 1295400"/>
                    <a:gd name="connsiteY15" fmla="*/ 838200 h 2357437"/>
                    <a:gd name="connsiteX16" fmla="*/ 257175 w 1295400"/>
                    <a:gd name="connsiteY16" fmla="*/ 890587 h 2357437"/>
                    <a:gd name="connsiteX17" fmla="*/ 285750 w 1295400"/>
                    <a:gd name="connsiteY17" fmla="*/ 919162 h 2357437"/>
                    <a:gd name="connsiteX18" fmla="*/ 304800 w 1295400"/>
                    <a:gd name="connsiteY18" fmla="*/ 938212 h 2357437"/>
                    <a:gd name="connsiteX19" fmla="*/ 352425 w 1295400"/>
                    <a:gd name="connsiteY19" fmla="*/ 971550 h 2357437"/>
                    <a:gd name="connsiteX20" fmla="*/ 400050 w 1295400"/>
                    <a:gd name="connsiteY20" fmla="*/ 1004887 h 2357437"/>
                    <a:gd name="connsiteX21" fmla="*/ 390525 w 1295400"/>
                    <a:gd name="connsiteY21" fmla="*/ 1042987 h 2357437"/>
                    <a:gd name="connsiteX22" fmla="*/ 309563 w 1295400"/>
                    <a:gd name="connsiteY22" fmla="*/ 1081087 h 2357437"/>
                    <a:gd name="connsiteX23" fmla="*/ 309563 w 1295400"/>
                    <a:gd name="connsiteY23" fmla="*/ 1162050 h 2357437"/>
                    <a:gd name="connsiteX24" fmla="*/ 333375 w 1295400"/>
                    <a:gd name="connsiteY24" fmla="*/ 1209675 h 2357437"/>
                    <a:gd name="connsiteX25" fmla="*/ 347663 w 1295400"/>
                    <a:gd name="connsiteY25" fmla="*/ 1266825 h 2357437"/>
                    <a:gd name="connsiteX26" fmla="*/ 338138 w 1295400"/>
                    <a:gd name="connsiteY26" fmla="*/ 1347787 h 2357437"/>
                    <a:gd name="connsiteX27" fmla="*/ 300038 w 1295400"/>
                    <a:gd name="connsiteY27" fmla="*/ 1419225 h 2357437"/>
                    <a:gd name="connsiteX28" fmla="*/ 276225 w 1295400"/>
                    <a:gd name="connsiteY28" fmla="*/ 1428750 h 2357437"/>
                    <a:gd name="connsiteX29" fmla="*/ 238125 w 1295400"/>
                    <a:gd name="connsiteY29" fmla="*/ 1466850 h 2357437"/>
                    <a:gd name="connsiteX30" fmla="*/ 200025 w 1295400"/>
                    <a:gd name="connsiteY30" fmla="*/ 1509712 h 2357437"/>
                    <a:gd name="connsiteX31" fmla="*/ 176213 w 1295400"/>
                    <a:gd name="connsiteY31" fmla="*/ 1600200 h 2357437"/>
                    <a:gd name="connsiteX32" fmla="*/ 142875 w 1295400"/>
                    <a:gd name="connsiteY32" fmla="*/ 1619250 h 2357437"/>
                    <a:gd name="connsiteX33" fmla="*/ 100013 w 1295400"/>
                    <a:gd name="connsiteY33" fmla="*/ 1643062 h 2357437"/>
                    <a:gd name="connsiteX34" fmla="*/ 57150 w 1295400"/>
                    <a:gd name="connsiteY34" fmla="*/ 1704975 h 2357437"/>
                    <a:gd name="connsiteX35" fmla="*/ 4763 w 1295400"/>
                    <a:gd name="connsiteY35" fmla="*/ 1795462 h 2357437"/>
                    <a:gd name="connsiteX36" fmla="*/ 0 w 1295400"/>
                    <a:gd name="connsiteY36" fmla="*/ 1871662 h 2357437"/>
                    <a:gd name="connsiteX37" fmla="*/ 42863 w 1295400"/>
                    <a:gd name="connsiteY37" fmla="*/ 1962150 h 2357437"/>
                    <a:gd name="connsiteX38" fmla="*/ 9525 w 1295400"/>
                    <a:gd name="connsiteY38" fmla="*/ 2162175 h 2357437"/>
                    <a:gd name="connsiteX39" fmla="*/ 204788 w 1295400"/>
                    <a:gd name="connsiteY39" fmla="*/ 2324100 h 2357437"/>
                    <a:gd name="connsiteX40" fmla="*/ 433388 w 1295400"/>
                    <a:gd name="connsiteY40" fmla="*/ 2357437 h 2357437"/>
                    <a:gd name="connsiteX41" fmla="*/ 885825 w 1295400"/>
                    <a:gd name="connsiteY41" fmla="*/ 2247900 h 2357437"/>
                    <a:gd name="connsiteX42" fmla="*/ 1214438 w 1295400"/>
                    <a:gd name="connsiteY42" fmla="*/ 1866900 h 2357437"/>
                    <a:gd name="connsiteX43" fmla="*/ 1271588 w 1295400"/>
                    <a:gd name="connsiteY43" fmla="*/ 1504950 h 2357437"/>
                    <a:gd name="connsiteX44" fmla="*/ 1295400 w 1295400"/>
                    <a:gd name="connsiteY44" fmla="*/ 1209675 h 2357437"/>
                    <a:gd name="connsiteX45" fmla="*/ 1152525 w 1295400"/>
                    <a:gd name="connsiteY45" fmla="*/ 885825 h 2357437"/>
                    <a:gd name="connsiteX46" fmla="*/ 1262063 w 1295400"/>
                    <a:gd name="connsiteY46" fmla="*/ 728662 h 2357437"/>
                    <a:gd name="connsiteX47" fmla="*/ 1271588 w 1295400"/>
                    <a:gd name="connsiteY47" fmla="*/ 628650 h 2357437"/>
                    <a:gd name="connsiteX48" fmla="*/ 1157288 w 1295400"/>
                    <a:gd name="connsiteY48" fmla="*/ 509587 h 2357437"/>
                    <a:gd name="connsiteX49" fmla="*/ 1076325 w 1295400"/>
                    <a:gd name="connsiteY49" fmla="*/ 385762 h 2357437"/>
                    <a:gd name="connsiteX50" fmla="*/ 1104900 w 1295400"/>
                    <a:gd name="connsiteY50" fmla="*/ 214312 h 2357437"/>
                    <a:gd name="connsiteX51" fmla="*/ 1019175 w 1295400"/>
                    <a:gd name="connsiteY51" fmla="*/ 100012 h 2357437"/>
                    <a:gd name="connsiteX52" fmla="*/ 1000125 w 1295400"/>
                    <a:gd name="connsiteY52" fmla="*/ 28575 h 2357437"/>
                    <a:gd name="connsiteX53" fmla="*/ 876300 w 1295400"/>
                    <a:gd name="connsiteY53" fmla="*/ 9525 h 2357437"/>
                    <a:gd name="connsiteX54" fmla="*/ 804863 w 1295400"/>
                    <a:gd name="connsiteY54" fmla="*/ 4762 h 2357437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61988 w 1295400"/>
                    <a:gd name="connsiteY2" fmla="*/ 9525 h 2352675"/>
                    <a:gd name="connsiteX3" fmla="*/ 619125 w 1295400"/>
                    <a:gd name="connsiteY3" fmla="*/ 19050 h 2352675"/>
                    <a:gd name="connsiteX4" fmla="*/ 571500 w 1295400"/>
                    <a:gd name="connsiteY4" fmla="*/ 47625 h 2352675"/>
                    <a:gd name="connsiteX5" fmla="*/ 500063 w 1295400"/>
                    <a:gd name="connsiteY5" fmla="*/ 90488 h 2352675"/>
                    <a:gd name="connsiteX6" fmla="*/ 500063 w 1295400"/>
                    <a:gd name="connsiteY6" fmla="*/ 90488 h 2352675"/>
                    <a:gd name="connsiteX7" fmla="*/ 423863 w 1295400"/>
                    <a:gd name="connsiteY7" fmla="*/ 171450 h 2352675"/>
                    <a:gd name="connsiteX8" fmla="*/ 361950 w 1295400"/>
                    <a:gd name="connsiteY8" fmla="*/ 223838 h 2352675"/>
                    <a:gd name="connsiteX9" fmla="*/ 280988 w 1295400"/>
                    <a:gd name="connsiteY9" fmla="*/ 295275 h 2352675"/>
                    <a:gd name="connsiteX10" fmla="*/ 266700 w 1295400"/>
                    <a:gd name="connsiteY10" fmla="*/ 385763 h 2352675"/>
                    <a:gd name="connsiteX11" fmla="*/ 233363 w 1295400"/>
                    <a:gd name="connsiteY11" fmla="*/ 461963 h 2352675"/>
                    <a:gd name="connsiteX12" fmla="*/ 233363 w 1295400"/>
                    <a:gd name="connsiteY12" fmla="*/ 533400 h 2352675"/>
                    <a:gd name="connsiteX13" fmla="*/ 214313 w 1295400"/>
                    <a:gd name="connsiteY13" fmla="*/ 628650 h 2352675"/>
                    <a:gd name="connsiteX14" fmla="*/ 195263 w 1295400"/>
                    <a:gd name="connsiteY14" fmla="*/ 719138 h 2352675"/>
                    <a:gd name="connsiteX15" fmla="*/ 214313 w 1295400"/>
                    <a:gd name="connsiteY15" fmla="*/ 833438 h 2352675"/>
                    <a:gd name="connsiteX16" fmla="*/ 257175 w 1295400"/>
                    <a:gd name="connsiteY16" fmla="*/ 885825 h 2352675"/>
                    <a:gd name="connsiteX17" fmla="*/ 285750 w 1295400"/>
                    <a:gd name="connsiteY17" fmla="*/ 914400 h 2352675"/>
                    <a:gd name="connsiteX18" fmla="*/ 304800 w 1295400"/>
                    <a:gd name="connsiteY18" fmla="*/ 933450 h 2352675"/>
                    <a:gd name="connsiteX19" fmla="*/ 352425 w 1295400"/>
                    <a:gd name="connsiteY19" fmla="*/ 966788 h 2352675"/>
                    <a:gd name="connsiteX20" fmla="*/ 400050 w 1295400"/>
                    <a:gd name="connsiteY20" fmla="*/ 1000125 h 2352675"/>
                    <a:gd name="connsiteX21" fmla="*/ 390525 w 1295400"/>
                    <a:gd name="connsiteY21" fmla="*/ 1038225 h 2352675"/>
                    <a:gd name="connsiteX22" fmla="*/ 309563 w 1295400"/>
                    <a:gd name="connsiteY22" fmla="*/ 1076325 h 2352675"/>
                    <a:gd name="connsiteX23" fmla="*/ 309563 w 1295400"/>
                    <a:gd name="connsiteY23" fmla="*/ 1157288 h 2352675"/>
                    <a:gd name="connsiteX24" fmla="*/ 333375 w 1295400"/>
                    <a:gd name="connsiteY24" fmla="*/ 1204913 h 2352675"/>
                    <a:gd name="connsiteX25" fmla="*/ 347663 w 1295400"/>
                    <a:gd name="connsiteY25" fmla="*/ 1262063 h 2352675"/>
                    <a:gd name="connsiteX26" fmla="*/ 338138 w 1295400"/>
                    <a:gd name="connsiteY26" fmla="*/ 1343025 h 2352675"/>
                    <a:gd name="connsiteX27" fmla="*/ 300038 w 1295400"/>
                    <a:gd name="connsiteY27" fmla="*/ 1414463 h 2352675"/>
                    <a:gd name="connsiteX28" fmla="*/ 276225 w 1295400"/>
                    <a:gd name="connsiteY28" fmla="*/ 1423988 h 2352675"/>
                    <a:gd name="connsiteX29" fmla="*/ 238125 w 1295400"/>
                    <a:gd name="connsiteY29" fmla="*/ 1462088 h 2352675"/>
                    <a:gd name="connsiteX30" fmla="*/ 200025 w 1295400"/>
                    <a:gd name="connsiteY30" fmla="*/ 1504950 h 2352675"/>
                    <a:gd name="connsiteX31" fmla="*/ 176213 w 1295400"/>
                    <a:gd name="connsiteY31" fmla="*/ 1595438 h 2352675"/>
                    <a:gd name="connsiteX32" fmla="*/ 142875 w 1295400"/>
                    <a:gd name="connsiteY32" fmla="*/ 1614488 h 2352675"/>
                    <a:gd name="connsiteX33" fmla="*/ 100013 w 1295400"/>
                    <a:gd name="connsiteY33" fmla="*/ 1638300 h 2352675"/>
                    <a:gd name="connsiteX34" fmla="*/ 57150 w 1295400"/>
                    <a:gd name="connsiteY34" fmla="*/ 1700213 h 2352675"/>
                    <a:gd name="connsiteX35" fmla="*/ 4763 w 1295400"/>
                    <a:gd name="connsiteY35" fmla="*/ 1790700 h 2352675"/>
                    <a:gd name="connsiteX36" fmla="*/ 0 w 1295400"/>
                    <a:gd name="connsiteY36" fmla="*/ 1866900 h 2352675"/>
                    <a:gd name="connsiteX37" fmla="*/ 42863 w 1295400"/>
                    <a:gd name="connsiteY37" fmla="*/ 1957388 h 2352675"/>
                    <a:gd name="connsiteX38" fmla="*/ 9525 w 1295400"/>
                    <a:gd name="connsiteY38" fmla="*/ 2157413 h 2352675"/>
                    <a:gd name="connsiteX39" fmla="*/ 204788 w 1295400"/>
                    <a:gd name="connsiteY39" fmla="*/ 2319338 h 2352675"/>
                    <a:gd name="connsiteX40" fmla="*/ 433388 w 1295400"/>
                    <a:gd name="connsiteY40" fmla="*/ 2352675 h 2352675"/>
                    <a:gd name="connsiteX41" fmla="*/ 885825 w 1295400"/>
                    <a:gd name="connsiteY41" fmla="*/ 2243138 h 2352675"/>
                    <a:gd name="connsiteX42" fmla="*/ 1214438 w 1295400"/>
                    <a:gd name="connsiteY42" fmla="*/ 1862138 h 2352675"/>
                    <a:gd name="connsiteX43" fmla="*/ 1271588 w 1295400"/>
                    <a:gd name="connsiteY43" fmla="*/ 1500188 h 2352675"/>
                    <a:gd name="connsiteX44" fmla="*/ 1295400 w 1295400"/>
                    <a:gd name="connsiteY44" fmla="*/ 1204913 h 2352675"/>
                    <a:gd name="connsiteX45" fmla="*/ 1152525 w 1295400"/>
                    <a:gd name="connsiteY45" fmla="*/ 881063 h 2352675"/>
                    <a:gd name="connsiteX46" fmla="*/ 1262063 w 1295400"/>
                    <a:gd name="connsiteY46" fmla="*/ 723900 h 2352675"/>
                    <a:gd name="connsiteX47" fmla="*/ 1271588 w 1295400"/>
                    <a:gd name="connsiteY47" fmla="*/ 623888 h 2352675"/>
                    <a:gd name="connsiteX48" fmla="*/ 1157288 w 1295400"/>
                    <a:gd name="connsiteY48" fmla="*/ 504825 h 2352675"/>
                    <a:gd name="connsiteX49" fmla="*/ 1076325 w 1295400"/>
                    <a:gd name="connsiteY49" fmla="*/ 381000 h 2352675"/>
                    <a:gd name="connsiteX50" fmla="*/ 1104900 w 1295400"/>
                    <a:gd name="connsiteY50" fmla="*/ 209550 h 2352675"/>
                    <a:gd name="connsiteX51" fmla="*/ 1019175 w 1295400"/>
                    <a:gd name="connsiteY51" fmla="*/ 95250 h 2352675"/>
                    <a:gd name="connsiteX52" fmla="*/ 1000125 w 1295400"/>
                    <a:gd name="connsiteY52" fmla="*/ 23813 h 2352675"/>
                    <a:gd name="connsiteX53" fmla="*/ 876300 w 1295400"/>
                    <a:gd name="connsiteY53" fmla="*/ 4763 h 2352675"/>
                    <a:gd name="connsiteX54" fmla="*/ 804863 w 1295400"/>
                    <a:gd name="connsiteY54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19125 w 1295400"/>
                    <a:gd name="connsiteY3" fmla="*/ 19050 h 2352675"/>
                    <a:gd name="connsiteX4" fmla="*/ 571500 w 1295400"/>
                    <a:gd name="connsiteY4" fmla="*/ 47625 h 2352675"/>
                    <a:gd name="connsiteX5" fmla="*/ 500063 w 1295400"/>
                    <a:gd name="connsiteY5" fmla="*/ 90488 h 2352675"/>
                    <a:gd name="connsiteX6" fmla="*/ 500063 w 1295400"/>
                    <a:gd name="connsiteY6" fmla="*/ 90488 h 2352675"/>
                    <a:gd name="connsiteX7" fmla="*/ 423863 w 1295400"/>
                    <a:gd name="connsiteY7" fmla="*/ 171450 h 2352675"/>
                    <a:gd name="connsiteX8" fmla="*/ 361950 w 1295400"/>
                    <a:gd name="connsiteY8" fmla="*/ 223838 h 2352675"/>
                    <a:gd name="connsiteX9" fmla="*/ 280988 w 1295400"/>
                    <a:gd name="connsiteY9" fmla="*/ 295275 h 2352675"/>
                    <a:gd name="connsiteX10" fmla="*/ 266700 w 1295400"/>
                    <a:gd name="connsiteY10" fmla="*/ 385763 h 2352675"/>
                    <a:gd name="connsiteX11" fmla="*/ 233363 w 1295400"/>
                    <a:gd name="connsiteY11" fmla="*/ 461963 h 2352675"/>
                    <a:gd name="connsiteX12" fmla="*/ 233363 w 1295400"/>
                    <a:gd name="connsiteY12" fmla="*/ 533400 h 2352675"/>
                    <a:gd name="connsiteX13" fmla="*/ 214313 w 1295400"/>
                    <a:gd name="connsiteY13" fmla="*/ 628650 h 2352675"/>
                    <a:gd name="connsiteX14" fmla="*/ 195263 w 1295400"/>
                    <a:gd name="connsiteY14" fmla="*/ 719138 h 2352675"/>
                    <a:gd name="connsiteX15" fmla="*/ 214313 w 1295400"/>
                    <a:gd name="connsiteY15" fmla="*/ 833438 h 2352675"/>
                    <a:gd name="connsiteX16" fmla="*/ 257175 w 1295400"/>
                    <a:gd name="connsiteY16" fmla="*/ 885825 h 2352675"/>
                    <a:gd name="connsiteX17" fmla="*/ 285750 w 1295400"/>
                    <a:gd name="connsiteY17" fmla="*/ 914400 h 2352675"/>
                    <a:gd name="connsiteX18" fmla="*/ 304800 w 1295400"/>
                    <a:gd name="connsiteY18" fmla="*/ 933450 h 2352675"/>
                    <a:gd name="connsiteX19" fmla="*/ 352425 w 1295400"/>
                    <a:gd name="connsiteY19" fmla="*/ 966788 h 2352675"/>
                    <a:gd name="connsiteX20" fmla="*/ 400050 w 1295400"/>
                    <a:gd name="connsiteY20" fmla="*/ 1000125 h 2352675"/>
                    <a:gd name="connsiteX21" fmla="*/ 390525 w 1295400"/>
                    <a:gd name="connsiteY21" fmla="*/ 1038225 h 2352675"/>
                    <a:gd name="connsiteX22" fmla="*/ 309563 w 1295400"/>
                    <a:gd name="connsiteY22" fmla="*/ 1076325 h 2352675"/>
                    <a:gd name="connsiteX23" fmla="*/ 309563 w 1295400"/>
                    <a:gd name="connsiteY23" fmla="*/ 1157288 h 2352675"/>
                    <a:gd name="connsiteX24" fmla="*/ 333375 w 1295400"/>
                    <a:gd name="connsiteY24" fmla="*/ 1204913 h 2352675"/>
                    <a:gd name="connsiteX25" fmla="*/ 347663 w 1295400"/>
                    <a:gd name="connsiteY25" fmla="*/ 1262063 h 2352675"/>
                    <a:gd name="connsiteX26" fmla="*/ 338138 w 1295400"/>
                    <a:gd name="connsiteY26" fmla="*/ 1343025 h 2352675"/>
                    <a:gd name="connsiteX27" fmla="*/ 300038 w 1295400"/>
                    <a:gd name="connsiteY27" fmla="*/ 1414463 h 2352675"/>
                    <a:gd name="connsiteX28" fmla="*/ 276225 w 1295400"/>
                    <a:gd name="connsiteY28" fmla="*/ 1423988 h 2352675"/>
                    <a:gd name="connsiteX29" fmla="*/ 238125 w 1295400"/>
                    <a:gd name="connsiteY29" fmla="*/ 1462088 h 2352675"/>
                    <a:gd name="connsiteX30" fmla="*/ 200025 w 1295400"/>
                    <a:gd name="connsiteY30" fmla="*/ 1504950 h 2352675"/>
                    <a:gd name="connsiteX31" fmla="*/ 176213 w 1295400"/>
                    <a:gd name="connsiteY31" fmla="*/ 1595438 h 2352675"/>
                    <a:gd name="connsiteX32" fmla="*/ 142875 w 1295400"/>
                    <a:gd name="connsiteY32" fmla="*/ 1614488 h 2352675"/>
                    <a:gd name="connsiteX33" fmla="*/ 100013 w 1295400"/>
                    <a:gd name="connsiteY33" fmla="*/ 1638300 h 2352675"/>
                    <a:gd name="connsiteX34" fmla="*/ 57150 w 1295400"/>
                    <a:gd name="connsiteY34" fmla="*/ 1700213 h 2352675"/>
                    <a:gd name="connsiteX35" fmla="*/ 4763 w 1295400"/>
                    <a:gd name="connsiteY35" fmla="*/ 1790700 h 2352675"/>
                    <a:gd name="connsiteX36" fmla="*/ 0 w 1295400"/>
                    <a:gd name="connsiteY36" fmla="*/ 1866900 h 2352675"/>
                    <a:gd name="connsiteX37" fmla="*/ 42863 w 1295400"/>
                    <a:gd name="connsiteY37" fmla="*/ 1957388 h 2352675"/>
                    <a:gd name="connsiteX38" fmla="*/ 9525 w 1295400"/>
                    <a:gd name="connsiteY38" fmla="*/ 2157413 h 2352675"/>
                    <a:gd name="connsiteX39" fmla="*/ 204788 w 1295400"/>
                    <a:gd name="connsiteY39" fmla="*/ 2319338 h 2352675"/>
                    <a:gd name="connsiteX40" fmla="*/ 433388 w 1295400"/>
                    <a:gd name="connsiteY40" fmla="*/ 2352675 h 2352675"/>
                    <a:gd name="connsiteX41" fmla="*/ 885825 w 1295400"/>
                    <a:gd name="connsiteY41" fmla="*/ 2243138 h 2352675"/>
                    <a:gd name="connsiteX42" fmla="*/ 1214438 w 1295400"/>
                    <a:gd name="connsiteY42" fmla="*/ 1862138 h 2352675"/>
                    <a:gd name="connsiteX43" fmla="*/ 1271588 w 1295400"/>
                    <a:gd name="connsiteY43" fmla="*/ 1500188 h 2352675"/>
                    <a:gd name="connsiteX44" fmla="*/ 1295400 w 1295400"/>
                    <a:gd name="connsiteY44" fmla="*/ 1204913 h 2352675"/>
                    <a:gd name="connsiteX45" fmla="*/ 1152525 w 1295400"/>
                    <a:gd name="connsiteY45" fmla="*/ 881063 h 2352675"/>
                    <a:gd name="connsiteX46" fmla="*/ 1262063 w 1295400"/>
                    <a:gd name="connsiteY46" fmla="*/ 723900 h 2352675"/>
                    <a:gd name="connsiteX47" fmla="*/ 1271588 w 1295400"/>
                    <a:gd name="connsiteY47" fmla="*/ 623888 h 2352675"/>
                    <a:gd name="connsiteX48" fmla="*/ 1157288 w 1295400"/>
                    <a:gd name="connsiteY48" fmla="*/ 504825 h 2352675"/>
                    <a:gd name="connsiteX49" fmla="*/ 1076325 w 1295400"/>
                    <a:gd name="connsiteY49" fmla="*/ 381000 h 2352675"/>
                    <a:gd name="connsiteX50" fmla="*/ 1104900 w 1295400"/>
                    <a:gd name="connsiteY50" fmla="*/ 209550 h 2352675"/>
                    <a:gd name="connsiteX51" fmla="*/ 1019175 w 1295400"/>
                    <a:gd name="connsiteY51" fmla="*/ 95250 h 2352675"/>
                    <a:gd name="connsiteX52" fmla="*/ 1000125 w 1295400"/>
                    <a:gd name="connsiteY52" fmla="*/ 23813 h 2352675"/>
                    <a:gd name="connsiteX53" fmla="*/ 876300 w 1295400"/>
                    <a:gd name="connsiteY53" fmla="*/ 4763 h 2352675"/>
                    <a:gd name="connsiteX54" fmla="*/ 804863 w 1295400"/>
                    <a:gd name="connsiteY54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35794 w 1295400"/>
                    <a:gd name="connsiteY3" fmla="*/ 83343 h 2352675"/>
                    <a:gd name="connsiteX4" fmla="*/ 571500 w 1295400"/>
                    <a:gd name="connsiteY4" fmla="*/ 47625 h 2352675"/>
                    <a:gd name="connsiteX5" fmla="*/ 500063 w 1295400"/>
                    <a:gd name="connsiteY5" fmla="*/ 90488 h 2352675"/>
                    <a:gd name="connsiteX6" fmla="*/ 500063 w 1295400"/>
                    <a:gd name="connsiteY6" fmla="*/ 90488 h 2352675"/>
                    <a:gd name="connsiteX7" fmla="*/ 423863 w 1295400"/>
                    <a:gd name="connsiteY7" fmla="*/ 171450 h 2352675"/>
                    <a:gd name="connsiteX8" fmla="*/ 361950 w 1295400"/>
                    <a:gd name="connsiteY8" fmla="*/ 223838 h 2352675"/>
                    <a:gd name="connsiteX9" fmla="*/ 280988 w 1295400"/>
                    <a:gd name="connsiteY9" fmla="*/ 295275 h 2352675"/>
                    <a:gd name="connsiteX10" fmla="*/ 266700 w 1295400"/>
                    <a:gd name="connsiteY10" fmla="*/ 385763 h 2352675"/>
                    <a:gd name="connsiteX11" fmla="*/ 233363 w 1295400"/>
                    <a:gd name="connsiteY11" fmla="*/ 461963 h 2352675"/>
                    <a:gd name="connsiteX12" fmla="*/ 233363 w 1295400"/>
                    <a:gd name="connsiteY12" fmla="*/ 533400 h 2352675"/>
                    <a:gd name="connsiteX13" fmla="*/ 214313 w 1295400"/>
                    <a:gd name="connsiteY13" fmla="*/ 628650 h 2352675"/>
                    <a:gd name="connsiteX14" fmla="*/ 195263 w 1295400"/>
                    <a:gd name="connsiteY14" fmla="*/ 719138 h 2352675"/>
                    <a:gd name="connsiteX15" fmla="*/ 214313 w 1295400"/>
                    <a:gd name="connsiteY15" fmla="*/ 833438 h 2352675"/>
                    <a:gd name="connsiteX16" fmla="*/ 257175 w 1295400"/>
                    <a:gd name="connsiteY16" fmla="*/ 885825 h 2352675"/>
                    <a:gd name="connsiteX17" fmla="*/ 285750 w 1295400"/>
                    <a:gd name="connsiteY17" fmla="*/ 914400 h 2352675"/>
                    <a:gd name="connsiteX18" fmla="*/ 304800 w 1295400"/>
                    <a:gd name="connsiteY18" fmla="*/ 933450 h 2352675"/>
                    <a:gd name="connsiteX19" fmla="*/ 352425 w 1295400"/>
                    <a:gd name="connsiteY19" fmla="*/ 966788 h 2352675"/>
                    <a:gd name="connsiteX20" fmla="*/ 400050 w 1295400"/>
                    <a:gd name="connsiteY20" fmla="*/ 1000125 h 2352675"/>
                    <a:gd name="connsiteX21" fmla="*/ 390525 w 1295400"/>
                    <a:gd name="connsiteY21" fmla="*/ 1038225 h 2352675"/>
                    <a:gd name="connsiteX22" fmla="*/ 309563 w 1295400"/>
                    <a:gd name="connsiteY22" fmla="*/ 1076325 h 2352675"/>
                    <a:gd name="connsiteX23" fmla="*/ 309563 w 1295400"/>
                    <a:gd name="connsiteY23" fmla="*/ 1157288 h 2352675"/>
                    <a:gd name="connsiteX24" fmla="*/ 333375 w 1295400"/>
                    <a:gd name="connsiteY24" fmla="*/ 1204913 h 2352675"/>
                    <a:gd name="connsiteX25" fmla="*/ 347663 w 1295400"/>
                    <a:gd name="connsiteY25" fmla="*/ 1262063 h 2352675"/>
                    <a:gd name="connsiteX26" fmla="*/ 338138 w 1295400"/>
                    <a:gd name="connsiteY26" fmla="*/ 1343025 h 2352675"/>
                    <a:gd name="connsiteX27" fmla="*/ 300038 w 1295400"/>
                    <a:gd name="connsiteY27" fmla="*/ 1414463 h 2352675"/>
                    <a:gd name="connsiteX28" fmla="*/ 276225 w 1295400"/>
                    <a:gd name="connsiteY28" fmla="*/ 1423988 h 2352675"/>
                    <a:gd name="connsiteX29" fmla="*/ 238125 w 1295400"/>
                    <a:gd name="connsiteY29" fmla="*/ 1462088 h 2352675"/>
                    <a:gd name="connsiteX30" fmla="*/ 200025 w 1295400"/>
                    <a:gd name="connsiteY30" fmla="*/ 1504950 h 2352675"/>
                    <a:gd name="connsiteX31" fmla="*/ 176213 w 1295400"/>
                    <a:gd name="connsiteY31" fmla="*/ 1595438 h 2352675"/>
                    <a:gd name="connsiteX32" fmla="*/ 142875 w 1295400"/>
                    <a:gd name="connsiteY32" fmla="*/ 1614488 h 2352675"/>
                    <a:gd name="connsiteX33" fmla="*/ 100013 w 1295400"/>
                    <a:gd name="connsiteY33" fmla="*/ 1638300 h 2352675"/>
                    <a:gd name="connsiteX34" fmla="*/ 57150 w 1295400"/>
                    <a:gd name="connsiteY34" fmla="*/ 1700213 h 2352675"/>
                    <a:gd name="connsiteX35" fmla="*/ 4763 w 1295400"/>
                    <a:gd name="connsiteY35" fmla="*/ 1790700 h 2352675"/>
                    <a:gd name="connsiteX36" fmla="*/ 0 w 1295400"/>
                    <a:gd name="connsiteY36" fmla="*/ 1866900 h 2352675"/>
                    <a:gd name="connsiteX37" fmla="*/ 42863 w 1295400"/>
                    <a:gd name="connsiteY37" fmla="*/ 1957388 h 2352675"/>
                    <a:gd name="connsiteX38" fmla="*/ 9525 w 1295400"/>
                    <a:gd name="connsiteY38" fmla="*/ 2157413 h 2352675"/>
                    <a:gd name="connsiteX39" fmla="*/ 204788 w 1295400"/>
                    <a:gd name="connsiteY39" fmla="*/ 2319338 h 2352675"/>
                    <a:gd name="connsiteX40" fmla="*/ 433388 w 1295400"/>
                    <a:gd name="connsiteY40" fmla="*/ 2352675 h 2352675"/>
                    <a:gd name="connsiteX41" fmla="*/ 885825 w 1295400"/>
                    <a:gd name="connsiteY41" fmla="*/ 2243138 h 2352675"/>
                    <a:gd name="connsiteX42" fmla="*/ 1214438 w 1295400"/>
                    <a:gd name="connsiteY42" fmla="*/ 1862138 h 2352675"/>
                    <a:gd name="connsiteX43" fmla="*/ 1271588 w 1295400"/>
                    <a:gd name="connsiteY43" fmla="*/ 1500188 h 2352675"/>
                    <a:gd name="connsiteX44" fmla="*/ 1295400 w 1295400"/>
                    <a:gd name="connsiteY44" fmla="*/ 1204913 h 2352675"/>
                    <a:gd name="connsiteX45" fmla="*/ 1152525 w 1295400"/>
                    <a:gd name="connsiteY45" fmla="*/ 881063 h 2352675"/>
                    <a:gd name="connsiteX46" fmla="*/ 1262063 w 1295400"/>
                    <a:gd name="connsiteY46" fmla="*/ 723900 h 2352675"/>
                    <a:gd name="connsiteX47" fmla="*/ 1271588 w 1295400"/>
                    <a:gd name="connsiteY47" fmla="*/ 623888 h 2352675"/>
                    <a:gd name="connsiteX48" fmla="*/ 1157288 w 1295400"/>
                    <a:gd name="connsiteY48" fmla="*/ 504825 h 2352675"/>
                    <a:gd name="connsiteX49" fmla="*/ 1076325 w 1295400"/>
                    <a:gd name="connsiteY49" fmla="*/ 381000 h 2352675"/>
                    <a:gd name="connsiteX50" fmla="*/ 1104900 w 1295400"/>
                    <a:gd name="connsiteY50" fmla="*/ 209550 h 2352675"/>
                    <a:gd name="connsiteX51" fmla="*/ 1019175 w 1295400"/>
                    <a:gd name="connsiteY51" fmla="*/ 95250 h 2352675"/>
                    <a:gd name="connsiteX52" fmla="*/ 1000125 w 1295400"/>
                    <a:gd name="connsiteY52" fmla="*/ 23813 h 2352675"/>
                    <a:gd name="connsiteX53" fmla="*/ 876300 w 1295400"/>
                    <a:gd name="connsiteY53" fmla="*/ 4763 h 2352675"/>
                    <a:gd name="connsiteX54" fmla="*/ 804863 w 1295400"/>
                    <a:gd name="connsiteY54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35794 w 1295400"/>
                    <a:gd name="connsiteY3" fmla="*/ 83343 h 2352675"/>
                    <a:gd name="connsiteX4" fmla="*/ 597694 w 1295400"/>
                    <a:gd name="connsiteY4" fmla="*/ 123825 h 2352675"/>
                    <a:gd name="connsiteX5" fmla="*/ 500063 w 1295400"/>
                    <a:gd name="connsiteY5" fmla="*/ 90488 h 2352675"/>
                    <a:gd name="connsiteX6" fmla="*/ 500063 w 1295400"/>
                    <a:gd name="connsiteY6" fmla="*/ 90488 h 2352675"/>
                    <a:gd name="connsiteX7" fmla="*/ 423863 w 1295400"/>
                    <a:gd name="connsiteY7" fmla="*/ 171450 h 2352675"/>
                    <a:gd name="connsiteX8" fmla="*/ 361950 w 1295400"/>
                    <a:gd name="connsiteY8" fmla="*/ 223838 h 2352675"/>
                    <a:gd name="connsiteX9" fmla="*/ 280988 w 1295400"/>
                    <a:gd name="connsiteY9" fmla="*/ 295275 h 2352675"/>
                    <a:gd name="connsiteX10" fmla="*/ 266700 w 1295400"/>
                    <a:gd name="connsiteY10" fmla="*/ 385763 h 2352675"/>
                    <a:gd name="connsiteX11" fmla="*/ 233363 w 1295400"/>
                    <a:gd name="connsiteY11" fmla="*/ 461963 h 2352675"/>
                    <a:gd name="connsiteX12" fmla="*/ 233363 w 1295400"/>
                    <a:gd name="connsiteY12" fmla="*/ 533400 h 2352675"/>
                    <a:gd name="connsiteX13" fmla="*/ 214313 w 1295400"/>
                    <a:gd name="connsiteY13" fmla="*/ 628650 h 2352675"/>
                    <a:gd name="connsiteX14" fmla="*/ 195263 w 1295400"/>
                    <a:gd name="connsiteY14" fmla="*/ 719138 h 2352675"/>
                    <a:gd name="connsiteX15" fmla="*/ 214313 w 1295400"/>
                    <a:gd name="connsiteY15" fmla="*/ 833438 h 2352675"/>
                    <a:gd name="connsiteX16" fmla="*/ 257175 w 1295400"/>
                    <a:gd name="connsiteY16" fmla="*/ 885825 h 2352675"/>
                    <a:gd name="connsiteX17" fmla="*/ 285750 w 1295400"/>
                    <a:gd name="connsiteY17" fmla="*/ 914400 h 2352675"/>
                    <a:gd name="connsiteX18" fmla="*/ 304800 w 1295400"/>
                    <a:gd name="connsiteY18" fmla="*/ 933450 h 2352675"/>
                    <a:gd name="connsiteX19" fmla="*/ 352425 w 1295400"/>
                    <a:gd name="connsiteY19" fmla="*/ 966788 h 2352675"/>
                    <a:gd name="connsiteX20" fmla="*/ 400050 w 1295400"/>
                    <a:gd name="connsiteY20" fmla="*/ 1000125 h 2352675"/>
                    <a:gd name="connsiteX21" fmla="*/ 390525 w 1295400"/>
                    <a:gd name="connsiteY21" fmla="*/ 1038225 h 2352675"/>
                    <a:gd name="connsiteX22" fmla="*/ 309563 w 1295400"/>
                    <a:gd name="connsiteY22" fmla="*/ 1076325 h 2352675"/>
                    <a:gd name="connsiteX23" fmla="*/ 309563 w 1295400"/>
                    <a:gd name="connsiteY23" fmla="*/ 1157288 h 2352675"/>
                    <a:gd name="connsiteX24" fmla="*/ 333375 w 1295400"/>
                    <a:gd name="connsiteY24" fmla="*/ 1204913 h 2352675"/>
                    <a:gd name="connsiteX25" fmla="*/ 347663 w 1295400"/>
                    <a:gd name="connsiteY25" fmla="*/ 1262063 h 2352675"/>
                    <a:gd name="connsiteX26" fmla="*/ 338138 w 1295400"/>
                    <a:gd name="connsiteY26" fmla="*/ 1343025 h 2352675"/>
                    <a:gd name="connsiteX27" fmla="*/ 300038 w 1295400"/>
                    <a:gd name="connsiteY27" fmla="*/ 1414463 h 2352675"/>
                    <a:gd name="connsiteX28" fmla="*/ 276225 w 1295400"/>
                    <a:gd name="connsiteY28" fmla="*/ 1423988 h 2352675"/>
                    <a:gd name="connsiteX29" fmla="*/ 238125 w 1295400"/>
                    <a:gd name="connsiteY29" fmla="*/ 1462088 h 2352675"/>
                    <a:gd name="connsiteX30" fmla="*/ 200025 w 1295400"/>
                    <a:gd name="connsiteY30" fmla="*/ 1504950 h 2352675"/>
                    <a:gd name="connsiteX31" fmla="*/ 176213 w 1295400"/>
                    <a:gd name="connsiteY31" fmla="*/ 1595438 h 2352675"/>
                    <a:gd name="connsiteX32" fmla="*/ 142875 w 1295400"/>
                    <a:gd name="connsiteY32" fmla="*/ 1614488 h 2352675"/>
                    <a:gd name="connsiteX33" fmla="*/ 100013 w 1295400"/>
                    <a:gd name="connsiteY33" fmla="*/ 1638300 h 2352675"/>
                    <a:gd name="connsiteX34" fmla="*/ 57150 w 1295400"/>
                    <a:gd name="connsiteY34" fmla="*/ 1700213 h 2352675"/>
                    <a:gd name="connsiteX35" fmla="*/ 4763 w 1295400"/>
                    <a:gd name="connsiteY35" fmla="*/ 1790700 h 2352675"/>
                    <a:gd name="connsiteX36" fmla="*/ 0 w 1295400"/>
                    <a:gd name="connsiteY36" fmla="*/ 1866900 h 2352675"/>
                    <a:gd name="connsiteX37" fmla="*/ 42863 w 1295400"/>
                    <a:gd name="connsiteY37" fmla="*/ 1957388 h 2352675"/>
                    <a:gd name="connsiteX38" fmla="*/ 9525 w 1295400"/>
                    <a:gd name="connsiteY38" fmla="*/ 2157413 h 2352675"/>
                    <a:gd name="connsiteX39" fmla="*/ 204788 w 1295400"/>
                    <a:gd name="connsiteY39" fmla="*/ 2319338 h 2352675"/>
                    <a:gd name="connsiteX40" fmla="*/ 433388 w 1295400"/>
                    <a:gd name="connsiteY40" fmla="*/ 2352675 h 2352675"/>
                    <a:gd name="connsiteX41" fmla="*/ 885825 w 1295400"/>
                    <a:gd name="connsiteY41" fmla="*/ 2243138 h 2352675"/>
                    <a:gd name="connsiteX42" fmla="*/ 1214438 w 1295400"/>
                    <a:gd name="connsiteY42" fmla="*/ 1862138 h 2352675"/>
                    <a:gd name="connsiteX43" fmla="*/ 1271588 w 1295400"/>
                    <a:gd name="connsiteY43" fmla="*/ 1500188 h 2352675"/>
                    <a:gd name="connsiteX44" fmla="*/ 1295400 w 1295400"/>
                    <a:gd name="connsiteY44" fmla="*/ 1204913 h 2352675"/>
                    <a:gd name="connsiteX45" fmla="*/ 1152525 w 1295400"/>
                    <a:gd name="connsiteY45" fmla="*/ 881063 h 2352675"/>
                    <a:gd name="connsiteX46" fmla="*/ 1262063 w 1295400"/>
                    <a:gd name="connsiteY46" fmla="*/ 723900 h 2352675"/>
                    <a:gd name="connsiteX47" fmla="*/ 1271588 w 1295400"/>
                    <a:gd name="connsiteY47" fmla="*/ 623888 h 2352675"/>
                    <a:gd name="connsiteX48" fmla="*/ 1157288 w 1295400"/>
                    <a:gd name="connsiteY48" fmla="*/ 504825 h 2352675"/>
                    <a:gd name="connsiteX49" fmla="*/ 1076325 w 1295400"/>
                    <a:gd name="connsiteY49" fmla="*/ 381000 h 2352675"/>
                    <a:gd name="connsiteX50" fmla="*/ 1104900 w 1295400"/>
                    <a:gd name="connsiteY50" fmla="*/ 209550 h 2352675"/>
                    <a:gd name="connsiteX51" fmla="*/ 1019175 w 1295400"/>
                    <a:gd name="connsiteY51" fmla="*/ 95250 h 2352675"/>
                    <a:gd name="connsiteX52" fmla="*/ 1000125 w 1295400"/>
                    <a:gd name="connsiteY52" fmla="*/ 23813 h 2352675"/>
                    <a:gd name="connsiteX53" fmla="*/ 876300 w 1295400"/>
                    <a:gd name="connsiteY53" fmla="*/ 4763 h 2352675"/>
                    <a:gd name="connsiteX54" fmla="*/ 804863 w 1295400"/>
                    <a:gd name="connsiteY54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35794 w 1295400"/>
                    <a:gd name="connsiteY3" fmla="*/ 83343 h 2352675"/>
                    <a:gd name="connsiteX4" fmla="*/ 597694 w 1295400"/>
                    <a:gd name="connsiteY4" fmla="*/ 123825 h 2352675"/>
                    <a:gd name="connsiteX5" fmla="*/ 500063 w 1295400"/>
                    <a:gd name="connsiteY5" fmla="*/ 90488 h 2352675"/>
                    <a:gd name="connsiteX6" fmla="*/ 531019 w 1295400"/>
                    <a:gd name="connsiteY6" fmla="*/ 142876 h 2352675"/>
                    <a:gd name="connsiteX7" fmla="*/ 423863 w 1295400"/>
                    <a:gd name="connsiteY7" fmla="*/ 171450 h 2352675"/>
                    <a:gd name="connsiteX8" fmla="*/ 361950 w 1295400"/>
                    <a:gd name="connsiteY8" fmla="*/ 223838 h 2352675"/>
                    <a:gd name="connsiteX9" fmla="*/ 280988 w 1295400"/>
                    <a:gd name="connsiteY9" fmla="*/ 295275 h 2352675"/>
                    <a:gd name="connsiteX10" fmla="*/ 266700 w 1295400"/>
                    <a:gd name="connsiteY10" fmla="*/ 385763 h 2352675"/>
                    <a:gd name="connsiteX11" fmla="*/ 233363 w 1295400"/>
                    <a:gd name="connsiteY11" fmla="*/ 461963 h 2352675"/>
                    <a:gd name="connsiteX12" fmla="*/ 233363 w 1295400"/>
                    <a:gd name="connsiteY12" fmla="*/ 533400 h 2352675"/>
                    <a:gd name="connsiteX13" fmla="*/ 214313 w 1295400"/>
                    <a:gd name="connsiteY13" fmla="*/ 628650 h 2352675"/>
                    <a:gd name="connsiteX14" fmla="*/ 195263 w 1295400"/>
                    <a:gd name="connsiteY14" fmla="*/ 719138 h 2352675"/>
                    <a:gd name="connsiteX15" fmla="*/ 214313 w 1295400"/>
                    <a:gd name="connsiteY15" fmla="*/ 833438 h 2352675"/>
                    <a:gd name="connsiteX16" fmla="*/ 257175 w 1295400"/>
                    <a:gd name="connsiteY16" fmla="*/ 885825 h 2352675"/>
                    <a:gd name="connsiteX17" fmla="*/ 285750 w 1295400"/>
                    <a:gd name="connsiteY17" fmla="*/ 914400 h 2352675"/>
                    <a:gd name="connsiteX18" fmla="*/ 304800 w 1295400"/>
                    <a:gd name="connsiteY18" fmla="*/ 933450 h 2352675"/>
                    <a:gd name="connsiteX19" fmla="*/ 352425 w 1295400"/>
                    <a:gd name="connsiteY19" fmla="*/ 966788 h 2352675"/>
                    <a:gd name="connsiteX20" fmla="*/ 400050 w 1295400"/>
                    <a:gd name="connsiteY20" fmla="*/ 1000125 h 2352675"/>
                    <a:gd name="connsiteX21" fmla="*/ 390525 w 1295400"/>
                    <a:gd name="connsiteY21" fmla="*/ 1038225 h 2352675"/>
                    <a:gd name="connsiteX22" fmla="*/ 309563 w 1295400"/>
                    <a:gd name="connsiteY22" fmla="*/ 1076325 h 2352675"/>
                    <a:gd name="connsiteX23" fmla="*/ 309563 w 1295400"/>
                    <a:gd name="connsiteY23" fmla="*/ 1157288 h 2352675"/>
                    <a:gd name="connsiteX24" fmla="*/ 333375 w 1295400"/>
                    <a:gd name="connsiteY24" fmla="*/ 1204913 h 2352675"/>
                    <a:gd name="connsiteX25" fmla="*/ 347663 w 1295400"/>
                    <a:gd name="connsiteY25" fmla="*/ 1262063 h 2352675"/>
                    <a:gd name="connsiteX26" fmla="*/ 338138 w 1295400"/>
                    <a:gd name="connsiteY26" fmla="*/ 1343025 h 2352675"/>
                    <a:gd name="connsiteX27" fmla="*/ 300038 w 1295400"/>
                    <a:gd name="connsiteY27" fmla="*/ 1414463 h 2352675"/>
                    <a:gd name="connsiteX28" fmla="*/ 276225 w 1295400"/>
                    <a:gd name="connsiteY28" fmla="*/ 1423988 h 2352675"/>
                    <a:gd name="connsiteX29" fmla="*/ 238125 w 1295400"/>
                    <a:gd name="connsiteY29" fmla="*/ 1462088 h 2352675"/>
                    <a:gd name="connsiteX30" fmla="*/ 200025 w 1295400"/>
                    <a:gd name="connsiteY30" fmla="*/ 1504950 h 2352675"/>
                    <a:gd name="connsiteX31" fmla="*/ 176213 w 1295400"/>
                    <a:gd name="connsiteY31" fmla="*/ 1595438 h 2352675"/>
                    <a:gd name="connsiteX32" fmla="*/ 142875 w 1295400"/>
                    <a:gd name="connsiteY32" fmla="*/ 1614488 h 2352675"/>
                    <a:gd name="connsiteX33" fmla="*/ 100013 w 1295400"/>
                    <a:gd name="connsiteY33" fmla="*/ 1638300 h 2352675"/>
                    <a:gd name="connsiteX34" fmla="*/ 57150 w 1295400"/>
                    <a:gd name="connsiteY34" fmla="*/ 1700213 h 2352675"/>
                    <a:gd name="connsiteX35" fmla="*/ 4763 w 1295400"/>
                    <a:gd name="connsiteY35" fmla="*/ 1790700 h 2352675"/>
                    <a:gd name="connsiteX36" fmla="*/ 0 w 1295400"/>
                    <a:gd name="connsiteY36" fmla="*/ 1866900 h 2352675"/>
                    <a:gd name="connsiteX37" fmla="*/ 42863 w 1295400"/>
                    <a:gd name="connsiteY37" fmla="*/ 1957388 h 2352675"/>
                    <a:gd name="connsiteX38" fmla="*/ 9525 w 1295400"/>
                    <a:gd name="connsiteY38" fmla="*/ 2157413 h 2352675"/>
                    <a:gd name="connsiteX39" fmla="*/ 204788 w 1295400"/>
                    <a:gd name="connsiteY39" fmla="*/ 2319338 h 2352675"/>
                    <a:gd name="connsiteX40" fmla="*/ 433388 w 1295400"/>
                    <a:gd name="connsiteY40" fmla="*/ 2352675 h 2352675"/>
                    <a:gd name="connsiteX41" fmla="*/ 885825 w 1295400"/>
                    <a:gd name="connsiteY41" fmla="*/ 2243138 h 2352675"/>
                    <a:gd name="connsiteX42" fmla="*/ 1214438 w 1295400"/>
                    <a:gd name="connsiteY42" fmla="*/ 1862138 h 2352675"/>
                    <a:gd name="connsiteX43" fmla="*/ 1271588 w 1295400"/>
                    <a:gd name="connsiteY43" fmla="*/ 1500188 h 2352675"/>
                    <a:gd name="connsiteX44" fmla="*/ 1295400 w 1295400"/>
                    <a:gd name="connsiteY44" fmla="*/ 1204913 h 2352675"/>
                    <a:gd name="connsiteX45" fmla="*/ 1152525 w 1295400"/>
                    <a:gd name="connsiteY45" fmla="*/ 881063 h 2352675"/>
                    <a:gd name="connsiteX46" fmla="*/ 1262063 w 1295400"/>
                    <a:gd name="connsiteY46" fmla="*/ 723900 h 2352675"/>
                    <a:gd name="connsiteX47" fmla="*/ 1271588 w 1295400"/>
                    <a:gd name="connsiteY47" fmla="*/ 623888 h 2352675"/>
                    <a:gd name="connsiteX48" fmla="*/ 1157288 w 1295400"/>
                    <a:gd name="connsiteY48" fmla="*/ 504825 h 2352675"/>
                    <a:gd name="connsiteX49" fmla="*/ 1076325 w 1295400"/>
                    <a:gd name="connsiteY49" fmla="*/ 381000 h 2352675"/>
                    <a:gd name="connsiteX50" fmla="*/ 1104900 w 1295400"/>
                    <a:gd name="connsiteY50" fmla="*/ 209550 h 2352675"/>
                    <a:gd name="connsiteX51" fmla="*/ 1019175 w 1295400"/>
                    <a:gd name="connsiteY51" fmla="*/ 95250 h 2352675"/>
                    <a:gd name="connsiteX52" fmla="*/ 1000125 w 1295400"/>
                    <a:gd name="connsiteY52" fmla="*/ 23813 h 2352675"/>
                    <a:gd name="connsiteX53" fmla="*/ 876300 w 1295400"/>
                    <a:gd name="connsiteY53" fmla="*/ 4763 h 2352675"/>
                    <a:gd name="connsiteX54" fmla="*/ 804863 w 1295400"/>
                    <a:gd name="connsiteY54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35794 w 1295400"/>
                    <a:gd name="connsiteY3" fmla="*/ 83343 h 2352675"/>
                    <a:gd name="connsiteX4" fmla="*/ 597694 w 1295400"/>
                    <a:gd name="connsiteY4" fmla="*/ 123825 h 2352675"/>
                    <a:gd name="connsiteX5" fmla="*/ 500063 w 1295400"/>
                    <a:gd name="connsiteY5" fmla="*/ 90488 h 2352675"/>
                    <a:gd name="connsiteX6" fmla="*/ 531019 w 1295400"/>
                    <a:gd name="connsiteY6" fmla="*/ 142876 h 2352675"/>
                    <a:gd name="connsiteX7" fmla="*/ 528638 w 1295400"/>
                    <a:gd name="connsiteY7" fmla="*/ 195262 h 2352675"/>
                    <a:gd name="connsiteX8" fmla="*/ 361950 w 1295400"/>
                    <a:gd name="connsiteY8" fmla="*/ 223838 h 2352675"/>
                    <a:gd name="connsiteX9" fmla="*/ 280988 w 1295400"/>
                    <a:gd name="connsiteY9" fmla="*/ 295275 h 2352675"/>
                    <a:gd name="connsiteX10" fmla="*/ 266700 w 1295400"/>
                    <a:gd name="connsiteY10" fmla="*/ 385763 h 2352675"/>
                    <a:gd name="connsiteX11" fmla="*/ 233363 w 1295400"/>
                    <a:gd name="connsiteY11" fmla="*/ 461963 h 2352675"/>
                    <a:gd name="connsiteX12" fmla="*/ 233363 w 1295400"/>
                    <a:gd name="connsiteY12" fmla="*/ 533400 h 2352675"/>
                    <a:gd name="connsiteX13" fmla="*/ 214313 w 1295400"/>
                    <a:gd name="connsiteY13" fmla="*/ 628650 h 2352675"/>
                    <a:gd name="connsiteX14" fmla="*/ 195263 w 1295400"/>
                    <a:gd name="connsiteY14" fmla="*/ 719138 h 2352675"/>
                    <a:gd name="connsiteX15" fmla="*/ 214313 w 1295400"/>
                    <a:gd name="connsiteY15" fmla="*/ 833438 h 2352675"/>
                    <a:gd name="connsiteX16" fmla="*/ 257175 w 1295400"/>
                    <a:gd name="connsiteY16" fmla="*/ 885825 h 2352675"/>
                    <a:gd name="connsiteX17" fmla="*/ 285750 w 1295400"/>
                    <a:gd name="connsiteY17" fmla="*/ 914400 h 2352675"/>
                    <a:gd name="connsiteX18" fmla="*/ 304800 w 1295400"/>
                    <a:gd name="connsiteY18" fmla="*/ 933450 h 2352675"/>
                    <a:gd name="connsiteX19" fmla="*/ 352425 w 1295400"/>
                    <a:gd name="connsiteY19" fmla="*/ 966788 h 2352675"/>
                    <a:gd name="connsiteX20" fmla="*/ 400050 w 1295400"/>
                    <a:gd name="connsiteY20" fmla="*/ 1000125 h 2352675"/>
                    <a:gd name="connsiteX21" fmla="*/ 390525 w 1295400"/>
                    <a:gd name="connsiteY21" fmla="*/ 1038225 h 2352675"/>
                    <a:gd name="connsiteX22" fmla="*/ 309563 w 1295400"/>
                    <a:gd name="connsiteY22" fmla="*/ 1076325 h 2352675"/>
                    <a:gd name="connsiteX23" fmla="*/ 309563 w 1295400"/>
                    <a:gd name="connsiteY23" fmla="*/ 1157288 h 2352675"/>
                    <a:gd name="connsiteX24" fmla="*/ 333375 w 1295400"/>
                    <a:gd name="connsiteY24" fmla="*/ 1204913 h 2352675"/>
                    <a:gd name="connsiteX25" fmla="*/ 347663 w 1295400"/>
                    <a:gd name="connsiteY25" fmla="*/ 1262063 h 2352675"/>
                    <a:gd name="connsiteX26" fmla="*/ 338138 w 1295400"/>
                    <a:gd name="connsiteY26" fmla="*/ 1343025 h 2352675"/>
                    <a:gd name="connsiteX27" fmla="*/ 300038 w 1295400"/>
                    <a:gd name="connsiteY27" fmla="*/ 1414463 h 2352675"/>
                    <a:gd name="connsiteX28" fmla="*/ 276225 w 1295400"/>
                    <a:gd name="connsiteY28" fmla="*/ 1423988 h 2352675"/>
                    <a:gd name="connsiteX29" fmla="*/ 238125 w 1295400"/>
                    <a:gd name="connsiteY29" fmla="*/ 1462088 h 2352675"/>
                    <a:gd name="connsiteX30" fmla="*/ 200025 w 1295400"/>
                    <a:gd name="connsiteY30" fmla="*/ 1504950 h 2352675"/>
                    <a:gd name="connsiteX31" fmla="*/ 176213 w 1295400"/>
                    <a:gd name="connsiteY31" fmla="*/ 1595438 h 2352675"/>
                    <a:gd name="connsiteX32" fmla="*/ 142875 w 1295400"/>
                    <a:gd name="connsiteY32" fmla="*/ 1614488 h 2352675"/>
                    <a:gd name="connsiteX33" fmla="*/ 100013 w 1295400"/>
                    <a:gd name="connsiteY33" fmla="*/ 1638300 h 2352675"/>
                    <a:gd name="connsiteX34" fmla="*/ 57150 w 1295400"/>
                    <a:gd name="connsiteY34" fmla="*/ 1700213 h 2352675"/>
                    <a:gd name="connsiteX35" fmla="*/ 4763 w 1295400"/>
                    <a:gd name="connsiteY35" fmla="*/ 1790700 h 2352675"/>
                    <a:gd name="connsiteX36" fmla="*/ 0 w 1295400"/>
                    <a:gd name="connsiteY36" fmla="*/ 1866900 h 2352675"/>
                    <a:gd name="connsiteX37" fmla="*/ 42863 w 1295400"/>
                    <a:gd name="connsiteY37" fmla="*/ 1957388 h 2352675"/>
                    <a:gd name="connsiteX38" fmla="*/ 9525 w 1295400"/>
                    <a:gd name="connsiteY38" fmla="*/ 2157413 h 2352675"/>
                    <a:gd name="connsiteX39" fmla="*/ 204788 w 1295400"/>
                    <a:gd name="connsiteY39" fmla="*/ 2319338 h 2352675"/>
                    <a:gd name="connsiteX40" fmla="*/ 433388 w 1295400"/>
                    <a:gd name="connsiteY40" fmla="*/ 2352675 h 2352675"/>
                    <a:gd name="connsiteX41" fmla="*/ 885825 w 1295400"/>
                    <a:gd name="connsiteY41" fmla="*/ 2243138 h 2352675"/>
                    <a:gd name="connsiteX42" fmla="*/ 1214438 w 1295400"/>
                    <a:gd name="connsiteY42" fmla="*/ 1862138 h 2352675"/>
                    <a:gd name="connsiteX43" fmla="*/ 1271588 w 1295400"/>
                    <a:gd name="connsiteY43" fmla="*/ 1500188 h 2352675"/>
                    <a:gd name="connsiteX44" fmla="*/ 1295400 w 1295400"/>
                    <a:gd name="connsiteY44" fmla="*/ 1204913 h 2352675"/>
                    <a:gd name="connsiteX45" fmla="*/ 1152525 w 1295400"/>
                    <a:gd name="connsiteY45" fmla="*/ 881063 h 2352675"/>
                    <a:gd name="connsiteX46" fmla="*/ 1262063 w 1295400"/>
                    <a:gd name="connsiteY46" fmla="*/ 723900 h 2352675"/>
                    <a:gd name="connsiteX47" fmla="*/ 1271588 w 1295400"/>
                    <a:gd name="connsiteY47" fmla="*/ 623888 h 2352675"/>
                    <a:gd name="connsiteX48" fmla="*/ 1157288 w 1295400"/>
                    <a:gd name="connsiteY48" fmla="*/ 504825 h 2352675"/>
                    <a:gd name="connsiteX49" fmla="*/ 1076325 w 1295400"/>
                    <a:gd name="connsiteY49" fmla="*/ 381000 h 2352675"/>
                    <a:gd name="connsiteX50" fmla="*/ 1104900 w 1295400"/>
                    <a:gd name="connsiteY50" fmla="*/ 209550 h 2352675"/>
                    <a:gd name="connsiteX51" fmla="*/ 1019175 w 1295400"/>
                    <a:gd name="connsiteY51" fmla="*/ 95250 h 2352675"/>
                    <a:gd name="connsiteX52" fmla="*/ 1000125 w 1295400"/>
                    <a:gd name="connsiteY52" fmla="*/ 23813 h 2352675"/>
                    <a:gd name="connsiteX53" fmla="*/ 876300 w 1295400"/>
                    <a:gd name="connsiteY53" fmla="*/ 4763 h 2352675"/>
                    <a:gd name="connsiteX54" fmla="*/ 804863 w 1295400"/>
                    <a:gd name="connsiteY54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35794 w 1295400"/>
                    <a:gd name="connsiteY3" fmla="*/ 83343 h 2352675"/>
                    <a:gd name="connsiteX4" fmla="*/ 597694 w 1295400"/>
                    <a:gd name="connsiteY4" fmla="*/ 123825 h 2352675"/>
                    <a:gd name="connsiteX5" fmla="*/ 500063 w 1295400"/>
                    <a:gd name="connsiteY5" fmla="*/ 90488 h 2352675"/>
                    <a:gd name="connsiteX6" fmla="*/ 531019 w 1295400"/>
                    <a:gd name="connsiteY6" fmla="*/ 142876 h 2352675"/>
                    <a:gd name="connsiteX7" fmla="*/ 528638 w 1295400"/>
                    <a:gd name="connsiteY7" fmla="*/ 195262 h 2352675"/>
                    <a:gd name="connsiteX8" fmla="*/ 483394 w 1295400"/>
                    <a:gd name="connsiteY8" fmla="*/ 197644 h 2352675"/>
                    <a:gd name="connsiteX9" fmla="*/ 361950 w 1295400"/>
                    <a:gd name="connsiteY9" fmla="*/ 223838 h 2352675"/>
                    <a:gd name="connsiteX10" fmla="*/ 280988 w 1295400"/>
                    <a:gd name="connsiteY10" fmla="*/ 295275 h 2352675"/>
                    <a:gd name="connsiteX11" fmla="*/ 266700 w 1295400"/>
                    <a:gd name="connsiteY11" fmla="*/ 385763 h 2352675"/>
                    <a:gd name="connsiteX12" fmla="*/ 233363 w 1295400"/>
                    <a:gd name="connsiteY12" fmla="*/ 461963 h 2352675"/>
                    <a:gd name="connsiteX13" fmla="*/ 233363 w 1295400"/>
                    <a:gd name="connsiteY13" fmla="*/ 533400 h 2352675"/>
                    <a:gd name="connsiteX14" fmla="*/ 214313 w 1295400"/>
                    <a:gd name="connsiteY14" fmla="*/ 628650 h 2352675"/>
                    <a:gd name="connsiteX15" fmla="*/ 195263 w 1295400"/>
                    <a:gd name="connsiteY15" fmla="*/ 719138 h 2352675"/>
                    <a:gd name="connsiteX16" fmla="*/ 214313 w 1295400"/>
                    <a:gd name="connsiteY16" fmla="*/ 833438 h 2352675"/>
                    <a:gd name="connsiteX17" fmla="*/ 257175 w 1295400"/>
                    <a:gd name="connsiteY17" fmla="*/ 885825 h 2352675"/>
                    <a:gd name="connsiteX18" fmla="*/ 285750 w 1295400"/>
                    <a:gd name="connsiteY18" fmla="*/ 914400 h 2352675"/>
                    <a:gd name="connsiteX19" fmla="*/ 304800 w 1295400"/>
                    <a:gd name="connsiteY19" fmla="*/ 933450 h 2352675"/>
                    <a:gd name="connsiteX20" fmla="*/ 352425 w 1295400"/>
                    <a:gd name="connsiteY20" fmla="*/ 966788 h 2352675"/>
                    <a:gd name="connsiteX21" fmla="*/ 400050 w 1295400"/>
                    <a:gd name="connsiteY21" fmla="*/ 1000125 h 2352675"/>
                    <a:gd name="connsiteX22" fmla="*/ 390525 w 1295400"/>
                    <a:gd name="connsiteY22" fmla="*/ 1038225 h 2352675"/>
                    <a:gd name="connsiteX23" fmla="*/ 309563 w 1295400"/>
                    <a:gd name="connsiteY23" fmla="*/ 1076325 h 2352675"/>
                    <a:gd name="connsiteX24" fmla="*/ 309563 w 1295400"/>
                    <a:gd name="connsiteY24" fmla="*/ 1157288 h 2352675"/>
                    <a:gd name="connsiteX25" fmla="*/ 333375 w 1295400"/>
                    <a:gd name="connsiteY25" fmla="*/ 1204913 h 2352675"/>
                    <a:gd name="connsiteX26" fmla="*/ 347663 w 1295400"/>
                    <a:gd name="connsiteY26" fmla="*/ 1262063 h 2352675"/>
                    <a:gd name="connsiteX27" fmla="*/ 338138 w 1295400"/>
                    <a:gd name="connsiteY27" fmla="*/ 1343025 h 2352675"/>
                    <a:gd name="connsiteX28" fmla="*/ 300038 w 1295400"/>
                    <a:gd name="connsiteY28" fmla="*/ 1414463 h 2352675"/>
                    <a:gd name="connsiteX29" fmla="*/ 276225 w 1295400"/>
                    <a:gd name="connsiteY29" fmla="*/ 1423988 h 2352675"/>
                    <a:gd name="connsiteX30" fmla="*/ 238125 w 1295400"/>
                    <a:gd name="connsiteY30" fmla="*/ 1462088 h 2352675"/>
                    <a:gd name="connsiteX31" fmla="*/ 200025 w 1295400"/>
                    <a:gd name="connsiteY31" fmla="*/ 1504950 h 2352675"/>
                    <a:gd name="connsiteX32" fmla="*/ 176213 w 1295400"/>
                    <a:gd name="connsiteY32" fmla="*/ 1595438 h 2352675"/>
                    <a:gd name="connsiteX33" fmla="*/ 142875 w 1295400"/>
                    <a:gd name="connsiteY33" fmla="*/ 1614488 h 2352675"/>
                    <a:gd name="connsiteX34" fmla="*/ 100013 w 1295400"/>
                    <a:gd name="connsiteY34" fmla="*/ 1638300 h 2352675"/>
                    <a:gd name="connsiteX35" fmla="*/ 57150 w 1295400"/>
                    <a:gd name="connsiteY35" fmla="*/ 1700213 h 2352675"/>
                    <a:gd name="connsiteX36" fmla="*/ 4763 w 1295400"/>
                    <a:gd name="connsiteY36" fmla="*/ 1790700 h 2352675"/>
                    <a:gd name="connsiteX37" fmla="*/ 0 w 1295400"/>
                    <a:gd name="connsiteY37" fmla="*/ 1866900 h 2352675"/>
                    <a:gd name="connsiteX38" fmla="*/ 42863 w 1295400"/>
                    <a:gd name="connsiteY38" fmla="*/ 1957388 h 2352675"/>
                    <a:gd name="connsiteX39" fmla="*/ 9525 w 1295400"/>
                    <a:gd name="connsiteY39" fmla="*/ 2157413 h 2352675"/>
                    <a:gd name="connsiteX40" fmla="*/ 204788 w 1295400"/>
                    <a:gd name="connsiteY40" fmla="*/ 2319338 h 2352675"/>
                    <a:gd name="connsiteX41" fmla="*/ 433388 w 1295400"/>
                    <a:gd name="connsiteY41" fmla="*/ 2352675 h 2352675"/>
                    <a:gd name="connsiteX42" fmla="*/ 885825 w 1295400"/>
                    <a:gd name="connsiteY42" fmla="*/ 2243138 h 2352675"/>
                    <a:gd name="connsiteX43" fmla="*/ 1214438 w 1295400"/>
                    <a:gd name="connsiteY43" fmla="*/ 1862138 h 2352675"/>
                    <a:gd name="connsiteX44" fmla="*/ 1271588 w 1295400"/>
                    <a:gd name="connsiteY44" fmla="*/ 1500188 h 2352675"/>
                    <a:gd name="connsiteX45" fmla="*/ 1295400 w 1295400"/>
                    <a:gd name="connsiteY45" fmla="*/ 1204913 h 2352675"/>
                    <a:gd name="connsiteX46" fmla="*/ 1152525 w 1295400"/>
                    <a:gd name="connsiteY46" fmla="*/ 881063 h 2352675"/>
                    <a:gd name="connsiteX47" fmla="*/ 1262063 w 1295400"/>
                    <a:gd name="connsiteY47" fmla="*/ 723900 h 2352675"/>
                    <a:gd name="connsiteX48" fmla="*/ 1271588 w 1295400"/>
                    <a:gd name="connsiteY48" fmla="*/ 623888 h 2352675"/>
                    <a:gd name="connsiteX49" fmla="*/ 1157288 w 1295400"/>
                    <a:gd name="connsiteY49" fmla="*/ 504825 h 2352675"/>
                    <a:gd name="connsiteX50" fmla="*/ 1076325 w 1295400"/>
                    <a:gd name="connsiteY50" fmla="*/ 381000 h 2352675"/>
                    <a:gd name="connsiteX51" fmla="*/ 1104900 w 1295400"/>
                    <a:gd name="connsiteY51" fmla="*/ 209550 h 2352675"/>
                    <a:gd name="connsiteX52" fmla="*/ 1019175 w 1295400"/>
                    <a:gd name="connsiteY52" fmla="*/ 95250 h 2352675"/>
                    <a:gd name="connsiteX53" fmla="*/ 1000125 w 1295400"/>
                    <a:gd name="connsiteY53" fmla="*/ 23813 h 2352675"/>
                    <a:gd name="connsiteX54" fmla="*/ 876300 w 1295400"/>
                    <a:gd name="connsiteY54" fmla="*/ 4763 h 2352675"/>
                    <a:gd name="connsiteX55" fmla="*/ 804863 w 1295400"/>
                    <a:gd name="connsiteY55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35794 w 1295400"/>
                    <a:gd name="connsiteY3" fmla="*/ 83343 h 2352675"/>
                    <a:gd name="connsiteX4" fmla="*/ 597694 w 1295400"/>
                    <a:gd name="connsiteY4" fmla="*/ 123825 h 2352675"/>
                    <a:gd name="connsiteX5" fmla="*/ 500063 w 1295400"/>
                    <a:gd name="connsiteY5" fmla="*/ 90488 h 2352675"/>
                    <a:gd name="connsiteX6" fmla="*/ 531019 w 1295400"/>
                    <a:gd name="connsiteY6" fmla="*/ 142876 h 2352675"/>
                    <a:gd name="connsiteX7" fmla="*/ 526257 w 1295400"/>
                    <a:gd name="connsiteY7" fmla="*/ 204787 h 2352675"/>
                    <a:gd name="connsiteX8" fmla="*/ 483394 w 1295400"/>
                    <a:gd name="connsiteY8" fmla="*/ 197644 h 2352675"/>
                    <a:gd name="connsiteX9" fmla="*/ 361950 w 1295400"/>
                    <a:gd name="connsiteY9" fmla="*/ 223838 h 2352675"/>
                    <a:gd name="connsiteX10" fmla="*/ 280988 w 1295400"/>
                    <a:gd name="connsiteY10" fmla="*/ 295275 h 2352675"/>
                    <a:gd name="connsiteX11" fmla="*/ 266700 w 1295400"/>
                    <a:gd name="connsiteY11" fmla="*/ 385763 h 2352675"/>
                    <a:gd name="connsiteX12" fmla="*/ 233363 w 1295400"/>
                    <a:gd name="connsiteY12" fmla="*/ 461963 h 2352675"/>
                    <a:gd name="connsiteX13" fmla="*/ 233363 w 1295400"/>
                    <a:gd name="connsiteY13" fmla="*/ 533400 h 2352675"/>
                    <a:gd name="connsiteX14" fmla="*/ 214313 w 1295400"/>
                    <a:gd name="connsiteY14" fmla="*/ 628650 h 2352675"/>
                    <a:gd name="connsiteX15" fmla="*/ 195263 w 1295400"/>
                    <a:gd name="connsiteY15" fmla="*/ 719138 h 2352675"/>
                    <a:gd name="connsiteX16" fmla="*/ 214313 w 1295400"/>
                    <a:gd name="connsiteY16" fmla="*/ 833438 h 2352675"/>
                    <a:gd name="connsiteX17" fmla="*/ 257175 w 1295400"/>
                    <a:gd name="connsiteY17" fmla="*/ 885825 h 2352675"/>
                    <a:gd name="connsiteX18" fmla="*/ 285750 w 1295400"/>
                    <a:gd name="connsiteY18" fmla="*/ 914400 h 2352675"/>
                    <a:gd name="connsiteX19" fmla="*/ 304800 w 1295400"/>
                    <a:gd name="connsiteY19" fmla="*/ 933450 h 2352675"/>
                    <a:gd name="connsiteX20" fmla="*/ 352425 w 1295400"/>
                    <a:gd name="connsiteY20" fmla="*/ 966788 h 2352675"/>
                    <a:gd name="connsiteX21" fmla="*/ 400050 w 1295400"/>
                    <a:gd name="connsiteY21" fmla="*/ 1000125 h 2352675"/>
                    <a:gd name="connsiteX22" fmla="*/ 390525 w 1295400"/>
                    <a:gd name="connsiteY22" fmla="*/ 1038225 h 2352675"/>
                    <a:gd name="connsiteX23" fmla="*/ 309563 w 1295400"/>
                    <a:gd name="connsiteY23" fmla="*/ 1076325 h 2352675"/>
                    <a:gd name="connsiteX24" fmla="*/ 309563 w 1295400"/>
                    <a:gd name="connsiteY24" fmla="*/ 1157288 h 2352675"/>
                    <a:gd name="connsiteX25" fmla="*/ 333375 w 1295400"/>
                    <a:gd name="connsiteY25" fmla="*/ 1204913 h 2352675"/>
                    <a:gd name="connsiteX26" fmla="*/ 347663 w 1295400"/>
                    <a:gd name="connsiteY26" fmla="*/ 1262063 h 2352675"/>
                    <a:gd name="connsiteX27" fmla="*/ 338138 w 1295400"/>
                    <a:gd name="connsiteY27" fmla="*/ 1343025 h 2352675"/>
                    <a:gd name="connsiteX28" fmla="*/ 300038 w 1295400"/>
                    <a:gd name="connsiteY28" fmla="*/ 1414463 h 2352675"/>
                    <a:gd name="connsiteX29" fmla="*/ 276225 w 1295400"/>
                    <a:gd name="connsiteY29" fmla="*/ 1423988 h 2352675"/>
                    <a:gd name="connsiteX30" fmla="*/ 238125 w 1295400"/>
                    <a:gd name="connsiteY30" fmla="*/ 1462088 h 2352675"/>
                    <a:gd name="connsiteX31" fmla="*/ 200025 w 1295400"/>
                    <a:gd name="connsiteY31" fmla="*/ 1504950 h 2352675"/>
                    <a:gd name="connsiteX32" fmla="*/ 176213 w 1295400"/>
                    <a:gd name="connsiteY32" fmla="*/ 1595438 h 2352675"/>
                    <a:gd name="connsiteX33" fmla="*/ 142875 w 1295400"/>
                    <a:gd name="connsiteY33" fmla="*/ 1614488 h 2352675"/>
                    <a:gd name="connsiteX34" fmla="*/ 100013 w 1295400"/>
                    <a:gd name="connsiteY34" fmla="*/ 1638300 h 2352675"/>
                    <a:gd name="connsiteX35" fmla="*/ 57150 w 1295400"/>
                    <a:gd name="connsiteY35" fmla="*/ 1700213 h 2352675"/>
                    <a:gd name="connsiteX36" fmla="*/ 4763 w 1295400"/>
                    <a:gd name="connsiteY36" fmla="*/ 1790700 h 2352675"/>
                    <a:gd name="connsiteX37" fmla="*/ 0 w 1295400"/>
                    <a:gd name="connsiteY37" fmla="*/ 1866900 h 2352675"/>
                    <a:gd name="connsiteX38" fmla="*/ 42863 w 1295400"/>
                    <a:gd name="connsiteY38" fmla="*/ 1957388 h 2352675"/>
                    <a:gd name="connsiteX39" fmla="*/ 9525 w 1295400"/>
                    <a:gd name="connsiteY39" fmla="*/ 2157413 h 2352675"/>
                    <a:gd name="connsiteX40" fmla="*/ 204788 w 1295400"/>
                    <a:gd name="connsiteY40" fmla="*/ 2319338 h 2352675"/>
                    <a:gd name="connsiteX41" fmla="*/ 433388 w 1295400"/>
                    <a:gd name="connsiteY41" fmla="*/ 2352675 h 2352675"/>
                    <a:gd name="connsiteX42" fmla="*/ 885825 w 1295400"/>
                    <a:gd name="connsiteY42" fmla="*/ 2243138 h 2352675"/>
                    <a:gd name="connsiteX43" fmla="*/ 1214438 w 1295400"/>
                    <a:gd name="connsiteY43" fmla="*/ 1862138 h 2352675"/>
                    <a:gd name="connsiteX44" fmla="*/ 1271588 w 1295400"/>
                    <a:gd name="connsiteY44" fmla="*/ 1500188 h 2352675"/>
                    <a:gd name="connsiteX45" fmla="*/ 1295400 w 1295400"/>
                    <a:gd name="connsiteY45" fmla="*/ 1204913 h 2352675"/>
                    <a:gd name="connsiteX46" fmla="*/ 1152525 w 1295400"/>
                    <a:gd name="connsiteY46" fmla="*/ 881063 h 2352675"/>
                    <a:gd name="connsiteX47" fmla="*/ 1262063 w 1295400"/>
                    <a:gd name="connsiteY47" fmla="*/ 723900 h 2352675"/>
                    <a:gd name="connsiteX48" fmla="*/ 1271588 w 1295400"/>
                    <a:gd name="connsiteY48" fmla="*/ 623888 h 2352675"/>
                    <a:gd name="connsiteX49" fmla="*/ 1157288 w 1295400"/>
                    <a:gd name="connsiteY49" fmla="*/ 504825 h 2352675"/>
                    <a:gd name="connsiteX50" fmla="*/ 1076325 w 1295400"/>
                    <a:gd name="connsiteY50" fmla="*/ 381000 h 2352675"/>
                    <a:gd name="connsiteX51" fmla="*/ 1104900 w 1295400"/>
                    <a:gd name="connsiteY51" fmla="*/ 209550 h 2352675"/>
                    <a:gd name="connsiteX52" fmla="*/ 1019175 w 1295400"/>
                    <a:gd name="connsiteY52" fmla="*/ 95250 h 2352675"/>
                    <a:gd name="connsiteX53" fmla="*/ 1000125 w 1295400"/>
                    <a:gd name="connsiteY53" fmla="*/ 23813 h 2352675"/>
                    <a:gd name="connsiteX54" fmla="*/ 876300 w 1295400"/>
                    <a:gd name="connsiteY54" fmla="*/ 4763 h 2352675"/>
                    <a:gd name="connsiteX55" fmla="*/ 804863 w 1295400"/>
                    <a:gd name="connsiteY55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35794 w 1295400"/>
                    <a:gd name="connsiteY3" fmla="*/ 83343 h 2352675"/>
                    <a:gd name="connsiteX4" fmla="*/ 597694 w 1295400"/>
                    <a:gd name="connsiteY4" fmla="*/ 123825 h 2352675"/>
                    <a:gd name="connsiteX5" fmla="*/ 557213 w 1295400"/>
                    <a:gd name="connsiteY5" fmla="*/ 121444 h 2352675"/>
                    <a:gd name="connsiteX6" fmla="*/ 531019 w 1295400"/>
                    <a:gd name="connsiteY6" fmla="*/ 142876 h 2352675"/>
                    <a:gd name="connsiteX7" fmla="*/ 526257 w 1295400"/>
                    <a:gd name="connsiteY7" fmla="*/ 204787 h 2352675"/>
                    <a:gd name="connsiteX8" fmla="*/ 483394 w 1295400"/>
                    <a:gd name="connsiteY8" fmla="*/ 197644 h 2352675"/>
                    <a:gd name="connsiteX9" fmla="*/ 361950 w 1295400"/>
                    <a:gd name="connsiteY9" fmla="*/ 223838 h 2352675"/>
                    <a:gd name="connsiteX10" fmla="*/ 280988 w 1295400"/>
                    <a:gd name="connsiteY10" fmla="*/ 295275 h 2352675"/>
                    <a:gd name="connsiteX11" fmla="*/ 266700 w 1295400"/>
                    <a:gd name="connsiteY11" fmla="*/ 385763 h 2352675"/>
                    <a:gd name="connsiteX12" fmla="*/ 233363 w 1295400"/>
                    <a:gd name="connsiteY12" fmla="*/ 461963 h 2352675"/>
                    <a:gd name="connsiteX13" fmla="*/ 233363 w 1295400"/>
                    <a:gd name="connsiteY13" fmla="*/ 533400 h 2352675"/>
                    <a:gd name="connsiteX14" fmla="*/ 214313 w 1295400"/>
                    <a:gd name="connsiteY14" fmla="*/ 628650 h 2352675"/>
                    <a:gd name="connsiteX15" fmla="*/ 195263 w 1295400"/>
                    <a:gd name="connsiteY15" fmla="*/ 719138 h 2352675"/>
                    <a:gd name="connsiteX16" fmla="*/ 214313 w 1295400"/>
                    <a:gd name="connsiteY16" fmla="*/ 833438 h 2352675"/>
                    <a:gd name="connsiteX17" fmla="*/ 257175 w 1295400"/>
                    <a:gd name="connsiteY17" fmla="*/ 885825 h 2352675"/>
                    <a:gd name="connsiteX18" fmla="*/ 285750 w 1295400"/>
                    <a:gd name="connsiteY18" fmla="*/ 914400 h 2352675"/>
                    <a:gd name="connsiteX19" fmla="*/ 304800 w 1295400"/>
                    <a:gd name="connsiteY19" fmla="*/ 933450 h 2352675"/>
                    <a:gd name="connsiteX20" fmla="*/ 352425 w 1295400"/>
                    <a:gd name="connsiteY20" fmla="*/ 966788 h 2352675"/>
                    <a:gd name="connsiteX21" fmla="*/ 400050 w 1295400"/>
                    <a:gd name="connsiteY21" fmla="*/ 1000125 h 2352675"/>
                    <a:gd name="connsiteX22" fmla="*/ 390525 w 1295400"/>
                    <a:gd name="connsiteY22" fmla="*/ 1038225 h 2352675"/>
                    <a:gd name="connsiteX23" fmla="*/ 309563 w 1295400"/>
                    <a:gd name="connsiteY23" fmla="*/ 1076325 h 2352675"/>
                    <a:gd name="connsiteX24" fmla="*/ 309563 w 1295400"/>
                    <a:gd name="connsiteY24" fmla="*/ 1157288 h 2352675"/>
                    <a:gd name="connsiteX25" fmla="*/ 333375 w 1295400"/>
                    <a:gd name="connsiteY25" fmla="*/ 1204913 h 2352675"/>
                    <a:gd name="connsiteX26" fmla="*/ 347663 w 1295400"/>
                    <a:gd name="connsiteY26" fmla="*/ 1262063 h 2352675"/>
                    <a:gd name="connsiteX27" fmla="*/ 338138 w 1295400"/>
                    <a:gd name="connsiteY27" fmla="*/ 1343025 h 2352675"/>
                    <a:gd name="connsiteX28" fmla="*/ 300038 w 1295400"/>
                    <a:gd name="connsiteY28" fmla="*/ 1414463 h 2352675"/>
                    <a:gd name="connsiteX29" fmla="*/ 276225 w 1295400"/>
                    <a:gd name="connsiteY29" fmla="*/ 1423988 h 2352675"/>
                    <a:gd name="connsiteX30" fmla="*/ 238125 w 1295400"/>
                    <a:gd name="connsiteY30" fmla="*/ 1462088 h 2352675"/>
                    <a:gd name="connsiteX31" fmla="*/ 200025 w 1295400"/>
                    <a:gd name="connsiteY31" fmla="*/ 1504950 h 2352675"/>
                    <a:gd name="connsiteX32" fmla="*/ 176213 w 1295400"/>
                    <a:gd name="connsiteY32" fmla="*/ 1595438 h 2352675"/>
                    <a:gd name="connsiteX33" fmla="*/ 142875 w 1295400"/>
                    <a:gd name="connsiteY33" fmla="*/ 1614488 h 2352675"/>
                    <a:gd name="connsiteX34" fmla="*/ 100013 w 1295400"/>
                    <a:gd name="connsiteY34" fmla="*/ 1638300 h 2352675"/>
                    <a:gd name="connsiteX35" fmla="*/ 57150 w 1295400"/>
                    <a:gd name="connsiteY35" fmla="*/ 1700213 h 2352675"/>
                    <a:gd name="connsiteX36" fmla="*/ 4763 w 1295400"/>
                    <a:gd name="connsiteY36" fmla="*/ 1790700 h 2352675"/>
                    <a:gd name="connsiteX37" fmla="*/ 0 w 1295400"/>
                    <a:gd name="connsiteY37" fmla="*/ 1866900 h 2352675"/>
                    <a:gd name="connsiteX38" fmla="*/ 42863 w 1295400"/>
                    <a:gd name="connsiteY38" fmla="*/ 1957388 h 2352675"/>
                    <a:gd name="connsiteX39" fmla="*/ 9525 w 1295400"/>
                    <a:gd name="connsiteY39" fmla="*/ 2157413 h 2352675"/>
                    <a:gd name="connsiteX40" fmla="*/ 204788 w 1295400"/>
                    <a:gd name="connsiteY40" fmla="*/ 2319338 h 2352675"/>
                    <a:gd name="connsiteX41" fmla="*/ 433388 w 1295400"/>
                    <a:gd name="connsiteY41" fmla="*/ 2352675 h 2352675"/>
                    <a:gd name="connsiteX42" fmla="*/ 885825 w 1295400"/>
                    <a:gd name="connsiteY42" fmla="*/ 2243138 h 2352675"/>
                    <a:gd name="connsiteX43" fmla="*/ 1214438 w 1295400"/>
                    <a:gd name="connsiteY43" fmla="*/ 1862138 h 2352675"/>
                    <a:gd name="connsiteX44" fmla="*/ 1271588 w 1295400"/>
                    <a:gd name="connsiteY44" fmla="*/ 1500188 h 2352675"/>
                    <a:gd name="connsiteX45" fmla="*/ 1295400 w 1295400"/>
                    <a:gd name="connsiteY45" fmla="*/ 1204913 h 2352675"/>
                    <a:gd name="connsiteX46" fmla="*/ 1152525 w 1295400"/>
                    <a:gd name="connsiteY46" fmla="*/ 881063 h 2352675"/>
                    <a:gd name="connsiteX47" fmla="*/ 1262063 w 1295400"/>
                    <a:gd name="connsiteY47" fmla="*/ 723900 h 2352675"/>
                    <a:gd name="connsiteX48" fmla="*/ 1271588 w 1295400"/>
                    <a:gd name="connsiteY48" fmla="*/ 623888 h 2352675"/>
                    <a:gd name="connsiteX49" fmla="*/ 1157288 w 1295400"/>
                    <a:gd name="connsiteY49" fmla="*/ 504825 h 2352675"/>
                    <a:gd name="connsiteX50" fmla="*/ 1076325 w 1295400"/>
                    <a:gd name="connsiteY50" fmla="*/ 381000 h 2352675"/>
                    <a:gd name="connsiteX51" fmla="*/ 1104900 w 1295400"/>
                    <a:gd name="connsiteY51" fmla="*/ 209550 h 2352675"/>
                    <a:gd name="connsiteX52" fmla="*/ 1019175 w 1295400"/>
                    <a:gd name="connsiteY52" fmla="*/ 95250 h 2352675"/>
                    <a:gd name="connsiteX53" fmla="*/ 1000125 w 1295400"/>
                    <a:gd name="connsiteY53" fmla="*/ 23813 h 2352675"/>
                    <a:gd name="connsiteX54" fmla="*/ 876300 w 1295400"/>
                    <a:gd name="connsiteY54" fmla="*/ 4763 h 2352675"/>
                    <a:gd name="connsiteX55" fmla="*/ 804863 w 1295400"/>
                    <a:gd name="connsiteY55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35794 w 1295400"/>
                    <a:gd name="connsiteY3" fmla="*/ 83343 h 2352675"/>
                    <a:gd name="connsiteX4" fmla="*/ 597694 w 1295400"/>
                    <a:gd name="connsiteY4" fmla="*/ 123825 h 2352675"/>
                    <a:gd name="connsiteX5" fmla="*/ 557213 w 1295400"/>
                    <a:gd name="connsiteY5" fmla="*/ 121444 h 2352675"/>
                    <a:gd name="connsiteX6" fmla="*/ 531019 w 1295400"/>
                    <a:gd name="connsiteY6" fmla="*/ 142876 h 2352675"/>
                    <a:gd name="connsiteX7" fmla="*/ 526257 w 1295400"/>
                    <a:gd name="connsiteY7" fmla="*/ 204787 h 2352675"/>
                    <a:gd name="connsiteX8" fmla="*/ 483394 w 1295400"/>
                    <a:gd name="connsiteY8" fmla="*/ 197644 h 2352675"/>
                    <a:gd name="connsiteX9" fmla="*/ 452437 w 1295400"/>
                    <a:gd name="connsiteY9" fmla="*/ 266701 h 2352675"/>
                    <a:gd name="connsiteX10" fmla="*/ 280988 w 1295400"/>
                    <a:gd name="connsiteY10" fmla="*/ 295275 h 2352675"/>
                    <a:gd name="connsiteX11" fmla="*/ 266700 w 1295400"/>
                    <a:gd name="connsiteY11" fmla="*/ 385763 h 2352675"/>
                    <a:gd name="connsiteX12" fmla="*/ 233363 w 1295400"/>
                    <a:gd name="connsiteY12" fmla="*/ 461963 h 2352675"/>
                    <a:gd name="connsiteX13" fmla="*/ 233363 w 1295400"/>
                    <a:gd name="connsiteY13" fmla="*/ 533400 h 2352675"/>
                    <a:gd name="connsiteX14" fmla="*/ 214313 w 1295400"/>
                    <a:gd name="connsiteY14" fmla="*/ 628650 h 2352675"/>
                    <a:gd name="connsiteX15" fmla="*/ 195263 w 1295400"/>
                    <a:gd name="connsiteY15" fmla="*/ 719138 h 2352675"/>
                    <a:gd name="connsiteX16" fmla="*/ 214313 w 1295400"/>
                    <a:gd name="connsiteY16" fmla="*/ 833438 h 2352675"/>
                    <a:gd name="connsiteX17" fmla="*/ 257175 w 1295400"/>
                    <a:gd name="connsiteY17" fmla="*/ 885825 h 2352675"/>
                    <a:gd name="connsiteX18" fmla="*/ 285750 w 1295400"/>
                    <a:gd name="connsiteY18" fmla="*/ 914400 h 2352675"/>
                    <a:gd name="connsiteX19" fmla="*/ 304800 w 1295400"/>
                    <a:gd name="connsiteY19" fmla="*/ 933450 h 2352675"/>
                    <a:gd name="connsiteX20" fmla="*/ 352425 w 1295400"/>
                    <a:gd name="connsiteY20" fmla="*/ 966788 h 2352675"/>
                    <a:gd name="connsiteX21" fmla="*/ 400050 w 1295400"/>
                    <a:gd name="connsiteY21" fmla="*/ 1000125 h 2352675"/>
                    <a:gd name="connsiteX22" fmla="*/ 390525 w 1295400"/>
                    <a:gd name="connsiteY22" fmla="*/ 1038225 h 2352675"/>
                    <a:gd name="connsiteX23" fmla="*/ 309563 w 1295400"/>
                    <a:gd name="connsiteY23" fmla="*/ 1076325 h 2352675"/>
                    <a:gd name="connsiteX24" fmla="*/ 309563 w 1295400"/>
                    <a:gd name="connsiteY24" fmla="*/ 1157288 h 2352675"/>
                    <a:gd name="connsiteX25" fmla="*/ 333375 w 1295400"/>
                    <a:gd name="connsiteY25" fmla="*/ 1204913 h 2352675"/>
                    <a:gd name="connsiteX26" fmla="*/ 347663 w 1295400"/>
                    <a:gd name="connsiteY26" fmla="*/ 1262063 h 2352675"/>
                    <a:gd name="connsiteX27" fmla="*/ 338138 w 1295400"/>
                    <a:gd name="connsiteY27" fmla="*/ 1343025 h 2352675"/>
                    <a:gd name="connsiteX28" fmla="*/ 300038 w 1295400"/>
                    <a:gd name="connsiteY28" fmla="*/ 1414463 h 2352675"/>
                    <a:gd name="connsiteX29" fmla="*/ 276225 w 1295400"/>
                    <a:gd name="connsiteY29" fmla="*/ 1423988 h 2352675"/>
                    <a:gd name="connsiteX30" fmla="*/ 238125 w 1295400"/>
                    <a:gd name="connsiteY30" fmla="*/ 1462088 h 2352675"/>
                    <a:gd name="connsiteX31" fmla="*/ 200025 w 1295400"/>
                    <a:gd name="connsiteY31" fmla="*/ 1504950 h 2352675"/>
                    <a:gd name="connsiteX32" fmla="*/ 176213 w 1295400"/>
                    <a:gd name="connsiteY32" fmla="*/ 1595438 h 2352675"/>
                    <a:gd name="connsiteX33" fmla="*/ 142875 w 1295400"/>
                    <a:gd name="connsiteY33" fmla="*/ 1614488 h 2352675"/>
                    <a:gd name="connsiteX34" fmla="*/ 100013 w 1295400"/>
                    <a:gd name="connsiteY34" fmla="*/ 1638300 h 2352675"/>
                    <a:gd name="connsiteX35" fmla="*/ 57150 w 1295400"/>
                    <a:gd name="connsiteY35" fmla="*/ 1700213 h 2352675"/>
                    <a:gd name="connsiteX36" fmla="*/ 4763 w 1295400"/>
                    <a:gd name="connsiteY36" fmla="*/ 1790700 h 2352675"/>
                    <a:gd name="connsiteX37" fmla="*/ 0 w 1295400"/>
                    <a:gd name="connsiteY37" fmla="*/ 1866900 h 2352675"/>
                    <a:gd name="connsiteX38" fmla="*/ 42863 w 1295400"/>
                    <a:gd name="connsiteY38" fmla="*/ 1957388 h 2352675"/>
                    <a:gd name="connsiteX39" fmla="*/ 9525 w 1295400"/>
                    <a:gd name="connsiteY39" fmla="*/ 2157413 h 2352675"/>
                    <a:gd name="connsiteX40" fmla="*/ 204788 w 1295400"/>
                    <a:gd name="connsiteY40" fmla="*/ 2319338 h 2352675"/>
                    <a:gd name="connsiteX41" fmla="*/ 433388 w 1295400"/>
                    <a:gd name="connsiteY41" fmla="*/ 2352675 h 2352675"/>
                    <a:gd name="connsiteX42" fmla="*/ 885825 w 1295400"/>
                    <a:gd name="connsiteY42" fmla="*/ 2243138 h 2352675"/>
                    <a:gd name="connsiteX43" fmla="*/ 1214438 w 1295400"/>
                    <a:gd name="connsiteY43" fmla="*/ 1862138 h 2352675"/>
                    <a:gd name="connsiteX44" fmla="*/ 1271588 w 1295400"/>
                    <a:gd name="connsiteY44" fmla="*/ 1500188 h 2352675"/>
                    <a:gd name="connsiteX45" fmla="*/ 1295400 w 1295400"/>
                    <a:gd name="connsiteY45" fmla="*/ 1204913 h 2352675"/>
                    <a:gd name="connsiteX46" fmla="*/ 1152525 w 1295400"/>
                    <a:gd name="connsiteY46" fmla="*/ 881063 h 2352675"/>
                    <a:gd name="connsiteX47" fmla="*/ 1262063 w 1295400"/>
                    <a:gd name="connsiteY47" fmla="*/ 723900 h 2352675"/>
                    <a:gd name="connsiteX48" fmla="*/ 1271588 w 1295400"/>
                    <a:gd name="connsiteY48" fmla="*/ 623888 h 2352675"/>
                    <a:gd name="connsiteX49" fmla="*/ 1157288 w 1295400"/>
                    <a:gd name="connsiteY49" fmla="*/ 504825 h 2352675"/>
                    <a:gd name="connsiteX50" fmla="*/ 1076325 w 1295400"/>
                    <a:gd name="connsiteY50" fmla="*/ 381000 h 2352675"/>
                    <a:gd name="connsiteX51" fmla="*/ 1104900 w 1295400"/>
                    <a:gd name="connsiteY51" fmla="*/ 209550 h 2352675"/>
                    <a:gd name="connsiteX52" fmla="*/ 1019175 w 1295400"/>
                    <a:gd name="connsiteY52" fmla="*/ 95250 h 2352675"/>
                    <a:gd name="connsiteX53" fmla="*/ 1000125 w 1295400"/>
                    <a:gd name="connsiteY53" fmla="*/ 23813 h 2352675"/>
                    <a:gd name="connsiteX54" fmla="*/ 876300 w 1295400"/>
                    <a:gd name="connsiteY54" fmla="*/ 4763 h 2352675"/>
                    <a:gd name="connsiteX55" fmla="*/ 804863 w 1295400"/>
                    <a:gd name="connsiteY55" fmla="*/ 0 h 2352675"/>
                    <a:gd name="connsiteX0" fmla="*/ 804863 w 1295400"/>
                    <a:gd name="connsiteY0" fmla="*/ 0 h 2352675"/>
                    <a:gd name="connsiteX1" fmla="*/ 766763 w 1295400"/>
                    <a:gd name="connsiteY1" fmla="*/ 47625 h 2352675"/>
                    <a:gd name="connsiteX2" fmla="*/ 688181 w 1295400"/>
                    <a:gd name="connsiteY2" fmla="*/ 71438 h 2352675"/>
                    <a:gd name="connsiteX3" fmla="*/ 635794 w 1295400"/>
                    <a:gd name="connsiteY3" fmla="*/ 83343 h 2352675"/>
                    <a:gd name="connsiteX4" fmla="*/ 597694 w 1295400"/>
                    <a:gd name="connsiteY4" fmla="*/ 123825 h 2352675"/>
                    <a:gd name="connsiteX5" fmla="*/ 557213 w 1295400"/>
                    <a:gd name="connsiteY5" fmla="*/ 121444 h 2352675"/>
                    <a:gd name="connsiteX6" fmla="*/ 531019 w 1295400"/>
                    <a:gd name="connsiteY6" fmla="*/ 142876 h 2352675"/>
                    <a:gd name="connsiteX7" fmla="*/ 526257 w 1295400"/>
                    <a:gd name="connsiteY7" fmla="*/ 204787 h 2352675"/>
                    <a:gd name="connsiteX8" fmla="*/ 483394 w 1295400"/>
                    <a:gd name="connsiteY8" fmla="*/ 197644 h 2352675"/>
                    <a:gd name="connsiteX9" fmla="*/ 452437 w 1295400"/>
                    <a:gd name="connsiteY9" fmla="*/ 266701 h 2352675"/>
                    <a:gd name="connsiteX10" fmla="*/ 400051 w 1295400"/>
                    <a:gd name="connsiteY10" fmla="*/ 359569 h 2352675"/>
                    <a:gd name="connsiteX11" fmla="*/ 266700 w 1295400"/>
                    <a:gd name="connsiteY11" fmla="*/ 385763 h 2352675"/>
                    <a:gd name="connsiteX12" fmla="*/ 233363 w 1295400"/>
                    <a:gd name="connsiteY12" fmla="*/ 461963 h 2352675"/>
                    <a:gd name="connsiteX13" fmla="*/ 233363 w 1295400"/>
                    <a:gd name="connsiteY13" fmla="*/ 533400 h 2352675"/>
                    <a:gd name="connsiteX14" fmla="*/ 214313 w 1295400"/>
                    <a:gd name="connsiteY14" fmla="*/ 628650 h 2352675"/>
                    <a:gd name="connsiteX15" fmla="*/ 195263 w 1295400"/>
                    <a:gd name="connsiteY15" fmla="*/ 719138 h 2352675"/>
                    <a:gd name="connsiteX16" fmla="*/ 214313 w 1295400"/>
                    <a:gd name="connsiteY16" fmla="*/ 833438 h 2352675"/>
                    <a:gd name="connsiteX17" fmla="*/ 257175 w 1295400"/>
                    <a:gd name="connsiteY17" fmla="*/ 885825 h 2352675"/>
                    <a:gd name="connsiteX18" fmla="*/ 285750 w 1295400"/>
                    <a:gd name="connsiteY18" fmla="*/ 914400 h 2352675"/>
                    <a:gd name="connsiteX19" fmla="*/ 304800 w 1295400"/>
                    <a:gd name="connsiteY19" fmla="*/ 933450 h 2352675"/>
                    <a:gd name="connsiteX20" fmla="*/ 352425 w 1295400"/>
                    <a:gd name="connsiteY20" fmla="*/ 966788 h 2352675"/>
                    <a:gd name="connsiteX21" fmla="*/ 400050 w 1295400"/>
                    <a:gd name="connsiteY21" fmla="*/ 1000125 h 2352675"/>
                    <a:gd name="connsiteX22" fmla="*/ 390525 w 1295400"/>
                    <a:gd name="connsiteY22" fmla="*/ 1038225 h 2352675"/>
                    <a:gd name="connsiteX23" fmla="*/ 309563 w 1295400"/>
                    <a:gd name="connsiteY23" fmla="*/ 1076325 h 2352675"/>
                    <a:gd name="connsiteX24" fmla="*/ 309563 w 1295400"/>
                    <a:gd name="connsiteY24" fmla="*/ 1157288 h 2352675"/>
                    <a:gd name="connsiteX25" fmla="*/ 333375 w 1295400"/>
                    <a:gd name="connsiteY25" fmla="*/ 1204913 h 2352675"/>
                    <a:gd name="connsiteX26" fmla="*/ 347663 w 1295400"/>
                    <a:gd name="connsiteY26" fmla="*/ 1262063 h 2352675"/>
                    <a:gd name="connsiteX27" fmla="*/ 338138 w 1295400"/>
                    <a:gd name="connsiteY27" fmla="*/ 1343025 h 2352675"/>
                    <a:gd name="connsiteX28" fmla="*/ 300038 w 1295400"/>
                    <a:gd name="connsiteY28" fmla="*/ 1414463 h 2352675"/>
                    <a:gd name="connsiteX29" fmla="*/ 276225 w 1295400"/>
                    <a:gd name="connsiteY29" fmla="*/ 1423988 h 2352675"/>
                    <a:gd name="connsiteX30" fmla="*/ 238125 w 1295400"/>
                    <a:gd name="connsiteY30" fmla="*/ 1462088 h 2352675"/>
                    <a:gd name="connsiteX31" fmla="*/ 200025 w 1295400"/>
                    <a:gd name="connsiteY31" fmla="*/ 1504950 h 2352675"/>
                    <a:gd name="connsiteX32" fmla="*/ 176213 w 1295400"/>
                    <a:gd name="connsiteY32" fmla="*/ 1595438 h 2352675"/>
                    <a:gd name="connsiteX33" fmla="*/ 142875 w 1295400"/>
                    <a:gd name="connsiteY33" fmla="*/ 1614488 h 2352675"/>
                    <a:gd name="connsiteX34" fmla="*/ 100013 w 1295400"/>
                    <a:gd name="connsiteY34" fmla="*/ 1638300 h 2352675"/>
                    <a:gd name="connsiteX35" fmla="*/ 57150 w 1295400"/>
                    <a:gd name="connsiteY35" fmla="*/ 1700213 h 2352675"/>
                    <a:gd name="connsiteX36" fmla="*/ 4763 w 1295400"/>
                    <a:gd name="connsiteY36" fmla="*/ 1790700 h 2352675"/>
                    <a:gd name="connsiteX37" fmla="*/ 0 w 1295400"/>
                    <a:gd name="connsiteY37" fmla="*/ 1866900 h 2352675"/>
                    <a:gd name="connsiteX38" fmla="*/ 42863 w 1295400"/>
                    <a:gd name="connsiteY38" fmla="*/ 1957388 h 2352675"/>
                    <a:gd name="connsiteX39" fmla="*/ 9525 w 1295400"/>
                    <a:gd name="connsiteY39" fmla="*/ 2157413 h 2352675"/>
                    <a:gd name="connsiteX40" fmla="*/ 204788 w 1295400"/>
                    <a:gd name="connsiteY40" fmla="*/ 2319338 h 2352675"/>
                    <a:gd name="connsiteX41" fmla="*/ 433388 w 1295400"/>
                    <a:gd name="connsiteY41" fmla="*/ 2352675 h 2352675"/>
                    <a:gd name="connsiteX42" fmla="*/ 885825 w 1295400"/>
                    <a:gd name="connsiteY42" fmla="*/ 2243138 h 2352675"/>
                    <a:gd name="connsiteX43" fmla="*/ 1214438 w 1295400"/>
                    <a:gd name="connsiteY43" fmla="*/ 1862138 h 2352675"/>
                    <a:gd name="connsiteX44" fmla="*/ 1271588 w 1295400"/>
                    <a:gd name="connsiteY44" fmla="*/ 1500188 h 2352675"/>
                    <a:gd name="connsiteX45" fmla="*/ 1295400 w 1295400"/>
                    <a:gd name="connsiteY45" fmla="*/ 1204913 h 2352675"/>
                    <a:gd name="connsiteX46" fmla="*/ 1152525 w 1295400"/>
                    <a:gd name="connsiteY46" fmla="*/ 881063 h 2352675"/>
                    <a:gd name="connsiteX47" fmla="*/ 1262063 w 1295400"/>
                    <a:gd name="connsiteY47" fmla="*/ 723900 h 2352675"/>
                    <a:gd name="connsiteX48" fmla="*/ 1271588 w 1295400"/>
                    <a:gd name="connsiteY48" fmla="*/ 623888 h 2352675"/>
                    <a:gd name="connsiteX49" fmla="*/ 1157288 w 1295400"/>
                    <a:gd name="connsiteY49" fmla="*/ 504825 h 2352675"/>
                    <a:gd name="connsiteX50" fmla="*/ 1076325 w 1295400"/>
                    <a:gd name="connsiteY50" fmla="*/ 381000 h 2352675"/>
                    <a:gd name="connsiteX51" fmla="*/ 1104900 w 1295400"/>
                    <a:gd name="connsiteY51" fmla="*/ 209550 h 2352675"/>
                    <a:gd name="connsiteX52" fmla="*/ 1019175 w 1295400"/>
                    <a:gd name="connsiteY52" fmla="*/ 95250 h 2352675"/>
                    <a:gd name="connsiteX53" fmla="*/ 1000125 w 1295400"/>
                    <a:gd name="connsiteY53" fmla="*/ 23813 h 2352675"/>
                    <a:gd name="connsiteX54" fmla="*/ 876300 w 1295400"/>
                    <a:gd name="connsiteY54" fmla="*/ 4763 h 2352675"/>
                    <a:gd name="connsiteX55" fmla="*/ 804863 w 1295400"/>
                    <a:gd name="connsiteY55" fmla="*/ 0 h 2352675"/>
                    <a:gd name="connsiteX0" fmla="*/ 800100 w 1290637"/>
                    <a:gd name="connsiteY0" fmla="*/ 0 h 2352675"/>
                    <a:gd name="connsiteX1" fmla="*/ 762000 w 1290637"/>
                    <a:gd name="connsiteY1" fmla="*/ 47625 h 2352675"/>
                    <a:gd name="connsiteX2" fmla="*/ 683418 w 1290637"/>
                    <a:gd name="connsiteY2" fmla="*/ 71438 h 2352675"/>
                    <a:gd name="connsiteX3" fmla="*/ 631031 w 1290637"/>
                    <a:gd name="connsiteY3" fmla="*/ 83343 h 2352675"/>
                    <a:gd name="connsiteX4" fmla="*/ 592931 w 1290637"/>
                    <a:gd name="connsiteY4" fmla="*/ 123825 h 2352675"/>
                    <a:gd name="connsiteX5" fmla="*/ 552450 w 1290637"/>
                    <a:gd name="connsiteY5" fmla="*/ 121444 h 2352675"/>
                    <a:gd name="connsiteX6" fmla="*/ 526256 w 1290637"/>
                    <a:gd name="connsiteY6" fmla="*/ 142876 h 2352675"/>
                    <a:gd name="connsiteX7" fmla="*/ 521494 w 1290637"/>
                    <a:gd name="connsiteY7" fmla="*/ 204787 h 2352675"/>
                    <a:gd name="connsiteX8" fmla="*/ 478631 w 1290637"/>
                    <a:gd name="connsiteY8" fmla="*/ 197644 h 2352675"/>
                    <a:gd name="connsiteX9" fmla="*/ 447674 w 1290637"/>
                    <a:gd name="connsiteY9" fmla="*/ 266701 h 2352675"/>
                    <a:gd name="connsiteX10" fmla="*/ 395288 w 1290637"/>
                    <a:gd name="connsiteY10" fmla="*/ 359569 h 2352675"/>
                    <a:gd name="connsiteX11" fmla="*/ 261937 w 1290637"/>
                    <a:gd name="connsiteY11" fmla="*/ 385763 h 2352675"/>
                    <a:gd name="connsiteX12" fmla="*/ 228600 w 1290637"/>
                    <a:gd name="connsiteY12" fmla="*/ 461963 h 2352675"/>
                    <a:gd name="connsiteX13" fmla="*/ 228600 w 1290637"/>
                    <a:gd name="connsiteY13" fmla="*/ 533400 h 2352675"/>
                    <a:gd name="connsiteX14" fmla="*/ 209550 w 1290637"/>
                    <a:gd name="connsiteY14" fmla="*/ 628650 h 2352675"/>
                    <a:gd name="connsiteX15" fmla="*/ 190500 w 1290637"/>
                    <a:gd name="connsiteY15" fmla="*/ 719138 h 2352675"/>
                    <a:gd name="connsiteX16" fmla="*/ 209550 w 1290637"/>
                    <a:gd name="connsiteY16" fmla="*/ 833438 h 2352675"/>
                    <a:gd name="connsiteX17" fmla="*/ 252412 w 1290637"/>
                    <a:gd name="connsiteY17" fmla="*/ 885825 h 2352675"/>
                    <a:gd name="connsiteX18" fmla="*/ 280987 w 1290637"/>
                    <a:gd name="connsiteY18" fmla="*/ 914400 h 2352675"/>
                    <a:gd name="connsiteX19" fmla="*/ 300037 w 1290637"/>
                    <a:gd name="connsiteY19" fmla="*/ 933450 h 2352675"/>
                    <a:gd name="connsiteX20" fmla="*/ 347662 w 1290637"/>
                    <a:gd name="connsiteY20" fmla="*/ 966788 h 2352675"/>
                    <a:gd name="connsiteX21" fmla="*/ 395287 w 1290637"/>
                    <a:gd name="connsiteY21" fmla="*/ 1000125 h 2352675"/>
                    <a:gd name="connsiteX22" fmla="*/ 385762 w 1290637"/>
                    <a:gd name="connsiteY22" fmla="*/ 1038225 h 2352675"/>
                    <a:gd name="connsiteX23" fmla="*/ 304800 w 1290637"/>
                    <a:gd name="connsiteY23" fmla="*/ 1076325 h 2352675"/>
                    <a:gd name="connsiteX24" fmla="*/ 304800 w 1290637"/>
                    <a:gd name="connsiteY24" fmla="*/ 1157288 h 2352675"/>
                    <a:gd name="connsiteX25" fmla="*/ 328612 w 1290637"/>
                    <a:gd name="connsiteY25" fmla="*/ 1204913 h 2352675"/>
                    <a:gd name="connsiteX26" fmla="*/ 342900 w 1290637"/>
                    <a:gd name="connsiteY26" fmla="*/ 1262063 h 2352675"/>
                    <a:gd name="connsiteX27" fmla="*/ 333375 w 1290637"/>
                    <a:gd name="connsiteY27" fmla="*/ 1343025 h 2352675"/>
                    <a:gd name="connsiteX28" fmla="*/ 295275 w 1290637"/>
                    <a:gd name="connsiteY28" fmla="*/ 1414463 h 2352675"/>
                    <a:gd name="connsiteX29" fmla="*/ 271462 w 1290637"/>
                    <a:gd name="connsiteY29" fmla="*/ 1423988 h 2352675"/>
                    <a:gd name="connsiteX30" fmla="*/ 233362 w 1290637"/>
                    <a:gd name="connsiteY30" fmla="*/ 1462088 h 2352675"/>
                    <a:gd name="connsiteX31" fmla="*/ 195262 w 1290637"/>
                    <a:gd name="connsiteY31" fmla="*/ 1504950 h 2352675"/>
                    <a:gd name="connsiteX32" fmla="*/ 171450 w 1290637"/>
                    <a:gd name="connsiteY32" fmla="*/ 1595438 h 2352675"/>
                    <a:gd name="connsiteX33" fmla="*/ 138112 w 1290637"/>
                    <a:gd name="connsiteY33" fmla="*/ 1614488 h 2352675"/>
                    <a:gd name="connsiteX34" fmla="*/ 95250 w 1290637"/>
                    <a:gd name="connsiteY34" fmla="*/ 1638300 h 2352675"/>
                    <a:gd name="connsiteX35" fmla="*/ 52387 w 1290637"/>
                    <a:gd name="connsiteY35" fmla="*/ 1700213 h 2352675"/>
                    <a:gd name="connsiteX36" fmla="*/ 0 w 1290637"/>
                    <a:gd name="connsiteY36" fmla="*/ 1790700 h 2352675"/>
                    <a:gd name="connsiteX37" fmla="*/ 61912 w 1290637"/>
                    <a:gd name="connsiteY37" fmla="*/ 1914525 h 2352675"/>
                    <a:gd name="connsiteX38" fmla="*/ 38100 w 1290637"/>
                    <a:gd name="connsiteY38" fmla="*/ 1957388 h 2352675"/>
                    <a:gd name="connsiteX39" fmla="*/ 4762 w 1290637"/>
                    <a:gd name="connsiteY39" fmla="*/ 2157413 h 2352675"/>
                    <a:gd name="connsiteX40" fmla="*/ 200025 w 1290637"/>
                    <a:gd name="connsiteY40" fmla="*/ 2319338 h 2352675"/>
                    <a:gd name="connsiteX41" fmla="*/ 428625 w 1290637"/>
                    <a:gd name="connsiteY41" fmla="*/ 2352675 h 2352675"/>
                    <a:gd name="connsiteX42" fmla="*/ 881062 w 1290637"/>
                    <a:gd name="connsiteY42" fmla="*/ 2243138 h 2352675"/>
                    <a:gd name="connsiteX43" fmla="*/ 1209675 w 1290637"/>
                    <a:gd name="connsiteY43" fmla="*/ 1862138 h 2352675"/>
                    <a:gd name="connsiteX44" fmla="*/ 1266825 w 1290637"/>
                    <a:gd name="connsiteY44" fmla="*/ 1500188 h 2352675"/>
                    <a:gd name="connsiteX45" fmla="*/ 1290637 w 1290637"/>
                    <a:gd name="connsiteY45" fmla="*/ 1204913 h 2352675"/>
                    <a:gd name="connsiteX46" fmla="*/ 1147762 w 1290637"/>
                    <a:gd name="connsiteY46" fmla="*/ 881063 h 2352675"/>
                    <a:gd name="connsiteX47" fmla="*/ 1257300 w 1290637"/>
                    <a:gd name="connsiteY47" fmla="*/ 723900 h 2352675"/>
                    <a:gd name="connsiteX48" fmla="*/ 1266825 w 1290637"/>
                    <a:gd name="connsiteY48" fmla="*/ 623888 h 2352675"/>
                    <a:gd name="connsiteX49" fmla="*/ 1152525 w 1290637"/>
                    <a:gd name="connsiteY49" fmla="*/ 504825 h 2352675"/>
                    <a:gd name="connsiteX50" fmla="*/ 1071562 w 1290637"/>
                    <a:gd name="connsiteY50" fmla="*/ 381000 h 2352675"/>
                    <a:gd name="connsiteX51" fmla="*/ 1100137 w 1290637"/>
                    <a:gd name="connsiteY51" fmla="*/ 209550 h 2352675"/>
                    <a:gd name="connsiteX52" fmla="*/ 1014412 w 1290637"/>
                    <a:gd name="connsiteY52" fmla="*/ 95250 h 2352675"/>
                    <a:gd name="connsiteX53" fmla="*/ 995362 w 1290637"/>
                    <a:gd name="connsiteY53" fmla="*/ 23813 h 2352675"/>
                    <a:gd name="connsiteX54" fmla="*/ 871537 w 1290637"/>
                    <a:gd name="connsiteY54" fmla="*/ 4763 h 2352675"/>
                    <a:gd name="connsiteX55" fmla="*/ 800100 w 1290637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28613 w 1285875"/>
                    <a:gd name="connsiteY27" fmla="*/ 1343025 h 2352675"/>
                    <a:gd name="connsiteX28" fmla="*/ 290513 w 1285875"/>
                    <a:gd name="connsiteY28" fmla="*/ 1414463 h 2352675"/>
                    <a:gd name="connsiteX29" fmla="*/ 266700 w 1285875"/>
                    <a:gd name="connsiteY29" fmla="*/ 1423988 h 2352675"/>
                    <a:gd name="connsiteX30" fmla="*/ 228600 w 1285875"/>
                    <a:gd name="connsiteY30" fmla="*/ 1462088 h 2352675"/>
                    <a:gd name="connsiteX31" fmla="*/ 190500 w 1285875"/>
                    <a:gd name="connsiteY31" fmla="*/ 1504950 h 2352675"/>
                    <a:gd name="connsiteX32" fmla="*/ 166688 w 1285875"/>
                    <a:gd name="connsiteY32" fmla="*/ 1595438 h 2352675"/>
                    <a:gd name="connsiteX33" fmla="*/ 133350 w 1285875"/>
                    <a:gd name="connsiteY33" fmla="*/ 1614488 h 2352675"/>
                    <a:gd name="connsiteX34" fmla="*/ 90488 w 1285875"/>
                    <a:gd name="connsiteY34" fmla="*/ 1638300 h 2352675"/>
                    <a:gd name="connsiteX35" fmla="*/ 47625 w 1285875"/>
                    <a:gd name="connsiteY35" fmla="*/ 1700213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28613 w 1285875"/>
                    <a:gd name="connsiteY27" fmla="*/ 1343025 h 2352675"/>
                    <a:gd name="connsiteX28" fmla="*/ 290513 w 1285875"/>
                    <a:gd name="connsiteY28" fmla="*/ 1414463 h 2352675"/>
                    <a:gd name="connsiteX29" fmla="*/ 266700 w 1285875"/>
                    <a:gd name="connsiteY29" fmla="*/ 1423988 h 2352675"/>
                    <a:gd name="connsiteX30" fmla="*/ 228600 w 1285875"/>
                    <a:gd name="connsiteY30" fmla="*/ 1462088 h 2352675"/>
                    <a:gd name="connsiteX31" fmla="*/ 190500 w 1285875"/>
                    <a:gd name="connsiteY31" fmla="*/ 1504950 h 2352675"/>
                    <a:gd name="connsiteX32" fmla="*/ 166688 w 1285875"/>
                    <a:gd name="connsiteY32" fmla="*/ 1595438 h 2352675"/>
                    <a:gd name="connsiteX33" fmla="*/ 133350 w 1285875"/>
                    <a:gd name="connsiteY33" fmla="*/ 1614488 h 2352675"/>
                    <a:gd name="connsiteX34" fmla="*/ 90488 w 1285875"/>
                    <a:gd name="connsiteY34" fmla="*/ 1638300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28613 w 1285875"/>
                    <a:gd name="connsiteY27" fmla="*/ 1343025 h 2352675"/>
                    <a:gd name="connsiteX28" fmla="*/ 290513 w 1285875"/>
                    <a:gd name="connsiteY28" fmla="*/ 1414463 h 2352675"/>
                    <a:gd name="connsiteX29" fmla="*/ 266700 w 1285875"/>
                    <a:gd name="connsiteY29" fmla="*/ 1423988 h 2352675"/>
                    <a:gd name="connsiteX30" fmla="*/ 228600 w 1285875"/>
                    <a:gd name="connsiteY30" fmla="*/ 1462088 h 2352675"/>
                    <a:gd name="connsiteX31" fmla="*/ 190500 w 1285875"/>
                    <a:gd name="connsiteY31" fmla="*/ 1504950 h 2352675"/>
                    <a:gd name="connsiteX32" fmla="*/ 166688 w 1285875"/>
                    <a:gd name="connsiteY32" fmla="*/ 1595438 h 2352675"/>
                    <a:gd name="connsiteX33" fmla="*/ 133350 w 1285875"/>
                    <a:gd name="connsiteY33" fmla="*/ 1614488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28613 w 1285875"/>
                    <a:gd name="connsiteY27" fmla="*/ 1343025 h 2352675"/>
                    <a:gd name="connsiteX28" fmla="*/ 290513 w 1285875"/>
                    <a:gd name="connsiteY28" fmla="*/ 1414463 h 2352675"/>
                    <a:gd name="connsiteX29" fmla="*/ 266700 w 1285875"/>
                    <a:gd name="connsiteY29" fmla="*/ 1423988 h 2352675"/>
                    <a:gd name="connsiteX30" fmla="*/ 228600 w 1285875"/>
                    <a:gd name="connsiteY30" fmla="*/ 1462088 h 2352675"/>
                    <a:gd name="connsiteX31" fmla="*/ 190500 w 1285875"/>
                    <a:gd name="connsiteY31" fmla="*/ 1504950 h 2352675"/>
                    <a:gd name="connsiteX32" fmla="*/ 166688 w 1285875"/>
                    <a:gd name="connsiteY32" fmla="*/ 1595438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28613 w 1285875"/>
                    <a:gd name="connsiteY27" fmla="*/ 1343025 h 2352675"/>
                    <a:gd name="connsiteX28" fmla="*/ 290513 w 1285875"/>
                    <a:gd name="connsiteY28" fmla="*/ 1414463 h 2352675"/>
                    <a:gd name="connsiteX29" fmla="*/ 266700 w 1285875"/>
                    <a:gd name="connsiteY29" fmla="*/ 1423988 h 2352675"/>
                    <a:gd name="connsiteX30" fmla="*/ 228600 w 1285875"/>
                    <a:gd name="connsiteY30" fmla="*/ 1462088 h 2352675"/>
                    <a:gd name="connsiteX31" fmla="*/ 190500 w 1285875"/>
                    <a:gd name="connsiteY31" fmla="*/ 1504950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28613 w 1285875"/>
                    <a:gd name="connsiteY27" fmla="*/ 1343025 h 2352675"/>
                    <a:gd name="connsiteX28" fmla="*/ 290513 w 1285875"/>
                    <a:gd name="connsiteY28" fmla="*/ 1414463 h 2352675"/>
                    <a:gd name="connsiteX29" fmla="*/ 266700 w 1285875"/>
                    <a:gd name="connsiteY29" fmla="*/ 1423988 h 2352675"/>
                    <a:gd name="connsiteX30" fmla="*/ 228600 w 1285875"/>
                    <a:gd name="connsiteY30" fmla="*/ 1462088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28613 w 1285875"/>
                    <a:gd name="connsiteY27" fmla="*/ 1343025 h 2352675"/>
                    <a:gd name="connsiteX28" fmla="*/ 290513 w 1285875"/>
                    <a:gd name="connsiteY28" fmla="*/ 1414463 h 2352675"/>
                    <a:gd name="connsiteX29" fmla="*/ 266700 w 1285875"/>
                    <a:gd name="connsiteY29" fmla="*/ 1423988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28613 w 1285875"/>
                    <a:gd name="connsiteY27" fmla="*/ 1343025 h 2352675"/>
                    <a:gd name="connsiteX28" fmla="*/ 290513 w 1285875"/>
                    <a:gd name="connsiteY28" fmla="*/ 1414463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28613 w 1285875"/>
                    <a:gd name="connsiteY27" fmla="*/ 1343025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38138 w 1285875"/>
                    <a:gd name="connsiteY26" fmla="*/ 1262063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323850 w 1285875"/>
                    <a:gd name="connsiteY25" fmla="*/ 1204913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300038 w 1285875"/>
                    <a:gd name="connsiteY24" fmla="*/ 115728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00038 w 1285875"/>
                    <a:gd name="connsiteY23" fmla="*/ 1076325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381000 w 1285875"/>
                    <a:gd name="connsiteY22" fmla="*/ 1038225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390525 w 1285875"/>
                    <a:gd name="connsiteY21" fmla="*/ 1000125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342900 w 1285875"/>
                    <a:gd name="connsiteY20" fmla="*/ 966788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295275 w 1285875"/>
                    <a:gd name="connsiteY19" fmla="*/ 933450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276225 w 1285875"/>
                    <a:gd name="connsiteY18" fmla="*/ 914400 h 2352675"/>
                    <a:gd name="connsiteX19" fmla="*/ 369094 w 1285875"/>
                    <a:gd name="connsiteY19" fmla="*/ 871537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247650 w 1285875"/>
                    <a:gd name="connsiteY17" fmla="*/ 885825 h 2352675"/>
                    <a:gd name="connsiteX18" fmla="*/ 338137 w 1285875"/>
                    <a:gd name="connsiteY18" fmla="*/ 864394 h 2352675"/>
                    <a:gd name="connsiteX19" fmla="*/ 369094 w 1285875"/>
                    <a:gd name="connsiteY19" fmla="*/ 871537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204788 w 1285875"/>
                    <a:gd name="connsiteY16" fmla="*/ 833438 h 2352675"/>
                    <a:gd name="connsiteX17" fmla="*/ 300037 w 1285875"/>
                    <a:gd name="connsiteY17" fmla="*/ 840581 h 2352675"/>
                    <a:gd name="connsiteX18" fmla="*/ 338137 w 1285875"/>
                    <a:gd name="connsiteY18" fmla="*/ 864394 h 2352675"/>
                    <a:gd name="connsiteX19" fmla="*/ 369094 w 1285875"/>
                    <a:gd name="connsiteY19" fmla="*/ 871537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185738 w 1285875"/>
                    <a:gd name="connsiteY15" fmla="*/ 719138 h 2352675"/>
                    <a:gd name="connsiteX16" fmla="*/ 302419 w 1285875"/>
                    <a:gd name="connsiteY16" fmla="*/ 795338 h 2352675"/>
                    <a:gd name="connsiteX17" fmla="*/ 300037 w 1285875"/>
                    <a:gd name="connsiteY17" fmla="*/ 840581 h 2352675"/>
                    <a:gd name="connsiteX18" fmla="*/ 338137 w 1285875"/>
                    <a:gd name="connsiteY18" fmla="*/ 864394 h 2352675"/>
                    <a:gd name="connsiteX19" fmla="*/ 369094 w 1285875"/>
                    <a:gd name="connsiteY19" fmla="*/ 871537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257175 w 1285875"/>
                    <a:gd name="connsiteY11" fmla="*/ 385763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314326 w 1285875"/>
                    <a:gd name="connsiteY15" fmla="*/ 731044 h 2352675"/>
                    <a:gd name="connsiteX16" fmla="*/ 302419 w 1285875"/>
                    <a:gd name="connsiteY16" fmla="*/ 795338 h 2352675"/>
                    <a:gd name="connsiteX17" fmla="*/ 300037 w 1285875"/>
                    <a:gd name="connsiteY17" fmla="*/ 840581 h 2352675"/>
                    <a:gd name="connsiteX18" fmla="*/ 338137 w 1285875"/>
                    <a:gd name="connsiteY18" fmla="*/ 864394 h 2352675"/>
                    <a:gd name="connsiteX19" fmla="*/ 369094 w 1285875"/>
                    <a:gd name="connsiteY19" fmla="*/ 871537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335756 w 1285875"/>
                    <a:gd name="connsiteY11" fmla="*/ 431006 h 2352675"/>
                    <a:gd name="connsiteX12" fmla="*/ 223838 w 1285875"/>
                    <a:gd name="connsiteY12" fmla="*/ 461963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314326 w 1285875"/>
                    <a:gd name="connsiteY15" fmla="*/ 731044 h 2352675"/>
                    <a:gd name="connsiteX16" fmla="*/ 302419 w 1285875"/>
                    <a:gd name="connsiteY16" fmla="*/ 795338 h 2352675"/>
                    <a:gd name="connsiteX17" fmla="*/ 300037 w 1285875"/>
                    <a:gd name="connsiteY17" fmla="*/ 840581 h 2352675"/>
                    <a:gd name="connsiteX18" fmla="*/ 338137 w 1285875"/>
                    <a:gd name="connsiteY18" fmla="*/ 864394 h 2352675"/>
                    <a:gd name="connsiteX19" fmla="*/ 369094 w 1285875"/>
                    <a:gd name="connsiteY19" fmla="*/ 871537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335756 w 1285875"/>
                    <a:gd name="connsiteY11" fmla="*/ 431006 h 2352675"/>
                    <a:gd name="connsiteX12" fmla="*/ 300038 w 1285875"/>
                    <a:gd name="connsiteY12" fmla="*/ 492919 h 2352675"/>
                    <a:gd name="connsiteX13" fmla="*/ 223838 w 1285875"/>
                    <a:gd name="connsiteY13" fmla="*/ 533400 h 2352675"/>
                    <a:gd name="connsiteX14" fmla="*/ 204788 w 1285875"/>
                    <a:gd name="connsiteY14" fmla="*/ 628650 h 2352675"/>
                    <a:gd name="connsiteX15" fmla="*/ 314326 w 1285875"/>
                    <a:gd name="connsiteY15" fmla="*/ 731044 h 2352675"/>
                    <a:gd name="connsiteX16" fmla="*/ 302419 w 1285875"/>
                    <a:gd name="connsiteY16" fmla="*/ 795338 h 2352675"/>
                    <a:gd name="connsiteX17" fmla="*/ 300037 w 1285875"/>
                    <a:gd name="connsiteY17" fmla="*/ 840581 h 2352675"/>
                    <a:gd name="connsiteX18" fmla="*/ 338137 w 1285875"/>
                    <a:gd name="connsiteY18" fmla="*/ 864394 h 2352675"/>
                    <a:gd name="connsiteX19" fmla="*/ 369094 w 1285875"/>
                    <a:gd name="connsiteY19" fmla="*/ 871537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335756 w 1285875"/>
                    <a:gd name="connsiteY11" fmla="*/ 431006 h 2352675"/>
                    <a:gd name="connsiteX12" fmla="*/ 300038 w 1285875"/>
                    <a:gd name="connsiteY12" fmla="*/ 492919 h 2352675"/>
                    <a:gd name="connsiteX13" fmla="*/ 321469 w 1285875"/>
                    <a:gd name="connsiteY13" fmla="*/ 559593 h 2352675"/>
                    <a:gd name="connsiteX14" fmla="*/ 204788 w 1285875"/>
                    <a:gd name="connsiteY14" fmla="*/ 628650 h 2352675"/>
                    <a:gd name="connsiteX15" fmla="*/ 314326 w 1285875"/>
                    <a:gd name="connsiteY15" fmla="*/ 731044 h 2352675"/>
                    <a:gd name="connsiteX16" fmla="*/ 302419 w 1285875"/>
                    <a:gd name="connsiteY16" fmla="*/ 795338 h 2352675"/>
                    <a:gd name="connsiteX17" fmla="*/ 300037 w 1285875"/>
                    <a:gd name="connsiteY17" fmla="*/ 840581 h 2352675"/>
                    <a:gd name="connsiteX18" fmla="*/ 338137 w 1285875"/>
                    <a:gd name="connsiteY18" fmla="*/ 864394 h 2352675"/>
                    <a:gd name="connsiteX19" fmla="*/ 369094 w 1285875"/>
                    <a:gd name="connsiteY19" fmla="*/ 871537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  <a:gd name="connsiteX0" fmla="*/ 795338 w 1285875"/>
                    <a:gd name="connsiteY0" fmla="*/ 0 h 2352675"/>
                    <a:gd name="connsiteX1" fmla="*/ 757238 w 1285875"/>
                    <a:gd name="connsiteY1" fmla="*/ 47625 h 2352675"/>
                    <a:gd name="connsiteX2" fmla="*/ 678656 w 1285875"/>
                    <a:gd name="connsiteY2" fmla="*/ 71438 h 2352675"/>
                    <a:gd name="connsiteX3" fmla="*/ 626269 w 1285875"/>
                    <a:gd name="connsiteY3" fmla="*/ 83343 h 2352675"/>
                    <a:gd name="connsiteX4" fmla="*/ 588169 w 1285875"/>
                    <a:gd name="connsiteY4" fmla="*/ 123825 h 2352675"/>
                    <a:gd name="connsiteX5" fmla="*/ 547688 w 1285875"/>
                    <a:gd name="connsiteY5" fmla="*/ 121444 h 2352675"/>
                    <a:gd name="connsiteX6" fmla="*/ 521494 w 1285875"/>
                    <a:gd name="connsiteY6" fmla="*/ 142876 h 2352675"/>
                    <a:gd name="connsiteX7" fmla="*/ 516732 w 1285875"/>
                    <a:gd name="connsiteY7" fmla="*/ 204787 h 2352675"/>
                    <a:gd name="connsiteX8" fmla="*/ 473869 w 1285875"/>
                    <a:gd name="connsiteY8" fmla="*/ 197644 h 2352675"/>
                    <a:gd name="connsiteX9" fmla="*/ 442912 w 1285875"/>
                    <a:gd name="connsiteY9" fmla="*/ 266701 h 2352675"/>
                    <a:gd name="connsiteX10" fmla="*/ 390526 w 1285875"/>
                    <a:gd name="connsiteY10" fmla="*/ 359569 h 2352675"/>
                    <a:gd name="connsiteX11" fmla="*/ 335756 w 1285875"/>
                    <a:gd name="connsiteY11" fmla="*/ 431006 h 2352675"/>
                    <a:gd name="connsiteX12" fmla="*/ 300038 w 1285875"/>
                    <a:gd name="connsiteY12" fmla="*/ 492919 h 2352675"/>
                    <a:gd name="connsiteX13" fmla="*/ 321469 w 1285875"/>
                    <a:gd name="connsiteY13" fmla="*/ 559593 h 2352675"/>
                    <a:gd name="connsiteX14" fmla="*/ 297657 w 1285875"/>
                    <a:gd name="connsiteY14" fmla="*/ 647700 h 2352675"/>
                    <a:gd name="connsiteX15" fmla="*/ 314326 w 1285875"/>
                    <a:gd name="connsiteY15" fmla="*/ 731044 h 2352675"/>
                    <a:gd name="connsiteX16" fmla="*/ 302419 w 1285875"/>
                    <a:gd name="connsiteY16" fmla="*/ 795338 h 2352675"/>
                    <a:gd name="connsiteX17" fmla="*/ 300037 w 1285875"/>
                    <a:gd name="connsiteY17" fmla="*/ 840581 h 2352675"/>
                    <a:gd name="connsiteX18" fmla="*/ 338137 w 1285875"/>
                    <a:gd name="connsiteY18" fmla="*/ 864394 h 2352675"/>
                    <a:gd name="connsiteX19" fmla="*/ 369094 w 1285875"/>
                    <a:gd name="connsiteY19" fmla="*/ 871537 h 2352675"/>
                    <a:gd name="connsiteX20" fmla="*/ 431006 w 1285875"/>
                    <a:gd name="connsiteY20" fmla="*/ 914400 h 2352675"/>
                    <a:gd name="connsiteX21" fmla="*/ 502444 w 1285875"/>
                    <a:gd name="connsiteY21" fmla="*/ 992982 h 2352675"/>
                    <a:gd name="connsiteX22" fmla="*/ 433387 w 1285875"/>
                    <a:gd name="connsiteY22" fmla="*/ 1054893 h 2352675"/>
                    <a:gd name="connsiteX23" fmla="*/ 383382 w 1285875"/>
                    <a:gd name="connsiteY23" fmla="*/ 1126331 h 2352675"/>
                    <a:gd name="connsiteX24" fmla="*/ 416720 w 1285875"/>
                    <a:gd name="connsiteY24" fmla="*/ 1138238 h 2352675"/>
                    <a:gd name="connsiteX25" fmla="*/ 414337 w 1285875"/>
                    <a:gd name="connsiteY25" fmla="*/ 1178720 h 2352675"/>
                    <a:gd name="connsiteX26" fmla="*/ 388144 w 1285875"/>
                    <a:gd name="connsiteY26" fmla="*/ 1219201 h 2352675"/>
                    <a:gd name="connsiteX27" fmla="*/ 388144 w 1285875"/>
                    <a:gd name="connsiteY27" fmla="*/ 1312069 h 2352675"/>
                    <a:gd name="connsiteX28" fmla="*/ 352425 w 1285875"/>
                    <a:gd name="connsiteY28" fmla="*/ 1397795 h 2352675"/>
                    <a:gd name="connsiteX29" fmla="*/ 345282 w 1285875"/>
                    <a:gd name="connsiteY29" fmla="*/ 1452563 h 2352675"/>
                    <a:gd name="connsiteX30" fmla="*/ 364332 w 1285875"/>
                    <a:gd name="connsiteY30" fmla="*/ 1509713 h 2352675"/>
                    <a:gd name="connsiteX31" fmla="*/ 297656 w 1285875"/>
                    <a:gd name="connsiteY31" fmla="*/ 1559719 h 2352675"/>
                    <a:gd name="connsiteX32" fmla="*/ 214313 w 1285875"/>
                    <a:gd name="connsiteY32" fmla="*/ 1616869 h 2352675"/>
                    <a:gd name="connsiteX33" fmla="*/ 166688 w 1285875"/>
                    <a:gd name="connsiteY33" fmla="*/ 1647825 h 2352675"/>
                    <a:gd name="connsiteX34" fmla="*/ 123826 w 1285875"/>
                    <a:gd name="connsiteY34" fmla="*/ 1709738 h 2352675"/>
                    <a:gd name="connsiteX35" fmla="*/ 66675 w 1285875"/>
                    <a:gd name="connsiteY35" fmla="*/ 1747838 h 2352675"/>
                    <a:gd name="connsiteX36" fmla="*/ 47626 w 1285875"/>
                    <a:gd name="connsiteY36" fmla="*/ 1816894 h 2352675"/>
                    <a:gd name="connsiteX37" fmla="*/ 57150 w 1285875"/>
                    <a:gd name="connsiteY37" fmla="*/ 1914525 h 2352675"/>
                    <a:gd name="connsiteX38" fmla="*/ 33338 w 1285875"/>
                    <a:gd name="connsiteY38" fmla="*/ 1957388 h 2352675"/>
                    <a:gd name="connsiteX39" fmla="*/ 0 w 1285875"/>
                    <a:gd name="connsiteY39" fmla="*/ 2157413 h 2352675"/>
                    <a:gd name="connsiteX40" fmla="*/ 195263 w 1285875"/>
                    <a:gd name="connsiteY40" fmla="*/ 2319338 h 2352675"/>
                    <a:gd name="connsiteX41" fmla="*/ 423863 w 1285875"/>
                    <a:gd name="connsiteY41" fmla="*/ 2352675 h 2352675"/>
                    <a:gd name="connsiteX42" fmla="*/ 876300 w 1285875"/>
                    <a:gd name="connsiteY42" fmla="*/ 2243138 h 2352675"/>
                    <a:gd name="connsiteX43" fmla="*/ 1204913 w 1285875"/>
                    <a:gd name="connsiteY43" fmla="*/ 1862138 h 2352675"/>
                    <a:gd name="connsiteX44" fmla="*/ 1262063 w 1285875"/>
                    <a:gd name="connsiteY44" fmla="*/ 1500188 h 2352675"/>
                    <a:gd name="connsiteX45" fmla="*/ 1285875 w 1285875"/>
                    <a:gd name="connsiteY45" fmla="*/ 1204913 h 2352675"/>
                    <a:gd name="connsiteX46" fmla="*/ 1143000 w 1285875"/>
                    <a:gd name="connsiteY46" fmla="*/ 881063 h 2352675"/>
                    <a:gd name="connsiteX47" fmla="*/ 1252538 w 1285875"/>
                    <a:gd name="connsiteY47" fmla="*/ 723900 h 2352675"/>
                    <a:gd name="connsiteX48" fmla="*/ 1262063 w 1285875"/>
                    <a:gd name="connsiteY48" fmla="*/ 623888 h 2352675"/>
                    <a:gd name="connsiteX49" fmla="*/ 1147763 w 1285875"/>
                    <a:gd name="connsiteY49" fmla="*/ 504825 h 2352675"/>
                    <a:gd name="connsiteX50" fmla="*/ 1066800 w 1285875"/>
                    <a:gd name="connsiteY50" fmla="*/ 381000 h 2352675"/>
                    <a:gd name="connsiteX51" fmla="*/ 1095375 w 1285875"/>
                    <a:gd name="connsiteY51" fmla="*/ 209550 h 2352675"/>
                    <a:gd name="connsiteX52" fmla="*/ 1009650 w 1285875"/>
                    <a:gd name="connsiteY52" fmla="*/ 95250 h 2352675"/>
                    <a:gd name="connsiteX53" fmla="*/ 990600 w 1285875"/>
                    <a:gd name="connsiteY53" fmla="*/ 23813 h 2352675"/>
                    <a:gd name="connsiteX54" fmla="*/ 866775 w 1285875"/>
                    <a:gd name="connsiteY54" fmla="*/ 4763 h 2352675"/>
                    <a:gd name="connsiteX55" fmla="*/ 795338 w 1285875"/>
                    <a:gd name="connsiteY55" fmla="*/ 0 h 235267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1285875" h="2352675">
                      <a:moveTo>
                        <a:pt x="795338" y="0"/>
                      </a:moveTo>
                      <a:lnTo>
                        <a:pt x="757238" y="47625"/>
                      </a:lnTo>
                      <a:lnTo>
                        <a:pt x="678656" y="71438"/>
                      </a:lnTo>
                      <a:lnTo>
                        <a:pt x="626269" y="83343"/>
                      </a:lnTo>
                      <a:cubicBezTo>
                        <a:pt x="604838" y="71437"/>
                        <a:pt x="601266" y="117475"/>
                        <a:pt x="588169" y="123825"/>
                      </a:cubicBezTo>
                      <a:cubicBezTo>
                        <a:pt x="575072" y="130175"/>
                        <a:pt x="558801" y="118269"/>
                        <a:pt x="547688" y="121444"/>
                      </a:cubicBezTo>
                      <a:cubicBezTo>
                        <a:pt x="536576" y="124619"/>
                        <a:pt x="526653" y="128986"/>
                        <a:pt x="521494" y="142876"/>
                      </a:cubicBezTo>
                      <a:cubicBezTo>
                        <a:pt x="516335" y="156766"/>
                        <a:pt x="542529" y="191293"/>
                        <a:pt x="516732" y="204787"/>
                      </a:cubicBezTo>
                      <a:cubicBezTo>
                        <a:pt x="465932" y="214312"/>
                        <a:pt x="524669" y="188119"/>
                        <a:pt x="473869" y="197644"/>
                      </a:cubicBezTo>
                      <a:lnTo>
                        <a:pt x="442912" y="266701"/>
                      </a:lnTo>
                      <a:lnTo>
                        <a:pt x="390526" y="359569"/>
                      </a:lnTo>
                      <a:lnTo>
                        <a:pt x="335756" y="431006"/>
                      </a:lnTo>
                      <a:lnTo>
                        <a:pt x="300038" y="492919"/>
                      </a:lnTo>
                      <a:lnTo>
                        <a:pt x="321469" y="559593"/>
                      </a:lnTo>
                      <a:lnTo>
                        <a:pt x="297657" y="647700"/>
                      </a:lnTo>
                      <a:lnTo>
                        <a:pt x="314326" y="731044"/>
                      </a:lnTo>
                      <a:lnTo>
                        <a:pt x="302419" y="795338"/>
                      </a:lnTo>
                      <a:lnTo>
                        <a:pt x="300037" y="840581"/>
                      </a:lnTo>
                      <a:cubicBezTo>
                        <a:pt x="309562" y="850106"/>
                        <a:pt x="326628" y="859235"/>
                        <a:pt x="338137" y="864394"/>
                      </a:cubicBezTo>
                      <a:cubicBezTo>
                        <a:pt x="349647" y="869553"/>
                        <a:pt x="338138" y="885825"/>
                        <a:pt x="369094" y="871537"/>
                      </a:cubicBezTo>
                      <a:cubicBezTo>
                        <a:pt x="384969" y="882650"/>
                        <a:pt x="408781" y="894159"/>
                        <a:pt x="431006" y="914400"/>
                      </a:cubicBezTo>
                      <a:cubicBezTo>
                        <a:pt x="453231" y="934641"/>
                        <a:pt x="449263" y="984251"/>
                        <a:pt x="502444" y="992982"/>
                      </a:cubicBezTo>
                      <a:lnTo>
                        <a:pt x="433387" y="1054893"/>
                      </a:lnTo>
                      <a:lnTo>
                        <a:pt x="383382" y="1126331"/>
                      </a:lnTo>
                      <a:lnTo>
                        <a:pt x="416720" y="1138238"/>
                      </a:lnTo>
                      <a:lnTo>
                        <a:pt x="414337" y="1178720"/>
                      </a:lnTo>
                      <a:lnTo>
                        <a:pt x="388144" y="1219201"/>
                      </a:lnTo>
                      <a:lnTo>
                        <a:pt x="388144" y="1312069"/>
                      </a:lnTo>
                      <a:lnTo>
                        <a:pt x="352425" y="1397795"/>
                      </a:lnTo>
                      <a:lnTo>
                        <a:pt x="345282" y="1452563"/>
                      </a:lnTo>
                      <a:lnTo>
                        <a:pt x="364332" y="1509713"/>
                      </a:lnTo>
                      <a:lnTo>
                        <a:pt x="297656" y="1559719"/>
                      </a:lnTo>
                      <a:lnTo>
                        <a:pt x="214313" y="1616869"/>
                      </a:lnTo>
                      <a:cubicBezTo>
                        <a:pt x="203200" y="1623219"/>
                        <a:pt x="181769" y="1632347"/>
                        <a:pt x="166688" y="1647825"/>
                      </a:cubicBezTo>
                      <a:cubicBezTo>
                        <a:pt x="151607" y="1663303"/>
                        <a:pt x="127001" y="1677988"/>
                        <a:pt x="123826" y="1709738"/>
                      </a:cubicBezTo>
                      <a:lnTo>
                        <a:pt x="66675" y="1747838"/>
                      </a:lnTo>
                      <a:cubicBezTo>
                        <a:pt x="66675" y="1786732"/>
                        <a:pt x="47626" y="1778000"/>
                        <a:pt x="47626" y="1816894"/>
                      </a:cubicBezTo>
                      <a:lnTo>
                        <a:pt x="57150" y="1914525"/>
                      </a:lnTo>
                      <a:lnTo>
                        <a:pt x="33338" y="1957388"/>
                      </a:lnTo>
                      <a:lnTo>
                        <a:pt x="0" y="2157413"/>
                      </a:lnTo>
                      <a:lnTo>
                        <a:pt x="195263" y="2319338"/>
                      </a:lnTo>
                      <a:lnTo>
                        <a:pt x="423863" y="2352675"/>
                      </a:lnTo>
                      <a:lnTo>
                        <a:pt x="876300" y="2243138"/>
                      </a:lnTo>
                      <a:lnTo>
                        <a:pt x="1204913" y="1862138"/>
                      </a:lnTo>
                      <a:lnTo>
                        <a:pt x="1262063" y="1500188"/>
                      </a:lnTo>
                      <a:lnTo>
                        <a:pt x="1285875" y="1204913"/>
                      </a:lnTo>
                      <a:lnTo>
                        <a:pt x="1143000" y="881063"/>
                      </a:lnTo>
                      <a:lnTo>
                        <a:pt x="1252538" y="723900"/>
                      </a:lnTo>
                      <a:lnTo>
                        <a:pt x="1262063" y="623888"/>
                      </a:lnTo>
                      <a:lnTo>
                        <a:pt x="1147763" y="504825"/>
                      </a:lnTo>
                      <a:lnTo>
                        <a:pt x="1066800" y="381000"/>
                      </a:lnTo>
                      <a:lnTo>
                        <a:pt x="1095375" y="209550"/>
                      </a:lnTo>
                      <a:lnTo>
                        <a:pt x="1009650" y="95250"/>
                      </a:lnTo>
                      <a:lnTo>
                        <a:pt x="990600" y="23813"/>
                      </a:lnTo>
                      <a:lnTo>
                        <a:pt x="866775" y="4763"/>
                      </a:lnTo>
                      <a:lnTo>
                        <a:pt x="795338" y="0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6" name="Freeform 85"/>
                <p:cNvSpPr/>
                <p:nvPr/>
              </p:nvSpPr>
              <p:spPr>
                <a:xfrm>
                  <a:off x="4664870" y="2219325"/>
                  <a:ext cx="1221582" cy="1909764"/>
                </a:xfrm>
                <a:custGeom>
                  <a:avLst/>
                  <a:gdLst>
                    <a:gd name="connsiteX0" fmla="*/ 266700 w 1304925"/>
                    <a:gd name="connsiteY0" fmla="*/ 490537 h 2114550"/>
                    <a:gd name="connsiteX1" fmla="*/ 419100 w 1304925"/>
                    <a:gd name="connsiteY1" fmla="*/ 200025 h 2114550"/>
                    <a:gd name="connsiteX2" fmla="*/ 623888 w 1304925"/>
                    <a:gd name="connsiteY2" fmla="*/ 38100 h 2114550"/>
                    <a:gd name="connsiteX3" fmla="*/ 823913 w 1304925"/>
                    <a:gd name="connsiteY3" fmla="*/ 0 h 2114550"/>
                    <a:gd name="connsiteX4" fmla="*/ 933450 w 1304925"/>
                    <a:gd name="connsiteY4" fmla="*/ 47625 h 2114550"/>
                    <a:gd name="connsiteX5" fmla="*/ 1004888 w 1304925"/>
                    <a:gd name="connsiteY5" fmla="*/ 390525 h 2114550"/>
                    <a:gd name="connsiteX6" fmla="*/ 966788 w 1304925"/>
                    <a:gd name="connsiteY6" fmla="*/ 652462 h 2114550"/>
                    <a:gd name="connsiteX7" fmla="*/ 985838 w 1304925"/>
                    <a:gd name="connsiteY7" fmla="*/ 776287 h 2114550"/>
                    <a:gd name="connsiteX8" fmla="*/ 1147763 w 1304925"/>
                    <a:gd name="connsiteY8" fmla="*/ 1004887 h 2114550"/>
                    <a:gd name="connsiteX9" fmla="*/ 1295400 w 1304925"/>
                    <a:gd name="connsiteY9" fmla="*/ 1238250 h 2114550"/>
                    <a:gd name="connsiteX10" fmla="*/ 1304925 w 1304925"/>
                    <a:gd name="connsiteY10" fmla="*/ 1452562 h 2114550"/>
                    <a:gd name="connsiteX11" fmla="*/ 1233488 w 1304925"/>
                    <a:gd name="connsiteY11" fmla="*/ 1676400 h 2114550"/>
                    <a:gd name="connsiteX12" fmla="*/ 1190625 w 1304925"/>
                    <a:gd name="connsiteY12" fmla="*/ 1919287 h 2114550"/>
                    <a:gd name="connsiteX13" fmla="*/ 1095375 w 1304925"/>
                    <a:gd name="connsiteY13" fmla="*/ 2062162 h 2114550"/>
                    <a:gd name="connsiteX14" fmla="*/ 957263 w 1304925"/>
                    <a:gd name="connsiteY14" fmla="*/ 2100262 h 2114550"/>
                    <a:gd name="connsiteX15" fmla="*/ 790575 w 1304925"/>
                    <a:gd name="connsiteY15" fmla="*/ 2114550 h 2114550"/>
                    <a:gd name="connsiteX16" fmla="*/ 690563 w 1304925"/>
                    <a:gd name="connsiteY16" fmla="*/ 2033587 h 2114550"/>
                    <a:gd name="connsiteX17" fmla="*/ 523875 w 1304925"/>
                    <a:gd name="connsiteY17" fmla="*/ 1971675 h 2114550"/>
                    <a:gd name="connsiteX18" fmla="*/ 366713 w 1304925"/>
                    <a:gd name="connsiteY18" fmla="*/ 1919287 h 2114550"/>
                    <a:gd name="connsiteX19" fmla="*/ 266700 w 1304925"/>
                    <a:gd name="connsiteY19" fmla="*/ 1900237 h 2114550"/>
                    <a:gd name="connsiteX20" fmla="*/ 180975 w 1304925"/>
                    <a:gd name="connsiteY20" fmla="*/ 1876425 h 2114550"/>
                    <a:gd name="connsiteX21" fmla="*/ 90488 w 1304925"/>
                    <a:gd name="connsiteY21" fmla="*/ 1771650 h 2114550"/>
                    <a:gd name="connsiteX22" fmla="*/ 38100 w 1304925"/>
                    <a:gd name="connsiteY22" fmla="*/ 1676400 h 2114550"/>
                    <a:gd name="connsiteX23" fmla="*/ 9525 w 1304925"/>
                    <a:gd name="connsiteY23" fmla="*/ 1604962 h 2114550"/>
                    <a:gd name="connsiteX24" fmla="*/ 4763 w 1304925"/>
                    <a:gd name="connsiteY24" fmla="*/ 1557337 h 2114550"/>
                    <a:gd name="connsiteX25" fmla="*/ 38100 w 1304925"/>
                    <a:gd name="connsiteY25" fmla="*/ 1509712 h 2114550"/>
                    <a:gd name="connsiteX26" fmla="*/ 104775 w 1304925"/>
                    <a:gd name="connsiteY26" fmla="*/ 1538287 h 2114550"/>
                    <a:gd name="connsiteX27" fmla="*/ 157163 w 1304925"/>
                    <a:gd name="connsiteY27" fmla="*/ 1500187 h 2114550"/>
                    <a:gd name="connsiteX28" fmla="*/ 114300 w 1304925"/>
                    <a:gd name="connsiteY28" fmla="*/ 1452562 h 2114550"/>
                    <a:gd name="connsiteX29" fmla="*/ 90488 w 1304925"/>
                    <a:gd name="connsiteY29" fmla="*/ 1385887 h 2114550"/>
                    <a:gd name="connsiteX30" fmla="*/ 80963 w 1304925"/>
                    <a:gd name="connsiteY30" fmla="*/ 1323975 h 2114550"/>
                    <a:gd name="connsiteX31" fmla="*/ 80963 w 1304925"/>
                    <a:gd name="connsiteY31" fmla="*/ 1238250 h 2114550"/>
                    <a:gd name="connsiteX32" fmla="*/ 123825 w 1304925"/>
                    <a:gd name="connsiteY32" fmla="*/ 1133475 h 2114550"/>
                    <a:gd name="connsiteX33" fmla="*/ 166688 w 1304925"/>
                    <a:gd name="connsiteY33" fmla="*/ 1062037 h 2114550"/>
                    <a:gd name="connsiteX34" fmla="*/ 161925 w 1304925"/>
                    <a:gd name="connsiteY34" fmla="*/ 995362 h 2114550"/>
                    <a:gd name="connsiteX35" fmla="*/ 85725 w 1304925"/>
                    <a:gd name="connsiteY35" fmla="*/ 942975 h 2114550"/>
                    <a:gd name="connsiteX36" fmla="*/ 33338 w 1304925"/>
                    <a:gd name="connsiteY36" fmla="*/ 890587 h 2114550"/>
                    <a:gd name="connsiteX37" fmla="*/ 9525 w 1304925"/>
                    <a:gd name="connsiteY37" fmla="*/ 838200 h 2114550"/>
                    <a:gd name="connsiteX38" fmla="*/ 0 w 1304925"/>
                    <a:gd name="connsiteY38" fmla="*/ 766762 h 2114550"/>
                    <a:gd name="connsiteX39" fmla="*/ 9525 w 1304925"/>
                    <a:gd name="connsiteY39" fmla="*/ 681037 h 2114550"/>
                    <a:gd name="connsiteX40" fmla="*/ 19050 w 1304925"/>
                    <a:gd name="connsiteY40" fmla="*/ 604837 h 2114550"/>
                    <a:gd name="connsiteX41" fmla="*/ 57150 w 1304925"/>
                    <a:gd name="connsiteY41" fmla="*/ 542925 h 2114550"/>
                    <a:gd name="connsiteX42" fmla="*/ 80963 w 1304925"/>
                    <a:gd name="connsiteY42" fmla="*/ 538162 h 2114550"/>
                    <a:gd name="connsiteX43" fmla="*/ 133350 w 1304925"/>
                    <a:gd name="connsiteY43" fmla="*/ 519112 h 2114550"/>
                    <a:gd name="connsiteX44" fmla="*/ 180975 w 1304925"/>
                    <a:gd name="connsiteY44" fmla="*/ 542925 h 2114550"/>
                    <a:gd name="connsiteX45" fmla="*/ 266700 w 1304925"/>
                    <a:gd name="connsiteY45" fmla="*/ 490537 h 2114550"/>
                    <a:gd name="connsiteX0" fmla="*/ 266700 w 1304925"/>
                    <a:gd name="connsiteY0" fmla="*/ 490537 h 2114550"/>
                    <a:gd name="connsiteX1" fmla="*/ 419100 w 1304925"/>
                    <a:gd name="connsiteY1" fmla="*/ 200025 h 2114550"/>
                    <a:gd name="connsiteX2" fmla="*/ 623888 w 1304925"/>
                    <a:gd name="connsiteY2" fmla="*/ 38100 h 2114550"/>
                    <a:gd name="connsiteX3" fmla="*/ 823913 w 1304925"/>
                    <a:gd name="connsiteY3" fmla="*/ 0 h 2114550"/>
                    <a:gd name="connsiteX4" fmla="*/ 933450 w 1304925"/>
                    <a:gd name="connsiteY4" fmla="*/ 47625 h 2114550"/>
                    <a:gd name="connsiteX5" fmla="*/ 1004888 w 1304925"/>
                    <a:gd name="connsiteY5" fmla="*/ 390525 h 2114550"/>
                    <a:gd name="connsiteX6" fmla="*/ 966788 w 1304925"/>
                    <a:gd name="connsiteY6" fmla="*/ 652462 h 2114550"/>
                    <a:gd name="connsiteX7" fmla="*/ 985838 w 1304925"/>
                    <a:gd name="connsiteY7" fmla="*/ 776287 h 2114550"/>
                    <a:gd name="connsiteX8" fmla="*/ 1147763 w 1304925"/>
                    <a:gd name="connsiteY8" fmla="*/ 1004887 h 2114550"/>
                    <a:gd name="connsiteX9" fmla="*/ 1295400 w 1304925"/>
                    <a:gd name="connsiteY9" fmla="*/ 1238250 h 2114550"/>
                    <a:gd name="connsiteX10" fmla="*/ 1304925 w 1304925"/>
                    <a:gd name="connsiteY10" fmla="*/ 1452562 h 2114550"/>
                    <a:gd name="connsiteX11" fmla="*/ 1233488 w 1304925"/>
                    <a:gd name="connsiteY11" fmla="*/ 1676400 h 2114550"/>
                    <a:gd name="connsiteX12" fmla="*/ 1190625 w 1304925"/>
                    <a:gd name="connsiteY12" fmla="*/ 1919287 h 2114550"/>
                    <a:gd name="connsiteX13" fmla="*/ 1095375 w 1304925"/>
                    <a:gd name="connsiteY13" fmla="*/ 2062162 h 2114550"/>
                    <a:gd name="connsiteX14" fmla="*/ 957263 w 1304925"/>
                    <a:gd name="connsiteY14" fmla="*/ 2100262 h 2114550"/>
                    <a:gd name="connsiteX15" fmla="*/ 790575 w 1304925"/>
                    <a:gd name="connsiteY15" fmla="*/ 2114550 h 2114550"/>
                    <a:gd name="connsiteX16" fmla="*/ 690563 w 1304925"/>
                    <a:gd name="connsiteY16" fmla="*/ 2033587 h 2114550"/>
                    <a:gd name="connsiteX17" fmla="*/ 523875 w 1304925"/>
                    <a:gd name="connsiteY17" fmla="*/ 1971675 h 2114550"/>
                    <a:gd name="connsiteX18" fmla="*/ 366713 w 1304925"/>
                    <a:gd name="connsiteY18" fmla="*/ 1919287 h 2114550"/>
                    <a:gd name="connsiteX19" fmla="*/ 266700 w 1304925"/>
                    <a:gd name="connsiteY19" fmla="*/ 1900237 h 2114550"/>
                    <a:gd name="connsiteX20" fmla="*/ 180975 w 1304925"/>
                    <a:gd name="connsiteY20" fmla="*/ 1876425 h 2114550"/>
                    <a:gd name="connsiteX21" fmla="*/ 90488 w 1304925"/>
                    <a:gd name="connsiteY21" fmla="*/ 1771650 h 2114550"/>
                    <a:gd name="connsiteX22" fmla="*/ 38100 w 1304925"/>
                    <a:gd name="connsiteY22" fmla="*/ 1676400 h 2114550"/>
                    <a:gd name="connsiteX23" fmla="*/ 9525 w 1304925"/>
                    <a:gd name="connsiteY23" fmla="*/ 1604962 h 2114550"/>
                    <a:gd name="connsiteX24" fmla="*/ 4763 w 1304925"/>
                    <a:gd name="connsiteY24" fmla="*/ 1557337 h 2114550"/>
                    <a:gd name="connsiteX25" fmla="*/ 38100 w 1304925"/>
                    <a:gd name="connsiteY25" fmla="*/ 1509712 h 2114550"/>
                    <a:gd name="connsiteX26" fmla="*/ 104775 w 1304925"/>
                    <a:gd name="connsiteY26" fmla="*/ 1538287 h 2114550"/>
                    <a:gd name="connsiteX27" fmla="*/ 157163 w 1304925"/>
                    <a:gd name="connsiteY27" fmla="*/ 1500187 h 2114550"/>
                    <a:gd name="connsiteX28" fmla="*/ 114300 w 1304925"/>
                    <a:gd name="connsiteY28" fmla="*/ 1452562 h 2114550"/>
                    <a:gd name="connsiteX29" fmla="*/ 90488 w 1304925"/>
                    <a:gd name="connsiteY29" fmla="*/ 1385887 h 2114550"/>
                    <a:gd name="connsiteX30" fmla="*/ 80963 w 1304925"/>
                    <a:gd name="connsiteY30" fmla="*/ 1323975 h 2114550"/>
                    <a:gd name="connsiteX31" fmla="*/ 80963 w 1304925"/>
                    <a:gd name="connsiteY31" fmla="*/ 1238250 h 2114550"/>
                    <a:gd name="connsiteX32" fmla="*/ 123825 w 1304925"/>
                    <a:gd name="connsiteY32" fmla="*/ 1133475 h 2114550"/>
                    <a:gd name="connsiteX33" fmla="*/ 166688 w 1304925"/>
                    <a:gd name="connsiteY33" fmla="*/ 1062037 h 2114550"/>
                    <a:gd name="connsiteX34" fmla="*/ 161925 w 1304925"/>
                    <a:gd name="connsiteY34" fmla="*/ 995362 h 2114550"/>
                    <a:gd name="connsiteX35" fmla="*/ 85725 w 1304925"/>
                    <a:gd name="connsiteY35" fmla="*/ 942975 h 2114550"/>
                    <a:gd name="connsiteX36" fmla="*/ 33338 w 1304925"/>
                    <a:gd name="connsiteY36" fmla="*/ 890587 h 2114550"/>
                    <a:gd name="connsiteX37" fmla="*/ 9525 w 1304925"/>
                    <a:gd name="connsiteY37" fmla="*/ 838200 h 2114550"/>
                    <a:gd name="connsiteX38" fmla="*/ 0 w 1304925"/>
                    <a:gd name="connsiteY38" fmla="*/ 766762 h 2114550"/>
                    <a:gd name="connsiteX39" fmla="*/ 9525 w 1304925"/>
                    <a:gd name="connsiteY39" fmla="*/ 681037 h 2114550"/>
                    <a:gd name="connsiteX40" fmla="*/ 19050 w 1304925"/>
                    <a:gd name="connsiteY40" fmla="*/ 604837 h 2114550"/>
                    <a:gd name="connsiteX41" fmla="*/ 57150 w 1304925"/>
                    <a:gd name="connsiteY41" fmla="*/ 542925 h 2114550"/>
                    <a:gd name="connsiteX42" fmla="*/ 80963 w 1304925"/>
                    <a:gd name="connsiteY42" fmla="*/ 538162 h 2114550"/>
                    <a:gd name="connsiteX43" fmla="*/ 133350 w 1304925"/>
                    <a:gd name="connsiteY43" fmla="*/ 519112 h 2114550"/>
                    <a:gd name="connsiteX44" fmla="*/ 254794 w 1304925"/>
                    <a:gd name="connsiteY44" fmla="*/ 545306 h 2114550"/>
                    <a:gd name="connsiteX45" fmla="*/ 266700 w 1304925"/>
                    <a:gd name="connsiteY45" fmla="*/ 490537 h 2114550"/>
                    <a:gd name="connsiteX0" fmla="*/ 266700 w 1304925"/>
                    <a:gd name="connsiteY0" fmla="*/ 490537 h 2114550"/>
                    <a:gd name="connsiteX1" fmla="*/ 419100 w 1304925"/>
                    <a:gd name="connsiteY1" fmla="*/ 200025 h 2114550"/>
                    <a:gd name="connsiteX2" fmla="*/ 623888 w 1304925"/>
                    <a:gd name="connsiteY2" fmla="*/ 38100 h 2114550"/>
                    <a:gd name="connsiteX3" fmla="*/ 823913 w 1304925"/>
                    <a:gd name="connsiteY3" fmla="*/ 0 h 2114550"/>
                    <a:gd name="connsiteX4" fmla="*/ 933450 w 1304925"/>
                    <a:gd name="connsiteY4" fmla="*/ 47625 h 2114550"/>
                    <a:gd name="connsiteX5" fmla="*/ 1004888 w 1304925"/>
                    <a:gd name="connsiteY5" fmla="*/ 390525 h 2114550"/>
                    <a:gd name="connsiteX6" fmla="*/ 966788 w 1304925"/>
                    <a:gd name="connsiteY6" fmla="*/ 652462 h 2114550"/>
                    <a:gd name="connsiteX7" fmla="*/ 985838 w 1304925"/>
                    <a:gd name="connsiteY7" fmla="*/ 776287 h 2114550"/>
                    <a:gd name="connsiteX8" fmla="*/ 1147763 w 1304925"/>
                    <a:gd name="connsiteY8" fmla="*/ 1004887 h 2114550"/>
                    <a:gd name="connsiteX9" fmla="*/ 1295400 w 1304925"/>
                    <a:gd name="connsiteY9" fmla="*/ 1238250 h 2114550"/>
                    <a:gd name="connsiteX10" fmla="*/ 1304925 w 1304925"/>
                    <a:gd name="connsiteY10" fmla="*/ 1452562 h 2114550"/>
                    <a:gd name="connsiteX11" fmla="*/ 1233488 w 1304925"/>
                    <a:gd name="connsiteY11" fmla="*/ 1676400 h 2114550"/>
                    <a:gd name="connsiteX12" fmla="*/ 1190625 w 1304925"/>
                    <a:gd name="connsiteY12" fmla="*/ 1919287 h 2114550"/>
                    <a:gd name="connsiteX13" fmla="*/ 1095375 w 1304925"/>
                    <a:gd name="connsiteY13" fmla="*/ 2062162 h 2114550"/>
                    <a:gd name="connsiteX14" fmla="*/ 957263 w 1304925"/>
                    <a:gd name="connsiteY14" fmla="*/ 2100262 h 2114550"/>
                    <a:gd name="connsiteX15" fmla="*/ 790575 w 1304925"/>
                    <a:gd name="connsiteY15" fmla="*/ 2114550 h 2114550"/>
                    <a:gd name="connsiteX16" fmla="*/ 690563 w 1304925"/>
                    <a:gd name="connsiteY16" fmla="*/ 2033587 h 2114550"/>
                    <a:gd name="connsiteX17" fmla="*/ 523875 w 1304925"/>
                    <a:gd name="connsiteY17" fmla="*/ 1971675 h 2114550"/>
                    <a:gd name="connsiteX18" fmla="*/ 366713 w 1304925"/>
                    <a:gd name="connsiteY18" fmla="*/ 1919287 h 2114550"/>
                    <a:gd name="connsiteX19" fmla="*/ 266700 w 1304925"/>
                    <a:gd name="connsiteY19" fmla="*/ 1900237 h 2114550"/>
                    <a:gd name="connsiteX20" fmla="*/ 180975 w 1304925"/>
                    <a:gd name="connsiteY20" fmla="*/ 1876425 h 2114550"/>
                    <a:gd name="connsiteX21" fmla="*/ 90488 w 1304925"/>
                    <a:gd name="connsiteY21" fmla="*/ 1771650 h 2114550"/>
                    <a:gd name="connsiteX22" fmla="*/ 38100 w 1304925"/>
                    <a:gd name="connsiteY22" fmla="*/ 1676400 h 2114550"/>
                    <a:gd name="connsiteX23" fmla="*/ 9525 w 1304925"/>
                    <a:gd name="connsiteY23" fmla="*/ 1604962 h 2114550"/>
                    <a:gd name="connsiteX24" fmla="*/ 4763 w 1304925"/>
                    <a:gd name="connsiteY24" fmla="*/ 1557337 h 2114550"/>
                    <a:gd name="connsiteX25" fmla="*/ 38100 w 1304925"/>
                    <a:gd name="connsiteY25" fmla="*/ 1509712 h 2114550"/>
                    <a:gd name="connsiteX26" fmla="*/ 104775 w 1304925"/>
                    <a:gd name="connsiteY26" fmla="*/ 1538287 h 2114550"/>
                    <a:gd name="connsiteX27" fmla="*/ 157163 w 1304925"/>
                    <a:gd name="connsiteY27" fmla="*/ 1500187 h 2114550"/>
                    <a:gd name="connsiteX28" fmla="*/ 114300 w 1304925"/>
                    <a:gd name="connsiteY28" fmla="*/ 1452562 h 2114550"/>
                    <a:gd name="connsiteX29" fmla="*/ 90488 w 1304925"/>
                    <a:gd name="connsiteY29" fmla="*/ 1385887 h 2114550"/>
                    <a:gd name="connsiteX30" fmla="*/ 80963 w 1304925"/>
                    <a:gd name="connsiteY30" fmla="*/ 1323975 h 2114550"/>
                    <a:gd name="connsiteX31" fmla="*/ 80963 w 1304925"/>
                    <a:gd name="connsiteY31" fmla="*/ 1238250 h 2114550"/>
                    <a:gd name="connsiteX32" fmla="*/ 123825 w 1304925"/>
                    <a:gd name="connsiteY32" fmla="*/ 1133475 h 2114550"/>
                    <a:gd name="connsiteX33" fmla="*/ 166688 w 1304925"/>
                    <a:gd name="connsiteY33" fmla="*/ 1062037 h 2114550"/>
                    <a:gd name="connsiteX34" fmla="*/ 161925 w 1304925"/>
                    <a:gd name="connsiteY34" fmla="*/ 995362 h 2114550"/>
                    <a:gd name="connsiteX35" fmla="*/ 85725 w 1304925"/>
                    <a:gd name="connsiteY35" fmla="*/ 942975 h 2114550"/>
                    <a:gd name="connsiteX36" fmla="*/ 33338 w 1304925"/>
                    <a:gd name="connsiteY36" fmla="*/ 890587 h 2114550"/>
                    <a:gd name="connsiteX37" fmla="*/ 9525 w 1304925"/>
                    <a:gd name="connsiteY37" fmla="*/ 838200 h 2114550"/>
                    <a:gd name="connsiteX38" fmla="*/ 0 w 1304925"/>
                    <a:gd name="connsiteY38" fmla="*/ 766762 h 2114550"/>
                    <a:gd name="connsiteX39" fmla="*/ 9525 w 1304925"/>
                    <a:gd name="connsiteY39" fmla="*/ 681037 h 2114550"/>
                    <a:gd name="connsiteX40" fmla="*/ 19050 w 1304925"/>
                    <a:gd name="connsiteY40" fmla="*/ 604837 h 2114550"/>
                    <a:gd name="connsiteX41" fmla="*/ 57150 w 1304925"/>
                    <a:gd name="connsiteY41" fmla="*/ 542925 h 2114550"/>
                    <a:gd name="connsiteX42" fmla="*/ 80963 w 1304925"/>
                    <a:gd name="connsiteY42" fmla="*/ 538162 h 2114550"/>
                    <a:gd name="connsiteX43" fmla="*/ 216694 w 1304925"/>
                    <a:gd name="connsiteY43" fmla="*/ 581025 h 2114550"/>
                    <a:gd name="connsiteX44" fmla="*/ 254794 w 1304925"/>
                    <a:gd name="connsiteY44" fmla="*/ 545306 h 2114550"/>
                    <a:gd name="connsiteX45" fmla="*/ 266700 w 1304925"/>
                    <a:gd name="connsiteY45" fmla="*/ 490537 h 2114550"/>
                    <a:gd name="connsiteX0" fmla="*/ 266700 w 1304925"/>
                    <a:gd name="connsiteY0" fmla="*/ 490537 h 2114550"/>
                    <a:gd name="connsiteX1" fmla="*/ 419100 w 1304925"/>
                    <a:gd name="connsiteY1" fmla="*/ 200025 h 2114550"/>
                    <a:gd name="connsiteX2" fmla="*/ 623888 w 1304925"/>
                    <a:gd name="connsiteY2" fmla="*/ 38100 h 2114550"/>
                    <a:gd name="connsiteX3" fmla="*/ 823913 w 1304925"/>
                    <a:gd name="connsiteY3" fmla="*/ 0 h 2114550"/>
                    <a:gd name="connsiteX4" fmla="*/ 933450 w 1304925"/>
                    <a:gd name="connsiteY4" fmla="*/ 47625 h 2114550"/>
                    <a:gd name="connsiteX5" fmla="*/ 1004888 w 1304925"/>
                    <a:gd name="connsiteY5" fmla="*/ 390525 h 2114550"/>
                    <a:gd name="connsiteX6" fmla="*/ 966788 w 1304925"/>
                    <a:gd name="connsiteY6" fmla="*/ 652462 h 2114550"/>
                    <a:gd name="connsiteX7" fmla="*/ 985838 w 1304925"/>
                    <a:gd name="connsiteY7" fmla="*/ 776287 h 2114550"/>
                    <a:gd name="connsiteX8" fmla="*/ 1147763 w 1304925"/>
                    <a:gd name="connsiteY8" fmla="*/ 1004887 h 2114550"/>
                    <a:gd name="connsiteX9" fmla="*/ 1295400 w 1304925"/>
                    <a:gd name="connsiteY9" fmla="*/ 1238250 h 2114550"/>
                    <a:gd name="connsiteX10" fmla="*/ 1304925 w 1304925"/>
                    <a:gd name="connsiteY10" fmla="*/ 1452562 h 2114550"/>
                    <a:gd name="connsiteX11" fmla="*/ 1233488 w 1304925"/>
                    <a:gd name="connsiteY11" fmla="*/ 1676400 h 2114550"/>
                    <a:gd name="connsiteX12" fmla="*/ 1190625 w 1304925"/>
                    <a:gd name="connsiteY12" fmla="*/ 1919287 h 2114550"/>
                    <a:gd name="connsiteX13" fmla="*/ 1095375 w 1304925"/>
                    <a:gd name="connsiteY13" fmla="*/ 2062162 h 2114550"/>
                    <a:gd name="connsiteX14" fmla="*/ 957263 w 1304925"/>
                    <a:gd name="connsiteY14" fmla="*/ 2100262 h 2114550"/>
                    <a:gd name="connsiteX15" fmla="*/ 790575 w 1304925"/>
                    <a:gd name="connsiteY15" fmla="*/ 2114550 h 2114550"/>
                    <a:gd name="connsiteX16" fmla="*/ 690563 w 1304925"/>
                    <a:gd name="connsiteY16" fmla="*/ 2033587 h 2114550"/>
                    <a:gd name="connsiteX17" fmla="*/ 523875 w 1304925"/>
                    <a:gd name="connsiteY17" fmla="*/ 1971675 h 2114550"/>
                    <a:gd name="connsiteX18" fmla="*/ 366713 w 1304925"/>
                    <a:gd name="connsiteY18" fmla="*/ 1919287 h 2114550"/>
                    <a:gd name="connsiteX19" fmla="*/ 266700 w 1304925"/>
                    <a:gd name="connsiteY19" fmla="*/ 1900237 h 2114550"/>
                    <a:gd name="connsiteX20" fmla="*/ 180975 w 1304925"/>
                    <a:gd name="connsiteY20" fmla="*/ 1876425 h 2114550"/>
                    <a:gd name="connsiteX21" fmla="*/ 90488 w 1304925"/>
                    <a:gd name="connsiteY21" fmla="*/ 1771650 h 2114550"/>
                    <a:gd name="connsiteX22" fmla="*/ 38100 w 1304925"/>
                    <a:gd name="connsiteY22" fmla="*/ 1676400 h 2114550"/>
                    <a:gd name="connsiteX23" fmla="*/ 9525 w 1304925"/>
                    <a:gd name="connsiteY23" fmla="*/ 1604962 h 2114550"/>
                    <a:gd name="connsiteX24" fmla="*/ 4763 w 1304925"/>
                    <a:gd name="connsiteY24" fmla="*/ 1557337 h 2114550"/>
                    <a:gd name="connsiteX25" fmla="*/ 38100 w 1304925"/>
                    <a:gd name="connsiteY25" fmla="*/ 1509712 h 2114550"/>
                    <a:gd name="connsiteX26" fmla="*/ 104775 w 1304925"/>
                    <a:gd name="connsiteY26" fmla="*/ 1538287 h 2114550"/>
                    <a:gd name="connsiteX27" fmla="*/ 157163 w 1304925"/>
                    <a:gd name="connsiteY27" fmla="*/ 1500187 h 2114550"/>
                    <a:gd name="connsiteX28" fmla="*/ 114300 w 1304925"/>
                    <a:gd name="connsiteY28" fmla="*/ 1452562 h 2114550"/>
                    <a:gd name="connsiteX29" fmla="*/ 90488 w 1304925"/>
                    <a:gd name="connsiteY29" fmla="*/ 1385887 h 2114550"/>
                    <a:gd name="connsiteX30" fmla="*/ 80963 w 1304925"/>
                    <a:gd name="connsiteY30" fmla="*/ 1323975 h 2114550"/>
                    <a:gd name="connsiteX31" fmla="*/ 80963 w 1304925"/>
                    <a:gd name="connsiteY31" fmla="*/ 1238250 h 2114550"/>
                    <a:gd name="connsiteX32" fmla="*/ 123825 w 1304925"/>
                    <a:gd name="connsiteY32" fmla="*/ 1133475 h 2114550"/>
                    <a:gd name="connsiteX33" fmla="*/ 166688 w 1304925"/>
                    <a:gd name="connsiteY33" fmla="*/ 1062037 h 2114550"/>
                    <a:gd name="connsiteX34" fmla="*/ 161925 w 1304925"/>
                    <a:gd name="connsiteY34" fmla="*/ 995362 h 2114550"/>
                    <a:gd name="connsiteX35" fmla="*/ 85725 w 1304925"/>
                    <a:gd name="connsiteY35" fmla="*/ 942975 h 2114550"/>
                    <a:gd name="connsiteX36" fmla="*/ 33338 w 1304925"/>
                    <a:gd name="connsiteY36" fmla="*/ 890587 h 2114550"/>
                    <a:gd name="connsiteX37" fmla="*/ 9525 w 1304925"/>
                    <a:gd name="connsiteY37" fmla="*/ 838200 h 2114550"/>
                    <a:gd name="connsiteX38" fmla="*/ 0 w 1304925"/>
                    <a:gd name="connsiteY38" fmla="*/ 766762 h 2114550"/>
                    <a:gd name="connsiteX39" fmla="*/ 9525 w 1304925"/>
                    <a:gd name="connsiteY39" fmla="*/ 681037 h 2114550"/>
                    <a:gd name="connsiteX40" fmla="*/ 19050 w 1304925"/>
                    <a:gd name="connsiteY40" fmla="*/ 604837 h 2114550"/>
                    <a:gd name="connsiteX41" fmla="*/ 57150 w 1304925"/>
                    <a:gd name="connsiteY41" fmla="*/ 542925 h 2114550"/>
                    <a:gd name="connsiteX42" fmla="*/ 128588 w 1304925"/>
                    <a:gd name="connsiteY42" fmla="*/ 621506 h 2114550"/>
                    <a:gd name="connsiteX43" fmla="*/ 216694 w 1304925"/>
                    <a:gd name="connsiteY43" fmla="*/ 581025 h 2114550"/>
                    <a:gd name="connsiteX44" fmla="*/ 254794 w 1304925"/>
                    <a:gd name="connsiteY44" fmla="*/ 545306 h 2114550"/>
                    <a:gd name="connsiteX45" fmla="*/ 266700 w 1304925"/>
                    <a:gd name="connsiteY45" fmla="*/ 490537 h 2114550"/>
                    <a:gd name="connsiteX0" fmla="*/ 266700 w 1304925"/>
                    <a:gd name="connsiteY0" fmla="*/ 490537 h 2114550"/>
                    <a:gd name="connsiteX1" fmla="*/ 419100 w 1304925"/>
                    <a:gd name="connsiteY1" fmla="*/ 200025 h 2114550"/>
                    <a:gd name="connsiteX2" fmla="*/ 623888 w 1304925"/>
                    <a:gd name="connsiteY2" fmla="*/ 38100 h 2114550"/>
                    <a:gd name="connsiteX3" fmla="*/ 823913 w 1304925"/>
                    <a:gd name="connsiteY3" fmla="*/ 0 h 2114550"/>
                    <a:gd name="connsiteX4" fmla="*/ 933450 w 1304925"/>
                    <a:gd name="connsiteY4" fmla="*/ 47625 h 2114550"/>
                    <a:gd name="connsiteX5" fmla="*/ 1004888 w 1304925"/>
                    <a:gd name="connsiteY5" fmla="*/ 390525 h 2114550"/>
                    <a:gd name="connsiteX6" fmla="*/ 966788 w 1304925"/>
                    <a:gd name="connsiteY6" fmla="*/ 652462 h 2114550"/>
                    <a:gd name="connsiteX7" fmla="*/ 985838 w 1304925"/>
                    <a:gd name="connsiteY7" fmla="*/ 776287 h 2114550"/>
                    <a:gd name="connsiteX8" fmla="*/ 1147763 w 1304925"/>
                    <a:gd name="connsiteY8" fmla="*/ 1004887 h 2114550"/>
                    <a:gd name="connsiteX9" fmla="*/ 1295400 w 1304925"/>
                    <a:gd name="connsiteY9" fmla="*/ 1238250 h 2114550"/>
                    <a:gd name="connsiteX10" fmla="*/ 1304925 w 1304925"/>
                    <a:gd name="connsiteY10" fmla="*/ 1452562 h 2114550"/>
                    <a:gd name="connsiteX11" fmla="*/ 1233488 w 1304925"/>
                    <a:gd name="connsiteY11" fmla="*/ 1676400 h 2114550"/>
                    <a:gd name="connsiteX12" fmla="*/ 1190625 w 1304925"/>
                    <a:gd name="connsiteY12" fmla="*/ 1919287 h 2114550"/>
                    <a:gd name="connsiteX13" fmla="*/ 1095375 w 1304925"/>
                    <a:gd name="connsiteY13" fmla="*/ 2062162 h 2114550"/>
                    <a:gd name="connsiteX14" fmla="*/ 957263 w 1304925"/>
                    <a:gd name="connsiteY14" fmla="*/ 2100262 h 2114550"/>
                    <a:gd name="connsiteX15" fmla="*/ 790575 w 1304925"/>
                    <a:gd name="connsiteY15" fmla="*/ 2114550 h 2114550"/>
                    <a:gd name="connsiteX16" fmla="*/ 690563 w 1304925"/>
                    <a:gd name="connsiteY16" fmla="*/ 2033587 h 2114550"/>
                    <a:gd name="connsiteX17" fmla="*/ 523875 w 1304925"/>
                    <a:gd name="connsiteY17" fmla="*/ 1971675 h 2114550"/>
                    <a:gd name="connsiteX18" fmla="*/ 366713 w 1304925"/>
                    <a:gd name="connsiteY18" fmla="*/ 1919287 h 2114550"/>
                    <a:gd name="connsiteX19" fmla="*/ 266700 w 1304925"/>
                    <a:gd name="connsiteY19" fmla="*/ 1900237 h 2114550"/>
                    <a:gd name="connsiteX20" fmla="*/ 180975 w 1304925"/>
                    <a:gd name="connsiteY20" fmla="*/ 1876425 h 2114550"/>
                    <a:gd name="connsiteX21" fmla="*/ 90488 w 1304925"/>
                    <a:gd name="connsiteY21" fmla="*/ 1771650 h 2114550"/>
                    <a:gd name="connsiteX22" fmla="*/ 38100 w 1304925"/>
                    <a:gd name="connsiteY22" fmla="*/ 1676400 h 2114550"/>
                    <a:gd name="connsiteX23" fmla="*/ 9525 w 1304925"/>
                    <a:gd name="connsiteY23" fmla="*/ 1604962 h 2114550"/>
                    <a:gd name="connsiteX24" fmla="*/ 4763 w 1304925"/>
                    <a:gd name="connsiteY24" fmla="*/ 1557337 h 2114550"/>
                    <a:gd name="connsiteX25" fmla="*/ 38100 w 1304925"/>
                    <a:gd name="connsiteY25" fmla="*/ 1509712 h 2114550"/>
                    <a:gd name="connsiteX26" fmla="*/ 104775 w 1304925"/>
                    <a:gd name="connsiteY26" fmla="*/ 1538287 h 2114550"/>
                    <a:gd name="connsiteX27" fmla="*/ 157163 w 1304925"/>
                    <a:gd name="connsiteY27" fmla="*/ 1500187 h 2114550"/>
                    <a:gd name="connsiteX28" fmla="*/ 114300 w 1304925"/>
                    <a:gd name="connsiteY28" fmla="*/ 1452562 h 2114550"/>
                    <a:gd name="connsiteX29" fmla="*/ 90488 w 1304925"/>
                    <a:gd name="connsiteY29" fmla="*/ 1385887 h 2114550"/>
                    <a:gd name="connsiteX30" fmla="*/ 80963 w 1304925"/>
                    <a:gd name="connsiteY30" fmla="*/ 1323975 h 2114550"/>
                    <a:gd name="connsiteX31" fmla="*/ 80963 w 1304925"/>
                    <a:gd name="connsiteY31" fmla="*/ 1238250 h 2114550"/>
                    <a:gd name="connsiteX32" fmla="*/ 123825 w 1304925"/>
                    <a:gd name="connsiteY32" fmla="*/ 1133475 h 2114550"/>
                    <a:gd name="connsiteX33" fmla="*/ 166688 w 1304925"/>
                    <a:gd name="connsiteY33" fmla="*/ 1062037 h 2114550"/>
                    <a:gd name="connsiteX34" fmla="*/ 161925 w 1304925"/>
                    <a:gd name="connsiteY34" fmla="*/ 995362 h 2114550"/>
                    <a:gd name="connsiteX35" fmla="*/ 85725 w 1304925"/>
                    <a:gd name="connsiteY35" fmla="*/ 942975 h 2114550"/>
                    <a:gd name="connsiteX36" fmla="*/ 33338 w 1304925"/>
                    <a:gd name="connsiteY36" fmla="*/ 890587 h 2114550"/>
                    <a:gd name="connsiteX37" fmla="*/ 9525 w 1304925"/>
                    <a:gd name="connsiteY37" fmla="*/ 838200 h 2114550"/>
                    <a:gd name="connsiteX38" fmla="*/ 0 w 1304925"/>
                    <a:gd name="connsiteY38" fmla="*/ 766762 h 2114550"/>
                    <a:gd name="connsiteX39" fmla="*/ 9525 w 1304925"/>
                    <a:gd name="connsiteY39" fmla="*/ 681037 h 2114550"/>
                    <a:gd name="connsiteX40" fmla="*/ 19050 w 1304925"/>
                    <a:gd name="connsiteY40" fmla="*/ 604837 h 2114550"/>
                    <a:gd name="connsiteX41" fmla="*/ 95250 w 1304925"/>
                    <a:gd name="connsiteY41" fmla="*/ 650081 h 2114550"/>
                    <a:gd name="connsiteX42" fmla="*/ 128588 w 1304925"/>
                    <a:gd name="connsiteY42" fmla="*/ 621506 h 2114550"/>
                    <a:gd name="connsiteX43" fmla="*/ 216694 w 1304925"/>
                    <a:gd name="connsiteY43" fmla="*/ 581025 h 2114550"/>
                    <a:gd name="connsiteX44" fmla="*/ 254794 w 1304925"/>
                    <a:gd name="connsiteY44" fmla="*/ 545306 h 2114550"/>
                    <a:gd name="connsiteX45" fmla="*/ 266700 w 1304925"/>
                    <a:gd name="connsiteY45" fmla="*/ 490537 h 2114550"/>
                    <a:gd name="connsiteX0" fmla="*/ 266700 w 1304925"/>
                    <a:gd name="connsiteY0" fmla="*/ 490537 h 2114550"/>
                    <a:gd name="connsiteX1" fmla="*/ 419100 w 1304925"/>
                    <a:gd name="connsiteY1" fmla="*/ 200025 h 2114550"/>
                    <a:gd name="connsiteX2" fmla="*/ 623888 w 1304925"/>
                    <a:gd name="connsiteY2" fmla="*/ 38100 h 2114550"/>
                    <a:gd name="connsiteX3" fmla="*/ 823913 w 1304925"/>
                    <a:gd name="connsiteY3" fmla="*/ 0 h 2114550"/>
                    <a:gd name="connsiteX4" fmla="*/ 933450 w 1304925"/>
                    <a:gd name="connsiteY4" fmla="*/ 47625 h 2114550"/>
                    <a:gd name="connsiteX5" fmla="*/ 1004888 w 1304925"/>
                    <a:gd name="connsiteY5" fmla="*/ 390525 h 2114550"/>
                    <a:gd name="connsiteX6" fmla="*/ 966788 w 1304925"/>
                    <a:gd name="connsiteY6" fmla="*/ 652462 h 2114550"/>
                    <a:gd name="connsiteX7" fmla="*/ 985838 w 1304925"/>
                    <a:gd name="connsiteY7" fmla="*/ 776287 h 2114550"/>
                    <a:gd name="connsiteX8" fmla="*/ 1147763 w 1304925"/>
                    <a:gd name="connsiteY8" fmla="*/ 1004887 h 2114550"/>
                    <a:gd name="connsiteX9" fmla="*/ 1295400 w 1304925"/>
                    <a:gd name="connsiteY9" fmla="*/ 1238250 h 2114550"/>
                    <a:gd name="connsiteX10" fmla="*/ 1304925 w 1304925"/>
                    <a:gd name="connsiteY10" fmla="*/ 1452562 h 2114550"/>
                    <a:gd name="connsiteX11" fmla="*/ 1233488 w 1304925"/>
                    <a:gd name="connsiteY11" fmla="*/ 1676400 h 2114550"/>
                    <a:gd name="connsiteX12" fmla="*/ 1190625 w 1304925"/>
                    <a:gd name="connsiteY12" fmla="*/ 1919287 h 2114550"/>
                    <a:gd name="connsiteX13" fmla="*/ 1095375 w 1304925"/>
                    <a:gd name="connsiteY13" fmla="*/ 2062162 h 2114550"/>
                    <a:gd name="connsiteX14" fmla="*/ 957263 w 1304925"/>
                    <a:gd name="connsiteY14" fmla="*/ 2100262 h 2114550"/>
                    <a:gd name="connsiteX15" fmla="*/ 790575 w 1304925"/>
                    <a:gd name="connsiteY15" fmla="*/ 2114550 h 2114550"/>
                    <a:gd name="connsiteX16" fmla="*/ 690563 w 1304925"/>
                    <a:gd name="connsiteY16" fmla="*/ 2033587 h 2114550"/>
                    <a:gd name="connsiteX17" fmla="*/ 523875 w 1304925"/>
                    <a:gd name="connsiteY17" fmla="*/ 1971675 h 2114550"/>
                    <a:gd name="connsiteX18" fmla="*/ 366713 w 1304925"/>
                    <a:gd name="connsiteY18" fmla="*/ 1919287 h 2114550"/>
                    <a:gd name="connsiteX19" fmla="*/ 266700 w 1304925"/>
                    <a:gd name="connsiteY19" fmla="*/ 1900237 h 2114550"/>
                    <a:gd name="connsiteX20" fmla="*/ 180975 w 1304925"/>
                    <a:gd name="connsiteY20" fmla="*/ 1876425 h 2114550"/>
                    <a:gd name="connsiteX21" fmla="*/ 90488 w 1304925"/>
                    <a:gd name="connsiteY21" fmla="*/ 1771650 h 2114550"/>
                    <a:gd name="connsiteX22" fmla="*/ 38100 w 1304925"/>
                    <a:gd name="connsiteY22" fmla="*/ 1676400 h 2114550"/>
                    <a:gd name="connsiteX23" fmla="*/ 9525 w 1304925"/>
                    <a:gd name="connsiteY23" fmla="*/ 1604962 h 2114550"/>
                    <a:gd name="connsiteX24" fmla="*/ 4763 w 1304925"/>
                    <a:gd name="connsiteY24" fmla="*/ 1557337 h 2114550"/>
                    <a:gd name="connsiteX25" fmla="*/ 38100 w 1304925"/>
                    <a:gd name="connsiteY25" fmla="*/ 1509712 h 2114550"/>
                    <a:gd name="connsiteX26" fmla="*/ 104775 w 1304925"/>
                    <a:gd name="connsiteY26" fmla="*/ 1538287 h 2114550"/>
                    <a:gd name="connsiteX27" fmla="*/ 157163 w 1304925"/>
                    <a:gd name="connsiteY27" fmla="*/ 1500187 h 2114550"/>
                    <a:gd name="connsiteX28" fmla="*/ 114300 w 1304925"/>
                    <a:gd name="connsiteY28" fmla="*/ 1452562 h 2114550"/>
                    <a:gd name="connsiteX29" fmla="*/ 90488 w 1304925"/>
                    <a:gd name="connsiteY29" fmla="*/ 1385887 h 2114550"/>
                    <a:gd name="connsiteX30" fmla="*/ 80963 w 1304925"/>
                    <a:gd name="connsiteY30" fmla="*/ 1323975 h 2114550"/>
                    <a:gd name="connsiteX31" fmla="*/ 80963 w 1304925"/>
                    <a:gd name="connsiteY31" fmla="*/ 1238250 h 2114550"/>
                    <a:gd name="connsiteX32" fmla="*/ 123825 w 1304925"/>
                    <a:gd name="connsiteY32" fmla="*/ 1133475 h 2114550"/>
                    <a:gd name="connsiteX33" fmla="*/ 166688 w 1304925"/>
                    <a:gd name="connsiteY33" fmla="*/ 1062037 h 2114550"/>
                    <a:gd name="connsiteX34" fmla="*/ 161925 w 1304925"/>
                    <a:gd name="connsiteY34" fmla="*/ 995362 h 2114550"/>
                    <a:gd name="connsiteX35" fmla="*/ 85725 w 1304925"/>
                    <a:gd name="connsiteY35" fmla="*/ 942975 h 2114550"/>
                    <a:gd name="connsiteX36" fmla="*/ 33338 w 1304925"/>
                    <a:gd name="connsiteY36" fmla="*/ 890587 h 2114550"/>
                    <a:gd name="connsiteX37" fmla="*/ 9525 w 1304925"/>
                    <a:gd name="connsiteY37" fmla="*/ 838200 h 2114550"/>
                    <a:gd name="connsiteX38" fmla="*/ 0 w 1304925"/>
                    <a:gd name="connsiteY38" fmla="*/ 766762 h 2114550"/>
                    <a:gd name="connsiteX39" fmla="*/ 9525 w 1304925"/>
                    <a:gd name="connsiteY39" fmla="*/ 681037 h 2114550"/>
                    <a:gd name="connsiteX40" fmla="*/ 95250 w 1304925"/>
                    <a:gd name="connsiteY40" fmla="*/ 690562 h 2114550"/>
                    <a:gd name="connsiteX41" fmla="*/ 95250 w 1304925"/>
                    <a:gd name="connsiteY41" fmla="*/ 650081 h 2114550"/>
                    <a:gd name="connsiteX42" fmla="*/ 128588 w 1304925"/>
                    <a:gd name="connsiteY42" fmla="*/ 621506 h 2114550"/>
                    <a:gd name="connsiteX43" fmla="*/ 216694 w 1304925"/>
                    <a:gd name="connsiteY43" fmla="*/ 581025 h 2114550"/>
                    <a:gd name="connsiteX44" fmla="*/ 254794 w 1304925"/>
                    <a:gd name="connsiteY44" fmla="*/ 545306 h 2114550"/>
                    <a:gd name="connsiteX45" fmla="*/ 266700 w 1304925"/>
                    <a:gd name="connsiteY45" fmla="*/ 490537 h 2114550"/>
                    <a:gd name="connsiteX0" fmla="*/ 266700 w 1304925"/>
                    <a:gd name="connsiteY0" fmla="*/ 490537 h 2114550"/>
                    <a:gd name="connsiteX1" fmla="*/ 419100 w 1304925"/>
                    <a:gd name="connsiteY1" fmla="*/ 200025 h 2114550"/>
                    <a:gd name="connsiteX2" fmla="*/ 623888 w 1304925"/>
                    <a:gd name="connsiteY2" fmla="*/ 38100 h 2114550"/>
                    <a:gd name="connsiteX3" fmla="*/ 823913 w 1304925"/>
                    <a:gd name="connsiteY3" fmla="*/ 0 h 2114550"/>
                    <a:gd name="connsiteX4" fmla="*/ 933450 w 1304925"/>
                    <a:gd name="connsiteY4" fmla="*/ 47625 h 2114550"/>
                    <a:gd name="connsiteX5" fmla="*/ 1004888 w 1304925"/>
                    <a:gd name="connsiteY5" fmla="*/ 390525 h 2114550"/>
                    <a:gd name="connsiteX6" fmla="*/ 966788 w 1304925"/>
                    <a:gd name="connsiteY6" fmla="*/ 652462 h 2114550"/>
                    <a:gd name="connsiteX7" fmla="*/ 985838 w 1304925"/>
                    <a:gd name="connsiteY7" fmla="*/ 776287 h 2114550"/>
                    <a:gd name="connsiteX8" fmla="*/ 1147763 w 1304925"/>
                    <a:gd name="connsiteY8" fmla="*/ 1004887 h 2114550"/>
                    <a:gd name="connsiteX9" fmla="*/ 1295400 w 1304925"/>
                    <a:gd name="connsiteY9" fmla="*/ 1238250 h 2114550"/>
                    <a:gd name="connsiteX10" fmla="*/ 1304925 w 1304925"/>
                    <a:gd name="connsiteY10" fmla="*/ 1452562 h 2114550"/>
                    <a:gd name="connsiteX11" fmla="*/ 1233488 w 1304925"/>
                    <a:gd name="connsiteY11" fmla="*/ 1676400 h 2114550"/>
                    <a:gd name="connsiteX12" fmla="*/ 1190625 w 1304925"/>
                    <a:gd name="connsiteY12" fmla="*/ 1919287 h 2114550"/>
                    <a:gd name="connsiteX13" fmla="*/ 1095375 w 1304925"/>
                    <a:gd name="connsiteY13" fmla="*/ 2062162 h 2114550"/>
                    <a:gd name="connsiteX14" fmla="*/ 957263 w 1304925"/>
                    <a:gd name="connsiteY14" fmla="*/ 2100262 h 2114550"/>
                    <a:gd name="connsiteX15" fmla="*/ 790575 w 1304925"/>
                    <a:gd name="connsiteY15" fmla="*/ 2114550 h 2114550"/>
                    <a:gd name="connsiteX16" fmla="*/ 690563 w 1304925"/>
                    <a:gd name="connsiteY16" fmla="*/ 2033587 h 2114550"/>
                    <a:gd name="connsiteX17" fmla="*/ 523875 w 1304925"/>
                    <a:gd name="connsiteY17" fmla="*/ 1971675 h 2114550"/>
                    <a:gd name="connsiteX18" fmla="*/ 366713 w 1304925"/>
                    <a:gd name="connsiteY18" fmla="*/ 1919287 h 2114550"/>
                    <a:gd name="connsiteX19" fmla="*/ 266700 w 1304925"/>
                    <a:gd name="connsiteY19" fmla="*/ 1900237 h 2114550"/>
                    <a:gd name="connsiteX20" fmla="*/ 180975 w 1304925"/>
                    <a:gd name="connsiteY20" fmla="*/ 1876425 h 2114550"/>
                    <a:gd name="connsiteX21" fmla="*/ 90488 w 1304925"/>
                    <a:gd name="connsiteY21" fmla="*/ 1771650 h 2114550"/>
                    <a:gd name="connsiteX22" fmla="*/ 38100 w 1304925"/>
                    <a:gd name="connsiteY22" fmla="*/ 1676400 h 2114550"/>
                    <a:gd name="connsiteX23" fmla="*/ 9525 w 1304925"/>
                    <a:gd name="connsiteY23" fmla="*/ 1604962 h 2114550"/>
                    <a:gd name="connsiteX24" fmla="*/ 4763 w 1304925"/>
                    <a:gd name="connsiteY24" fmla="*/ 1557337 h 2114550"/>
                    <a:gd name="connsiteX25" fmla="*/ 38100 w 1304925"/>
                    <a:gd name="connsiteY25" fmla="*/ 1509712 h 2114550"/>
                    <a:gd name="connsiteX26" fmla="*/ 104775 w 1304925"/>
                    <a:gd name="connsiteY26" fmla="*/ 1538287 h 2114550"/>
                    <a:gd name="connsiteX27" fmla="*/ 157163 w 1304925"/>
                    <a:gd name="connsiteY27" fmla="*/ 1500187 h 2114550"/>
                    <a:gd name="connsiteX28" fmla="*/ 114300 w 1304925"/>
                    <a:gd name="connsiteY28" fmla="*/ 1452562 h 2114550"/>
                    <a:gd name="connsiteX29" fmla="*/ 90488 w 1304925"/>
                    <a:gd name="connsiteY29" fmla="*/ 1385887 h 2114550"/>
                    <a:gd name="connsiteX30" fmla="*/ 80963 w 1304925"/>
                    <a:gd name="connsiteY30" fmla="*/ 1323975 h 2114550"/>
                    <a:gd name="connsiteX31" fmla="*/ 80963 w 1304925"/>
                    <a:gd name="connsiteY31" fmla="*/ 1238250 h 2114550"/>
                    <a:gd name="connsiteX32" fmla="*/ 123825 w 1304925"/>
                    <a:gd name="connsiteY32" fmla="*/ 1133475 h 2114550"/>
                    <a:gd name="connsiteX33" fmla="*/ 166688 w 1304925"/>
                    <a:gd name="connsiteY33" fmla="*/ 1062037 h 2114550"/>
                    <a:gd name="connsiteX34" fmla="*/ 161925 w 1304925"/>
                    <a:gd name="connsiteY34" fmla="*/ 995362 h 2114550"/>
                    <a:gd name="connsiteX35" fmla="*/ 85725 w 1304925"/>
                    <a:gd name="connsiteY35" fmla="*/ 942975 h 2114550"/>
                    <a:gd name="connsiteX36" fmla="*/ 33338 w 1304925"/>
                    <a:gd name="connsiteY36" fmla="*/ 890587 h 2114550"/>
                    <a:gd name="connsiteX37" fmla="*/ 9525 w 1304925"/>
                    <a:gd name="connsiteY37" fmla="*/ 838200 h 2114550"/>
                    <a:gd name="connsiteX38" fmla="*/ 0 w 1304925"/>
                    <a:gd name="connsiteY38" fmla="*/ 766762 h 2114550"/>
                    <a:gd name="connsiteX39" fmla="*/ 114300 w 1304925"/>
                    <a:gd name="connsiteY39" fmla="*/ 738187 h 2114550"/>
                    <a:gd name="connsiteX40" fmla="*/ 95250 w 1304925"/>
                    <a:gd name="connsiteY40" fmla="*/ 690562 h 2114550"/>
                    <a:gd name="connsiteX41" fmla="*/ 95250 w 1304925"/>
                    <a:gd name="connsiteY41" fmla="*/ 650081 h 2114550"/>
                    <a:gd name="connsiteX42" fmla="*/ 128588 w 1304925"/>
                    <a:gd name="connsiteY42" fmla="*/ 621506 h 2114550"/>
                    <a:gd name="connsiteX43" fmla="*/ 216694 w 1304925"/>
                    <a:gd name="connsiteY43" fmla="*/ 581025 h 2114550"/>
                    <a:gd name="connsiteX44" fmla="*/ 254794 w 1304925"/>
                    <a:gd name="connsiteY44" fmla="*/ 545306 h 2114550"/>
                    <a:gd name="connsiteX45" fmla="*/ 266700 w 1304925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85725 w 1300162"/>
                    <a:gd name="connsiteY29" fmla="*/ 1385887 h 2114550"/>
                    <a:gd name="connsiteX30" fmla="*/ 76200 w 1300162"/>
                    <a:gd name="connsiteY30" fmla="*/ 1323975 h 2114550"/>
                    <a:gd name="connsiteX31" fmla="*/ 76200 w 1300162"/>
                    <a:gd name="connsiteY31" fmla="*/ 1238250 h 2114550"/>
                    <a:gd name="connsiteX32" fmla="*/ 119062 w 1300162"/>
                    <a:gd name="connsiteY32" fmla="*/ 1133475 h 2114550"/>
                    <a:gd name="connsiteX33" fmla="*/ 161925 w 1300162"/>
                    <a:gd name="connsiteY33" fmla="*/ 1062037 h 2114550"/>
                    <a:gd name="connsiteX34" fmla="*/ 157162 w 1300162"/>
                    <a:gd name="connsiteY34" fmla="*/ 995362 h 2114550"/>
                    <a:gd name="connsiteX35" fmla="*/ 80962 w 1300162"/>
                    <a:gd name="connsiteY35" fmla="*/ 942975 h 2114550"/>
                    <a:gd name="connsiteX36" fmla="*/ 28575 w 1300162"/>
                    <a:gd name="connsiteY36" fmla="*/ 890587 h 2114550"/>
                    <a:gd name="connsiteX37" fmla="*/ 4762 w 1300162"/>
                    <a:gd name="connsiteY37" fmla="*/ 838200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85725 w 1300162"/>
                    <a:gd name="connsiteY29" fmla="*/ 1385887 h 2114550"/>
                    <a:gd name="connsiteX30" fmla="*/ 76200 w 1300162"/>
                    <a:gd name="connsiteY30" fmla="*/ 1323975 h 2114550"/>
                    <a:gd name="connsiteX31" fmla="*/ 76200 w 1300162"/>
                    <a:gd name="connsiteY31" fmla="*/ 1238250 h 2114550"/>
                    <a:gd name="connsiteX32" fmla="*/ 119062 w 1300162"/>
                    <a:gd name="connsiteY32" fmla="*/ 1133475 h 2114550"/>
                    <a:gd name="connsiteX33" fmla="*/ 161925 w 1300162"/>
                    <a:gd name="connsiteY33" fmla="*/ 1062037 h 2114550"/>
                    <a:gd name="connsiteX34" fmla="*/ 157162 w 1300162"/>
                    <a:gd name="connsiteY34" fmla="*/ 995362 h 2114550"/>
                    <a:gd name="connsiteX35" fmla="*/ 80962 w 1300162"/>
                    <a:gd name="connsiteY35" fmla="*/ 942975 h 2114550"/>
                    <a:gd name="connsiteX36" fmla="*/ 28575 w 1300162"/>
                    <a:gd name="connsiteY36" fmla="*/ 890587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85725 w 1300162"/>
                    <a:gd name="connsiteY29" fmla="*/ 1385887 h 2114550"/>
                    <a:gd name="connsiteX30" fmla="*/ 76200 w 1300162"/>
                    <a:gd name="connsiteY30" fmla="*/ 1323975 h 2114550"/>
                    <a:gd name="connsiteX31" fmla="*/ 76200 w 1300162"/>
                    <a:gd name="connsiteY31" fmla="*/ 1238250 h 2114550"/>
                    <a:gd name="connsiteX32" fmla="*/ 119062 w 1300162"/>
                    <a:gd name="connsiteY32" fmla="*/ 1133475 h 2114550"/>
                    <a:gd name="connsiteX33" fmla="*/ 161925 w 1300162"/>
                    <a:gd name="connsiteY33" fmla="*/ 1062037 h 2114550"/>
                    <a:gd name="connsiteX34" fmla="*/ 157162 w 1300162"/>
                    <a:gd name="connsiteY34" fmla="*/ 995362 h 2114550"/>
                    <a:gd name="connsiteX35" fmla="*/ 80962 w 1300162"/>
                    <a:gd name="connsiteY35" fmla="*/ 94297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85725 w 1300162"/>
                    <a:gd name="connsiteY29" fmla="*/ 1385887 h 2114550"/>
                    <a:gd name="connsiteX30" fmla="*/ 76200 w 1300162"/>
                    <a:gd name="connsiteY30" fmla="*/ 1323975 h 2114550"/>
                    <a:gd name="connsiteX31" fmla="*/ 76200 w 1300162"/>
                    <a:gd name="connsiteY31" fmla="*/ 1238250 h 2114550"/>
                    <a:gd name="connsiteX32" fmla="*/ 119062 w 1300162"/>
                    <a:gd name="connsiteY32" fmla="*/ 1133475 h 2114550"/>
                    <a:gd name="connsiteX33" fmla="*/ 161925 w 1300162"/>
                    <a:gd name="connsiteY33" fmla="*/ 1062037 h 2114550"/>
                    <a:gd name="connsiteX34" fmla="*/ 157162 w 1300162"/>
                    <a:gd name="connsiteY34" fmla="*/ 995362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85725 w 1300162"/>
                    <a:gd name="connsiteY29" fmla="*/ 1385887 h 2114550"/>
                    <a:gd name="connsiteX30" fmla="*/ 76200 w 1300162"/>
                    <a:gd name="connsiteY30" fmla="*/ 1323975 h 2114550"/>
                    <a:gd name="connsiteX31" fmla="*/ 76200 w 1300162"/>
                    <a:gd name="connsiteY31" fmla="*/ 1238250 h 2114550"/>
                    <a:gd name="connsiteX32" fmla="*/ 119062 w 1300162"/>
                    <a:gd name="connsiteY32" fmla="*/ 1133475 h 2114550"/>
                    <a:gd name="connsiteX33" fmla="*/ 161925 w 1300162"/>
                    <a:gd name="connsiteY33" fmla="*/ 1062037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85725 w 1300162"/>
                    <a:gd name="connsiteY29" fmla="*/ 1385887 h 2114550"/>
                    <a:gd name="connsiteX30" fmla="*/ 76200 w 1300162"/>
                    <a:gd name="connsiteY30" fmla="*/ 1323975 h 2114550"/>
                    <a:gd name="connsiteX31" fmla="*/ 76200 w 1300162"/>
                    <a:gd name="connsiteY31" fmla="*/ 1238250 h 2114550"/>
                    <a:gd name="connsiteX32" fmla="*/ 119062 w 1300162"/>
                    <a:gd name="connsiteY32" fmla="*/ 1133475 h 2114550"/>
                    <a:gd name="connsiteX33" fmla="*/ 254794 w 1300162"/>
                    <a:gd name="connsiteY33" fmla="*/ 1012031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85725 w 1300162"/>
                    <a:gd name="connsiteY29" fmla="*/ 1385887 h 2114550"/>
                    <a:gd name="connsiteX30" fmla="*/ 76200 w 1300162"/>
                    <a:gd name="connsiteY30" fmla="*/ 1323975 h 2114550"/>
                    <a:gd name="connsiteX31" fmla="*/ 76200 w 1300162"/>
                    <a:gd name="connsiteY31" fmla="*/ 1238250 h 2114550"/>
                    <a:gd name="connsiteX32" fmla="*/ 221455 w 1300162"/>
                    <a:gd name="connsiteY32" fmla="*/ 1047750 h 2114550"/>
                    <a:gd name="connsiteX33" fmla="*/ 254794 w 1300162"/>
                    <a:gd name="connsiteY33" fmla="*/ 1012031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85725 w 1300162"/>
                    <a:gd name="connsiteY29" fmla="*/ 1385887 h 2114550"/>
                    <a:gd name="connsiteX30" fmla="*/ 76200 w 1300162"/>
                    <a:gd name="connsiteY30" fmla="*/ 1323975 h 2114550"/>
                    <a:gd name="connsiteX31" fmla="*/ 214312 w 1300162"/>
                    <a:gd name="connsiteY31" fmla="*/ 1095375 h 2114550"/>
                    <a:gd name="connsiteX32" fmla="*/ 221455 w 1300162"/>
                    <a:gd name="connsiteY32" fmla="*/ 1047750 h 2114550"/>
                    <a:gd name="connsiteX33" fmla="*/ 254794 w 1300162"/>
                    <a:gd name="connsiteY33" fmla="*/ 1012031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85725 w 1300162"/>
                    <a:gd name="connsiteY29" fmla="*/ 1385887 h 2114550"/>
                    <a:gd name="connsiteX30" fmla="*/ 178594 w 1300162"/>
                    <a:gd name="connsiteY30" fmla="*/ 1169193 h 2114550"/>
                    <a:gd name="connsiteX31" fmla="*/ 214312 w 1300162"/>
                    <a:gd name="connsiteY31" fmla="*/ 1095375 h 2114550"/>
                    <a:gd name="connsiteX32" fmla="*/ 221455 w 1300162"/>
                    <a:gd name="connsiteY32" fmla="*/ 1047750 h 2114550"/>
                    <a:gd name="connsiteX33" fmla="*/ 254794 w 1300162"/>
                    <a:gd name="connsiteY33" fmla="*/ 1012031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09537 w 1300162"/>
                    <a:gd name="connsiteY28" fmla="*/ 1452562 h 2114550"/>
                    <a:gd name="connsiteX29" fmla="*/ 185738 w 1300162"/>
                    <a:gd name="connsiteY29" fmla="*/ 1235869 h 2114550"/>
                    <a:gd name="connsiteX30" fmla="*/ 178594 w 1300162"/>
                    <a:gd name="connsiteY30" fmla="*/ 1169193 h 2114550"/>
                    <a:gd name="connsiteX31" fmla="*/ 214312 w 1300162"/>
                    <a:gd name="connsiteY31" fmla="*/ 1095375 h 2114550"/>
                    <a:gd name="connsiteX32" fmla="*/ 221455 w 1300162"/>
                    <a:gd name="connsiteY32" fmla="*/ 1047750 h 2114550"/>
                    <a:gd name="connsiteX33" fmla="*/ 254794 w 1300162"/>
                    <a:gd name="connsiteY33" fmla="*/ 1012031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52400 w 1300162"/>
                    <a:gd name="connsiteY27" fmla="*/ 1500187 h 2114550"/>
                    <a:gd name="connsiteX28" fmla="*/ 152400 w 1300162"/>
                    <a:gd name="connsiteY28" fmla="*/ 1340644 h 2114550"/>
                    <a:gd name="connsiteX29" fmla="*/ 185738 w 1300162"/>
                    <a:gd name="connsiteY29" fmla="*/ 1235869 h 2114550"/>
                    <a:gd name="connsiteX30" fmla="*/ 178594 w 1300162"/>
                    <a:gd name="connsiteY30" fmla="*/ 1169193 h 2114550"/>
                    <a:gd name="connsiteX31" fmla="*/ 214312 w 1300162"/>
                    <a:gd name="connsiteY31" fmla="*/ 1095375 h 2114550"/>
                    <a:gd name="connsiteX32" fmla="*/ 221455 w 1300162"/>
                    <a:gd name="connsiteY32" fmla="*/ 1047750 h 2114550"/>
                    <a:gd name="connsiteX33" fmla="*/ 254794 w 1300162"/>
                    <a:gd name="connsiteY33" fmla="*/ 1012031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00012 w 1300162"/>
                    <a:gd name="connsiteY26" fmla="*/ 1538287 h 2114550"/>
                    <a:gd name="connsiteX27" fmla="*/ 195263 w 1300162"/>
                    <a:gd name="connsiteY27" fmla="*/ 1390650 h 2114550"/>
                    <a:gd name="connsiteX28" fmla="*/ 152400 w 1300162"/>
                    <a:gd name="connsiteY28" fmla="*/ 1340644 h 2114550"/>
                    <a:gd name="connsiteX29" fmla="*/ 185738 w 1300162"/>
                    <a:gd name="connsiteY29" fmla="*/ 1235869 h 2114550"/>
                    <a:gd name="connsiteX30" fmla="*/ 178594 w 1300162"/>
                    <a:gd name="connsiteY30" fmla="*/ 1169193 h 2114550"/>
                    <a:gd name="connsiteX31" fmla="*/ 214312 w 1300162"/>
                    <a:gd name="connsiteY31" fmla="*/ 1095375 h 2114550"/>
                    <a:gd name="connsiteX32" fmla="*/ 221455 w 1300162"/>
                    <a:gd name="connsiteY32" fmla="*/ 1047750 h 2114550"/>
                    <a:gd name="connsiteX33" fmla="*/ 254794 w 1300162"/>
                    <a:gd name="connsiteY33" fmla="*/ 1012031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33337 w 1300162"/>
                    <a:gd name="connsiteY25" fmla="*/ 1509712 h 2114550"/>
                    <a:gd name="connsiteX26" fmla="*/ 192880 w 1300162"/>
                    <a:gd name="connsiteY26" fmla="*/ 1428750 h 2114550"/>
                    <a:gd name="connsiteX27" fmla="*/ 195263 w 1300162"/>
                    <a:gd name="connsiteY27" fmla="*/ 1390650 h 2114550"/>
                    <a:gd name="connsiteX28" fmla="*/ 152400 w 1300162"/>
                    <a:gd name="connsiteY28" fmla="*/ 1340644 h 2114550"/>
                    <a:gd name="connsiteX29" fmla="*/ 185738 w 1300162"/>
                    <a:gd name="connsiteY29" fmla="*/ 1235869 h 2114550"/>
                    <a:gd name="connsiteX30" fmla="*/ 178594 w 1300162"/>
                    <a:gd name="connsiteY30" fmla="*/ 1169193 h 2114550"/>
                    <a:gd name="connsiteX31" fmla="*/ 214312 w 1300162"/>
                    <a:gd name="connsiteY31" fmla="*/ 1095375 h 2114550"/>
                    <a:gd name="connsiteX32" fmla="*/ 221455 w 1300162"/>
                    <a:gd name="connsiteY32" fmla="*/ 1047750 h 2114550"/>
                    <a:gd name="connsiteX33" fmla="*/ 254794 w 1300162"/>
                    <a:gd name="connsiteY33" fmla="*/ 1012031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61937 w 1300162"/>
                    <a:gd name="connsiteY0" fmla="*/ 490537 h 2114550"/>
                    <a:gd name="connsiteX1" fmla="*/ 414337 w 1300162"/>
                    <a:gd name="connsiteY1" fmla="*/ 200025 h 2114550"/>
                    <a:gd name="connsiteX2" fmla="*/ 619125 w 1300162"/>
                    <a:gd name="connsiteY2" fmla="*/ 38100 h 2114550"/>
                    <a:gd name="connsiteX3" fmla="*/ 819150 w 1300162"/>
                    <a:gd name="connsiteY3" fmla="*/ 0 h 2114550"/>
                    <a:gd name="connsiteX4" fmla="*/ 928687 w 1300162"/>
                    <a:gd name="connsiteY4" fmla="*/ 47625 h 2114550"/>
                    <a:gd name="connsiteX5" fmla="*/ 1000125 w 1300162"/>
                    <a:gd name="connsiteY5" fmla="*/ 390525 h 2114550"/>
                    <a:gd name="connsiteX6" fmla="*/ 962025 w 1300162"/>
                    <a:gd name="connsiteY6" fmla="*/ 652462 h 2114550"/>
                    <a:gd name="connsiteX7" fmla="*/ 981075 w 1300162"/>
                    <a:gd name="connsiteY7" fmla="*/ 776287 h 2114550"/>
                    <a:gd name="connsiteX8" fmla="*/ 1143000 w 1300162"/>
                    <a:gd name="connsiteY8" fmla="*/ 1004887 h 2114550"/>
                    <a:gd name="connsiteX9" fmla="*/ 1290637 w 1300162"/>
                    <a:gd name="connsiteY9" fmla="*/ 1238250 h 2114550"/>
                    <a:gd name="connsiteX10" fmla="*/ 1300162 w 1300162"/>
                    <a:gd name="connsiteY10" fmla="*/ 1452562 h 2114550"/>
                    <a:gd name="connsiteX11" fmla="*/ 1228725 w 1300162"/>
                    <a:gd name="connsiteY11" fmla="*/ 1676400 h 2114550"/>
                    <a:gd name="connsiteX12" fmla="*/ 1185862 w 1300162"/>
                    <a:gd name="connsiteY12" fmla="*/ 1919287 h 2114550"/>
                    <a:gd name="connsiteX13" fmla="*/ 1090612 w 1300162"/>
                    <a:gd name="connsiteY13" fmla="*/ 2062162 h 2114550"/>
                    <a:gd name="connsiteX14" fmla="*/ 952500 w 1300162"/>
                    <a:gd name="connsiteY14" fmla="*/ 2100262 h 2114550"/>
                    <a:gd name="connsiteX15" fmla="*/ 785812 w 1300162"/>
                    <a:gd name="connsiteY15" fmla="*/ 2114550 h 2114550"/>
                    <a:gd name="connsiteX16" fmla="*/ 685800 w 1300162"/>
                    <a:gd name="connsiteY16" fmla="*/ 2033587 h 2114550"/>
                    <a:gd name="connsiteX17" fmla="*/ 519112 w 1300162"/>
                    <a:gd name="connsiteY17" fmla="*/ 1971675 h 2114550"/>
                    <a:gd name="connsiteX18" fmla="*/ 361950 w 1300162"/>
                    <a:gd name="connsiteY18" fmla="*/ 1919287 h 2114550"/>
                    <a:gd name="connsiteX19" fmla="*/ 261937 w 1300162"/>
                    <a:gd name="connsiteY19" fmla="*/ 1900237 h 2114550"/>
                    <a:gd name="connsiteX20" fmla="*/ 176212 w 1300162"/>
                    <a:gd name="connsiteY20" fmla="*/ 1876425 h 2114550"/>
                    <a:gd name="connsiteX21" fmla="*/ 85725 w 1300162"/>
                    <a:gd name="connsiteY21" fmla="*/ 1771650 h 2114550"/>
                    <a:gd name="connsiteX22" fmla="*/ 33337 w 1300162"/>
                    <a:gd name="connsiteY22" fmla="*/ 1676400 h 2114550"/>
                    <a:gd name="connsiteX23" fmla="*/ 4762 w 1300162"/>
                    <a:gd name="connsiteY23" fmla="*/ 1604962 h 2114550"/>
                    <a:gd name="connsiteX24" fmla="*/ 0 w 1300162"/>
                    <a:gd name="connsiteY24" fmla="*/ 1557337 h 2114550"/>
                    <a:gd name="connsiteX25" fmla="*/ 159543 w 1300162"/>
                    <a:gd name="connsiteY25" fmla="*/ 1450181 h 2114550"/>
                    <a:gd name="connsiteX26" fmla="*/ 192880 w 1300162"/>
                    <a:gd name="connsiteY26" fmla="*/ 1428750 h 2114550"/>
                    <a:gd name="connsiteX27" fmla="*/ 195263 w 1300162"/>
                    <a:gd name="connsiteY27" fmla="*/ 1390650 h 2114550"/>
                    <a:gd name="connsiteX28" fmla="*/ 152400 w 1300162"/>
                    <a:gd name="connsiteY28" fmla="*/ 1340644 h 2114550"/>
                    <a:gd name="connsiteX29" fmla="*/ 185738 w 1300162"/>
                    <a:gd name="connsiteY29" fmla="*/ 1235869 h 2114550"/>
                    <a:gd name="connsiteX30" fmla="*/ 178594 w 1300162"/>
                    <a:gd name="connsiteY30" fmla="*/ 1169193 h 2114550"/>
                    <a:gd name="connsiteX31" fmla="*/ 214312 w 1300162"/>
                    <a:gd name="connsiteY31" fmla="*/ 1095375 h 2114550"/>
                    <a:gd name="connsiteX32" fmla="*/ 221455 w 1300162"/>
                    <a:gd name="connsiteY32" fmla="*/ 1047750 h 2114550"/>
                    <a:gd name="connsiteX33" fmla="*/ 254794 w 1300162"/>
                    <a:gd name="connsiteY33" fmla="*/ 1012031 h 2114550"/>
                    <a:gd name="connsiteX34" fmla="*/ 223837 w 1300162"/>
                    <a:gd name="connsiteY34" fmla="*/ 964406 h 2114550"/>
                    <a:gd name="connsiteX35" fmla="*/ 216694 w 1300162"/>
                    <a:gd name="connsiteY35" fmla="*/ 923925 h 2114550"/>
                    <a:gd name="connsiteX36" fmla="*/ 180975 w 1300162"/>
                    <a:gd name="connsiteY36" fmla="*/ 904875 h 2114550"/>
                    <a:gd name="connsiteX37" fmla="*/ 161924 w 1300162"/>
                    <a:gd name="connsiteY37" fmla="*/ 866775 h 2114550"/>
                    <a:gd name="connsiteX38" fmla="*/ 128587 w 1300162"/>
                    <a:gd name="connsiteY38" fmla="*/ 804862 h 2114550"/>
                    <a:gd name="connsiteX39" fmla="*/ 109537 w 1300162"/>
                    <a:gd name="connsiteY39" fmla="*/ 738187 h 2114550"/>
                    <a:gd name="connsiteX40" fmla="*/ 90487 w 1300162"/>
                    <a:gd name="connsiteY40" fmla="*/ 690562 h 2114550"/>
                    <a:gd name="connsiteX41" fmla="*/ 90487 w 1300162"/>
                    <a:gd name="connsiteY41" fmla="*/ 650081 h 2114550"/>
                    <a:gd name="connsiteX42" fmla="*/ 123825 w 1300162"/>
                    <a:gd name="connsiteY42" fmla="*/ 621506 h 2114550"/>
                    <a:gd name="connsiteX43" fmla="*/ 211931 w 1300162"/>
                    <a:gd name="connsiteY43" fmla="*/ 581025 h 2114550"/>
                    <a:gd name="connsiteX44" fmla="*/ 250031 w 1300162"/>
                    <a:gd name="connsiteY44" fmla="*/ 545306 h 2114550"/>
                    <a:gd name="connsiteX45" fmla="*/ 261937 w 1300162"/>
                    <a:gd name="connsiteY45" fmla="*/ 490537 h 2114550"/>
                    <a:gd name="connsiteX0" fmla="*/ 257175 w 1295400"/>
                    <a:gd name="connsiteY0" fmla="*/ 490537 h 2114550"/>
                    <a:gd name="connsiteX1" fmla="*/ 409575 w 1295400"/>
                    <a:gd name="connsiteY1" fmla="*/ 200025 h 2114550"/>
                    <a:gd name="connsiteX2" fmla="*/ 614363 w 1295400"/>
                    <a:gd name="connsiteY2" fmla="*/ 38100 h 2114550"/>
                    <a:gd name="connsiteX3" fmla="*/ 814388 w 1295400"/>
                    <a:gd name="connsiteY3" fmla="*/ 0 h 2114550"/>
                    <a:gd name="connsiteX4" fmla="*/ 923925 w 1295400"/>
                    <a:gd name="connsiteY4" fmla="*/ 47625 h 2114550"/>
                    <a:gd name="connsiteX5" fmla="*/ 995363 w 1295400"/>
                    <a:gd name="connsiteY5" fmla="*/ 390525 h 2114550"/>
                    <a:gd name="connsiteX6" fmla="*/ 957263 w 1295400"/>
                    <a:gd name="connsiteY6" fmla="*/ 652462 h 2114550"/>
                    <a:gd name="connsiteX7" fmla="*/ 976313 w 1295400"/>
                    <a:gd name="connsiteY7" fmla="*/ 776287 h 2114550"/>
                    <a:gd name="connsiteX8" fmla="*/ 1138238 w 1295400"/>
                    <a:gd name="connsiteY8" fmla="*/ 1004887 h 2114550"/>
                    <a:gd name="connsiteX9" fmla="*/ 1285875 w 1295400"/>
                    <a:gd name="connsiteY9" fmla="*/ 1238250 h 2114550"/>
                    <a:gd name="connsiteX10" fmla="*/ 1295400 w 1295400"/>
                    <a:gd name="connsiteY10" fmla="*/ 1452562 h 2114550"/>
                    <a:gd name="connsiteX11" fmla="*/ 1223963 w 1295400"/>
                    <a:gd name="connsiteY11" fmla="*/ 1676400 h 2114550"/>
                    <a:gd name="connsiteX12" fmla="*/ 1181100 w 1295400"/>
                    <a:gd name="connsiteY12" fmla="*/ 1919287 h 2114550"/>
                    <a:gd name="connsiteX13" fmla="*/ 1085850 w 1295400"/>
                    <a:gd name="connsiteY13" fmla="*/ 2062162 h 2114550"/>
                    <a:gd name="connsiteX14" fmla="*/ 947738 w 1295400"/>
                    <a:gd name="connsiteY14" fmla="*/ 2100262 h 2114550"/>
                    <a:gd name="connsiteX15" fmla="*/ 781050 w 1295400"/>
                    <a:gd name="connsiteY15" fmla="*/ 2114550 h 2114550"/>
                    <a:gd name="connsiteX16" fmla="*/ 681038 w 1295400"/>
                    <a:gd name="connsiteY16" fmla="*/ 2033587 h 2114550"/>
                    <a:gd name="connsiteX17" fmla="*/ 514350 w 1295400"/>
                    <a:gd name="connsiteY17" fmla="*/ 1971675 h 2114550"/>
                    <a:gd name="connsiteX18" fmla="*/ 357188 w 1295400"/>
                    <a:gd name="connsiteY18" fmla="*/ 1919287 h 2114550"/>
                    <a:gd name="connsiteX19" fmla="*/ 257175 w 1295400"/>
                    <a:gd name="connsiteY19" fmla="*/ 1900237 h 2114550"/>
                    <a:gd name="connsiteX20" fmla="*/ 171450 w 1295400"/>
                    <a:gd name="connsiteY20" fmla="*/ 1876425 h 2114550"/>
                    <a:gd name="connsiteX21" fmla="*/ 80963 w 1295400"/>
                    <a:gd name="connsiteY21" fmla="*/ 1771650 h 2114550"/>
                    <a:gd name="connsiteX22" fmla="*/ 28575 w 1295400"/>
                    <a:gd name="connsiteY22" fmla="*/ 1676400 h 2114550"/>
                    <a:gd name="connsiteX23" fmla="*/ 0 w 1295400"/>
                    <a:gd name="connsiteY23" fmla="*/ 1604962 h 2114550"/>
                    <a:gd name="connsiteX24" fmla="*/ 171450 w 1295400"/>
                    <a:gd name="connsiteY24" fmla="*/ 1597818 h 2114550"/>
                    <a:gd name="connsiteX25" fmla="*/ 154781 w 1295400"/>
                    <a:gd name="connsiteY25" fmla="*/ 1450181 h 2114550"/>
                    <a:gd name="connsiteX26" fmla="*/ 188118 w 1295400"/>
                    <a:gd name="connsiteY26" fmla="*/ 1428750 h 2114550"/>
                    <a:gd name="connsiteX27" fmla="*/ 190501 w 1295400"/>
                    <a:gd name="connsiteY27" fmla="*/ 1390650 h 2114550"/>
                    <a:gd name="connsiteX28" fmla="*/ 147638 w 1295400"/>
                    <a:gd name="connsiteY28" fmla="*/ 1340644 h 2114550"/>
                    <a:gd name="connsiteX29" fmla="*/ 180976 w 1295400"/>
                    <a:gd name="connsiteY29" fmla="*/ 1235869 h 2114550"/>
                    <a:gd name="connsiteX30" fmla="*/ 173832 w 1295400"/>
                    <a:gd name="connsiteY30" fmla="*/ 1169193 h 2114550"/>
                    <a:gd name="connsiteX31" fmla="*/ 209550 w 1295400"/>
                    <a:gd name="connsiteY31" fmla="*/ 1095375 h 2114550"/>
                    <a:gd name="connsiteX32" fmla="*/ 216693 w 1295400"/>
                    <a:gd name="connsiteY32" fmla="*/ 1047750 h 2114550"/>
                    <a:gd name="connsiteX33" fmla="*/ 250032 w 1295400"/>
                    <a:gd name="connsiteY33" fmla="*/ 1012031 h 2114550"/>
                    <a:gd name="connsiteX34" fmla="*/ 219075 w 1295400"/>
                    <a:gd name="connsiteY34" fmla="*/ 964406 h 2114550"/>
                    <a:gd name="connsiteX35" fmla="*/ 211932 w 1295400"/>
                    <a:gd name="connsiteY35" fmla="*/ 923925 h 2114550"/>
                    <a:gd name="connsiteX36" fmla="*/ 176213 w 1295400"/>
                    <a:gd name="connsiteY36" fmla="*/ 904875 h 2114550"/>
                    <a:gd name="connsiteX37" fmla="*/ 157162 w 1295400"/>
                    <a:gd name="connsiteY37" fmla="*/ 866775 h 2114550"/>
                    <a:gd name="connsiteX38" fmla="*/ 123825 w 1295400"/>
                    <a:gd name="connsiteY38" fmla="*/ 804862 h 2114550"/>
                    <a:gd name="connsiteX39" fmla="*/ 104775 w 1295400"/>
                    <a:gd name="connsiteY39" fmla="*/ 738187 h 2114550"/>
                    <a:gd name="connsiteX40" fmla="*/ 85725 w 1295400"/>
                    <a:gd name="connsiteY40" fmla="*/ 690562 h 2114550"/>
                    <a:gd name="connsiteX41" fmla="*/ 85725 w 1295400"/>
                    <a:gd name="connsiteY41" fmla="*/ 650081 h 2114550"/>
                    <a:gd name="connsiteX42" fmla="*/ 119063 w 1295400"/>
                    <a:gd name="connsiteY42" fmla="*/ 621506 h 2114550"/>
                    <a:gd name="connsiteX43" fmla="*/ 207169 w 1295400"/>
                    <a:gd name="connsiteY43" fmla="*/ 581025 h 2114550"/>
                    <a:gd name="connsiteX44" fmla="*/ 245269 w 1295400"/>
                    <a:gd name="connsiteY44" fmla="*/ 545306 h 2114550"/>
                    <a:gd name="connsiteX45" fmla="*/ 257175 w 1295400"/>
                    <a:gd name="connsiteY45" fmla="*/ 490537 h 2114550"/>
                    <a:gd name="connsiteX0" fmla="*/ 228600 w 1266825"/>
                    <a:gd name="connsiteY0" fmla="*/ 490537 h 2114550"/>
                    <a:gd name="connsiteX1" fmla="*/ 381000 w 1266825"/>
                    <a:gd name="connsiteY1" fmla="*/ 200025 h 2114550"/>
                    <a:gd name="connsiteX2" fmla="*/ 585788 w 1266825"/>
                    <a:gd name="connsiteY2" fmla="*/ 38100 h 2114550"/>
                    <a:gd name="connsiteX3" fmla="*/ 785813 w 1266825"/>
                    <a:gd name="connsiteY3" fmla="*/ 0 h 2114550"/>
                    <a:gd name="connsiteX4" fmla="*/ 895350 w 1266825"/>
                    <a:gd name="connsiteY4" fmla="*/ 47625 h 2114550"/>
                    <a:gd name="connsiteX5" fmla="*/ 966788 w 1266825"/>
                    <a:gd name="connsiteY5" fmla="*/ 390525 h 2114550"/>
                    <a:gd name="connsiteX6" fmla="*/ 928688 w 1266825"/>
                    <a:gd name="connsiteY6" fmla="*/ 652462 h 2114550"/>
                    <a:gd name="connsiteX7" fmla="*/ 947738 w 1266825"/>
                    <a:gd name="connsiteY7" fmla="*/ 776287 h 2114550"/>
                    <a:gd name="connsiteX8" fmla="*/ 1109663 w 1266825"/>
                    <a:gd name="connsiteY8" fmla="*/ 1004887 h 2114550"/>
                    <a:gd name="connsiteX9" fmla="*/ 1257300 w 1266825"/>
                    <a:gd name="connsiteY9" fmla="*/ 1238250 h 2114550"/>
                    <a:gd name="connsiteX10" fmla="*/ 1266825 w 1266825"/>
                    <a:gd name="connsiteY10" fmla="*/ 1452562 h 2114550"/>
                    <a:gd name="connsiteX11" fmla="*/ 1195388 w 1266825"/>
                    <a:gd name="connsiteY11" fmla="*/ 1676400 h 2114550"/>
                    <a:gd name="connsiteX12" fmla="*/ 1152525 w 1266825"/>
                    <a:gd name="connsiteY12" fmla="*/ 1919287 h 2114550"/>
                    <a:gd name="connsiteX13" fmla="*/ 1057275 w 1266825"/>
                    <a:gd name="connsiteY13" fmla="*/ 2062162 h 2114550"/>
                    <a:gd name="connsiteX14" fmla="*/ 919163 w 1266825"/>
                    <a:gd name="connsiteY14" fmla="*/ 2100262 h 2114550"/>
                    <a:gd name="connsiteX15" fmla="*/ 752475 w 1266825"/>
                    <a:gd name="connsiteY15" fmla="*/ 2114550 h 2114550"/>
                    <a:gd name="connsiteX16" fmla="*/ 652463 w 1266825"/>
                    <a:gd name="connsiteY16" fmla="*/ 2033587 h 2114550"/>
                    <a:gd name="connsiteX17" fmla="*/ 485775 w 1266825"/>
                    <a:gd name="connsiteY17" fmla="*/ 1971675 h 2114550"/>
                    <a:gd name="connsiteX18" fmla="*/ 328613 w 1266825"/>
                    <a:gd name="connsiteY18" fmla="*/ 1919287 h 2114550"/>
                    <a:gd name="connsiteX19" fmla="*/ 228600 w 1266825"/>
                    <a:gd name="connsiteY19" fmla="*/ 1900237 h 2114550"/>
                    <a:gd name="connsiteX20" fmla="*/ 142875 w 1266825"/>
                    <a:gd name="connsiteY20" fmla="*/ 1876425 h 2114550"/>
                    <a:gd name="connsiteX21" fmla="*/ 52388 w 1266825"/>
                    <a:gd name="connsiteY21" fmla="*/ 1771650 h 2114550"/>
                    <a:gd name="connsiteX22" fmla="*/ 0 w 1266825"/>
                    <a:gd name="connsiteY22" fmla="*/ 1676400 h 2114550"/>
                    <a:gd name="connsiteX23" fmla="*/ 126206 w 1266825"/>
                    <a:gd name="connsiteY23" fmla="*/ 1662112 h 2114550"/>
                    <a:gd name="connsiteX24" fmla="*/ 142875 w 1266825"/>
                    <a:gd name="connsiteY24" fmla="*/ 1597818 h 2114550"/>
                    <a:gd name="connsiteX25" fmla="*/ 126206 w 1266825"/>
                    <a:gd name="connsiteY25" fmla="*/ 1450181 h 2114550"/>
                    <a:gd name="connsiteX26" fmla="*/ 159543 w 1266825"/>
                    <a:gd name="connsiteY26" fmla="*/ 1428750 h 2114550"/>
                    <a:gd name="connsiteX27" fmla="*/ 161926 w 1266825"/>
                    <a:gd name="connsiteY27" fmla="*/ 1390650 h 2114550"/>
                    <a:gd name="connsiteX28" fmla="*/ 119063 w 1266825"/>
                    <a:gd name="connsiteY28" fmla="*/ 1340644 h 2114550"/>
                    <a:gd name="connsiteX29" fmla="*/ 152401 w 1266825"/>
                    <a:gd name="connsiteY29" fmla="*/ 1235869 h 2114550"/>
                    <a:gd name="connsiteX30" fmla="*/ 145257 w 1266825"/>
                    <a:gd name="connsiteY30" fmla="*/ 1169193 h 2114550"/>
                    <a:gd name="connsiteX31" fmla="*/ 180975 w 1266825"/>
                    <a:gd name="connsiteY31" fmla="*/ 1095375 h 2114550"/>
                    <a:gd name="connsiteX32" fmla="*/ 188118 w 1266825"/>
                    <a:gd name="connsiteY32" fmla="*/ 1047750 h 2114550"/>
                    <a:gd name="connsiteX33" fmla="*/ 221457 w 1266825"/>
                    <a:gd name="connsiteY33" fmla="*/ 1012031 h 2114550"/>
                    <a:gd name="connsiteX34" fmla="*/ 190500 w 1266825"/>
                    <a:gd name="connsiteY34" fmla="*/ 964406 h 2114550"/>
                    <a:gd name="connsiteX35" fmla="*/ 183357 w 1266825"/>
                    <a:gd name="connsiteY35" fmla="*/ 923925 h 2114550"/>
                    <a:gd name="connsiteX36" fmla="*/ 147638 w 1266825"/>
                    <a:gd name="connsiteY36" fmla="*/ 904875 h 2114550"/>
                    <a:gd name="connsiteX37" fmla="*/ 128587 w 1266825"/>
                    <a:gd name="connsiteY37" fmla="*/ 866775 h 2114550"/>
                    <a:gd name="connsiteX38" fmla="*/ 95250 w 1266825"/>
                    <a:gd name="connsiteY38" fmla="*/ 804862 h 2114550"/>
                    <a:gd name="connsiteX39" fmla="*/ 76200 w 1266825"/>
                    <a:gd name="connsiteY39" fmla="*/ 738187 h 2114550"/>
                    <a:gd name="connsiteX40" fmla="*/ 57150 w 1266825"/>
                    <a:gd name="connsiteY40" fmla="*/ 690562 h 2114550"/>
                    <a:gd name="connsiteX41" fmla="*/ 57150 w 1266825"/>
                    <a:gd name="connsiteY41" fmla="*/ 650081 h 2114550"/>
                    <a:gd name="connsiteX42" fmla="*/ 90488 w 1266825"/>
                    <a:gd name="connsiteY42" fmla="*/ 621506 h 2114550"/>
                    <a:gd name="connsiteX43" fmla="*/ 178594 w 1266825"/>
                    <a:gd name="connsiteY43" fmla="*/ 581025 h 2114550"/>
                    <a:gd name="connsiteX44" fmla="*/ 216694 w 1266825"/>
                    <a:gd name="connsiteY44" fmla="*/ 545306 h 2114550"/>
                    <a:gd name="connsiteX45" fmla="*/ 228600 w 1266825"/>
                    <a:gd name="connsiteY45" fmla="*/ 490537 h 2114550"/>
                    <a:gd name="connsiteX0" fmla="*/ 183357 w 1221582"/>
                    <a:gd name="connsiteY0" fmla="*/ 490537 h 2114550"/>
                    <a:gd name="connsiteX1" fmla="*/ 335757 w 1221582"/>
                    <a:gd name="connsiteY1" fmla="*/ 200025 h 2114550"/>
                    <a:gd name="connsiteX2" fmla="*/ 540545 w 1221582"/>
                    <a:gd name="connsiteY2" fmla="*/ 38100 h 2114550"/>
                    <a:gd name="connsiteX3" fmla="*/ 740570 w 1221582"/>
                    <a:gd name="connsiteY3" fmla="*/ 0 h 2114550"/>
                    <a:gd name="connsiteX4" fmla="*/ 850107 w 1221582"/>
                    <a:gd name="connsiteY4" fmla="*/ 47625 h 2114550"/>
                    <a:gd name="connsiteX5" fmla="*/ 921545 w 1221582"/>
                    <a:gd name="connsiteY5" fmla="*/ 390525 h 2114550"/>
                    <a:gd name="connsiteX6" fmla="*/ 883445 w 1221582"/>
                    <a:gd name="connsiteY6" fmla="*/ 652462 h 2114550"/>
                    <a:gd name="connsiteX7" fmla="*/ 902495 w 1221582"/>
                    <a:gd name="connsiteY7" fmla="*/ 776287 h 2114550"/>
                    <a:gd name="connsiteX8" fmla="*/ 1064420 w 1221582"/>
                    <a:gd name="connsiteY8" fmla="*/ 1004887 h 2114550"/>
                    <a:gd name="connsiteX9" fmla="*/ 1212057 w 1221582"/>
                    <a:gd name="connsiteY9" fmla="*/ 1238250 h 2114550"/>
                    <a:gd name="connsiteX10" fmla="*/ 1221582 w 1221582"/>
                    <a:gd name="connsiteY10" fmla="*/ 1452562 h 2114550"/>
                    <a:gd name="connsiteX11" fmla="*/ 1150145 w 1221582"/>
                    <a:gd name="connsiteY11" fmla="*/ 1676400 h 2114550"/>
                    <a:gd name="connsiteX12" fmla="*/ 1107282 w 1221582"/>
                    <a:gd name="connsiteY12" fmla="*/ 1919287 h 2114550"/>
                    <a:gd name="connsiteX13" fmla="*/ 1012032 w 1221582"/>
                    <a:gd name="connsiteY13" fmla="*/ 2062162 h 2114550"/>
                    <a:gd name="connsiteX14" fmla="*/ 873920 w 1221582"/>
                    <a:gd name="connsiteY14" fmla="*/ 2100262 h 2114550"/>
                    <a:gd name="connsiteX15" fmla="*/ 707232 w 1221582"/>
                    <a:gd name="connsiteY15" fmla="*/ 2114550 h 2114550"/>
                    <a:gd name="connsiteX16" fmla="*/ 607220 w 1221582"/>
                    <a:gd name="connsiteY16" fmla="*/ 2033587 h 2114550"/>
                    <a:gd name="connsiteX17" fmla="*/ 440532 w 1221582"/>
                    <a:gd name="connsiteY17" fmla="*/ 1971675 h 2114550"/>
                    <a:gd name="connsiteX18" fmla="*/ 283370 w 1221582"/>
                    <a:gd name="connsiteY18" fmla="*/ 1919287 h 2114550"/>
                    <a:gd name="connsiteX19" fmla="*/ 183357 w 1221582"/>
                    <a:gd name="connsiteY19" fmla="*/ 1900237 h 2114550"/>
                    <a:gd name="connsiteX20" fmla="*/ 97632 w 1221582"/>
                    <a:gd name="connsiteY20" fmla="*/ 1876425 h 2114550"/>
                    <a:gd name="connsiteX21" fmla="*/ 7145 w 1221582"/>
                    <a:gd name="connsiteY21" fmla="*/ 1771650 h 2114550"/>
                    <a:gd name="connsiteX22" fmla="*/ 0 w 1221582"/>
                    <a:gd name="connsiteY22" fmla="*/ 1643062 h 2114550"/>
                    <a:gd name="connsiteX23" fmla="*/ 80963 w 1221582"/>
                    <a:gd name="connsiteY23" fmla="*/ 1662112 h 2114550"/>
                    <a:gd name="connsiteX24" fmla="*/ 97632 w 1221582"/>
                    <a:gd name="connsiteY24" fmla="*/ 1597818 h 2114550"/>
                    <a:gd name="connsiteX25" fmla="*/ 80963 w 1221582"/>
                    <a:gd name="connsiteY25" fmla="*/ 1450181 h 2114550"/>
                    <a:gd name="connsiteX26" fmla="*/ 114300 w 1221582"/>
                    <a:gd name="connsiteY26" fmla="*/ 1428750 h 2114550"/>
                    <a:gd name="connsiteX27" fmla="*/ 116683 w 1221582"/>
                    <a:gd name="connsiteY27" fmla="*/ 1390650 h 2114550"/>
                    <a:gd name="connsiteX28" fmla="*/ 73820 w 1221582"/>
                    <a:gd name="connsiteY28" fmla="*/ 1340644 h 2114550"/>
                    <a:gd name="connsiteX29" fmla="*/ 107158 w 1221582"/>
                    <a:gd name="connsiteY29" fmla="*/ 1235869 h 2114550"/>
                    <a:gd name="connsiteX30" fmla="*/ 100014 w 1221582"/>
                    <a:gd name="connsiteY30" fmla="*/ 1169193 h 2114550"/>
                    <a:gd name="connsiteX31" fmla="*/ 135732 w 1221582"/>
                    <a:gd name="connsiteY31" fmla="*/ 1095375 h 2114550"/>
                    <a:gd name="connsiteX32" fmla="*/ 142875 w 1221582"/>
                    <a:gd name="connsiteY32" fmla="*/ 1047750 h 2114550"/>
                    <a:gd name="connsiteX33" fmla="*/ 176214 w 1221582"/>
                    <a:gd name="connsiteY33" fmla="*/ 1012031 h 2114550"/>
                    <a:gd name="connsiteX34" fmla="*/ 145257 w 1221582"/>
                    <a:gd name="connsiteY34" fmla="*/ 964406 h 2114550"/>
                    <a:gd name="connsiteX35" fmla="*/ 138114 w 1221582"/>
                    <a:gd name="connsiteY35" fmla="*/ 923925 h 2114550"/>
                    <a:gd name="connsiteX36" fmla="*/ 102395 w 1221582"/>
                    <a:gd name="connsiteY36" fmla="*/ 904875 h 2114550"/>
                    <a:gd name="connsiteX37" fmla="*/ 83344 w 1221582"/>
                    <a:gd name="connsiteY37" fmla="*/ 866775 h 2114550"/>
                    <a:gd name="connsiteX38" fmla="*/ 50007 w 1221582"/>
                    <a:gd name="connsiteY38" fmla="*/ 804862 h 2114550"/>
                    <a:gd name="connsiteX39" fmla="*/ 30957 w 1221582"/>
                    <a:gd name="connsiteY39" fmla="*/ 738187 h 2114550"/>
                    <a:gd name="connsiteX40" fmla="*/ 11907 w 1221582"/>
                    <a:gd name="connsiteY40" fmla="*/ 690562 h 2114550"/>
                    <a:gd name="connsiteX41" fmla="*/ 11907 w 1221582"/>
                    <a:gd name="connsiteY41" fmla="*/ 650081 h 2114550"/>
                    <a:gd name="connsiteX42" fmla="*/ 45245 w 1221582"/>
                    <a:gd name="connsiteY42" fmla="*/ 621506 h 2114550"/>
                    <a:gd name="connsiteX43" fmla="*/ 133351 w 1221582"/>
                    <a:gd name="connsiteY43" fmla="*/ 581025 h 2114550"/>
                    <a:gd name="connsiteX44" fmla="*/ 171451 w 1221582"/>
                    <a:gd name="connsiteY44" fmla="*/ 545306 h 2114550"/>
                    <a:gd name="connsiteX45" fmla="*/ 183357 w 1221582"/>
                    <a:gd name="connsiteY45" fmla="*/ 490537 h 2114550"/>
                    <a:gd name="connsiteX0" fmla="*/ 183357 w 1221582"/>
                    <a:gd name="connsiteY0" fmla="*/ 490537 h 2114550"/>
                    <a:gd name="connsiteX1" fmla="*/ 335757 w 1221582"/>
                    <a:gd name="connsiteY1" fmla="*/ 200025 h 2114550"/>
                    <a:gd name="connsiteX2" fmla="*/ 540545 w 1221582"/>
                    <a:gd name="connsiteY2" fmla="*/ 38100 h 2114550"/>
                    <a:gd name="connsiteX3" fmla="*/ 740570 w 1221582"/>
                    <a:gd name="connsiteY3" fmla="*/ 0 h 2114550"/>
                    <a:gd name="connsiteX4" fmla="*/ 850107 w 1221582"/>
                    <a:gd name="connsiteY4" fmla="*/ 47625 h 2114550"/>
                    <a:gd name="connsiteX5" fmla="*/ 921545 w 1221582"/>
                    <a:gd name="connsiteY5" fmla="*/ 390525 h 2114550"/>
                    <a:gd name="connsiteX6" fmla="*/ 883445 w 1221582"/>
                    <a:gd name="connsiteY6" fmla="*/ 652462 h 2114550"/>
                    <a:gd name="connsiteX7" fmla="*/ 902495 w 1221582"/>
                    <a:gd name="connsiteY7" fmla="*/ 776287 h 2114550"/>
                    <a:gd name="connsiteX8" fmla="*/ 1064420 w 1221582"/>
                    <a:gd name="connsiteY8" fmla="*/ 1004887 h 2114550"/>
                    <a:gd name="connsiteX9" fmla="*/ 1212057 w 1221582"/>
                    <a:gd name="connsiteY9" fmla="*/ 1238250 h 2114550"/>
                    <a:gd name="connsiteX10" fmla="*/ 1221582 w 1221582"/>
                    <a:gd name="connsiteY10" fmla="*/ 1452562 h 2114550"/>
                    <a:gd name="connsiteX11" fmla="*/ 1150145 w 1221582"/>
                    <a:gd name="connsiteY11" fmla="*/ 1676400 h 2114550"/>
                    <a:gd name="connsiteX12" fmla="*/ 1107282 w 1221582"/>
                    <a:gd name="connsiteY12" fmla="*/ 1919287 h 2114550"/>
                    <a:gd name="connsiteX13" fmla="*/ 1012032 w 1221582"/>
                    <a:gd name="connsiteY13" fmla="*/ 2062162 h 2114550"/>
                    <a:gd name="connsiteX14" fmla="*/ 873920 w 1221582"/>
                    <a:gd name="connsiteY14" fmla="*/ 2100262 h 2114550"/>
                    <a:gd name="connsiteX15" fmla="*/ 707232 w 1221582"/>
                    <a:gd name="connsiteY15" fmla="*/ 2114550 h 2114550"/>
                    <a:gd name="connsiteX16" fmla="*/ 607220 w 1221582"/>
                    <a:gd name="connsiteY16" fmla="*/ 2033587 h 2114550"/>
                    <a:gd name="connsiteX17" fmla="*/ 440532 w 1221582"/>
                    <a:gd name="connsiteY17" fmla="*/ 1971675 h 2114550"/>
                    <a:gd name="connsiteX18" fmla="*/ 283370 w 1221582"/>
                    <a:gd name="connsiteY18" fmla="*/ 1919287 h 2114550"/>
                    <a:gd name="connsiteX19" fmla="*/ 183357 w 1221582"/>
                    <a:gd name="connsiteY19" fmla="*/ 1900237 h 2114550"/>
                    <a:gd name="connsiteX20" fmla="*/ 97632 w 1221582"/>
                    <a:gd name="connsiteY20" fmla="*/ 1876425 h 2114550"/>
                    <a:gd name="connsiteX21" fmla="*/ 7145 w 1221582"/>
                    <a:gd name="connsiteY21" fmla="*/ 1771650 h 2114550"/>
                    <a:gd name="connsiteX22" fmla="*/ 14286 w 1221582"/>
                    <a:gd name="connsiteY22" fmla="*/ 1702593 h 2114550"/>
                    <a:gd name="connsiteX23" fmla="*/ 0 w 1221582"/>
                    <a:gd name="connsiteY23" fmla="*/ 1643062 h 2114550"/>
                    <a:gd name="connsiteX24" fmla="*/ 80963 w 1221582"/>
                    <a:gd name="connsiteY24" fmla="*/ 1662112 h 2114550"/>
                    <a:gd name="connsiteX25" fmla="*/ 97632 w 1221582"/>
                    <a:gd name="connsiteY25" fmla="*/ 1597818 h 2114550"/>
                    <a:gd name="connsiteX26" fmla="*/ 80963 w 1221582"/>
                    <a:gd name="connsiteY26" fmla="*/ 1450181 h 2114550"/>
                    <a:gd name="connsiteX27" fmla="*/ 114300 w 1221582"/>
                    <a:gd name="connsiteY27" fmla="*/ 1428750 h 2114550"/>
                    <a:gd name="connsiteX28" fmla="*/ 116683 w 1221582"/>
                    <a:gd name="connsiteY28" fmla="*/ 1390650 h 2114550"/>
                    <a:gd name="connsiteX29" fmla="*/ 73820 w 1221582"/>
                    <a:gd name="connsiteY29" fmla="*/ 1340644 h 2114550"/>
                    <a:gd name="connsiteX30" fmla="*/ 107158 w 1221582"/>
                    <a:gd name="connsiteY30" fmla="*/ 1235869 h 2114550"/>
                    <a:gd name="connsiteX31" fmla="*/ 100014 w 1221582"/>
                    <a:gd name="connsiteY31" fmla="*/ 1169193 h 2114550"/>
                    <a:gd name="connsiteX32" fmla="*/ 135732 w 1221582"/>
                    <a:gd name="connsiteY32" fmla="*/ 1095375 h 2114550"/>
                    <a:gd name="connsiteX33" fmla="*/ 142875 w 1221582"/>
                    <a:gd name="connsiteY33" fmla="*/ 1047750 h 2114550"/>
                    <a:gd name="connsiteX34" fmla="*/ 176214 w 1221582"/>
                    <a:gd name="connsiteY34" fmla="*/ 1012031 h 2114550"/>
                    <a:gd name="connsiteX35" fmla="*/ 145257 w 1221582"/>
                    <a:gd name="connsiteY35" fmla="*/ 964406 h 2114550"/>
                    <a:gd name="connsiteX36" fmla="*/ 138114 w 1221582"/>
                    <a:gd name="connsiteY36" fmla="*/ 923925 h 2114550"/>
                    <a:gd name="connsiteX37" fmla="*/ 102395 w 1221582"/>
                    <a:gd name="connsiteY37" fmla="*/ 904875 h 2114550"/>
                    <a:gd name="connsiteX38" fmla="*/ 83344 w 1221582"/>
                    <a:gd name="connsiteY38" fmla="*/ 866775 h 2114550"/>
                    <a:gd name="connsiteX39" fmla="*/ 50007 w 1221582"/>
                    <a:gd name="connsiteY39" fmla="*/ 804862 h 2114550"/>
                    <a:gd name="connsiteX40" fmla="*/ 30957 w 1221582"/>
                    <a:gd name="connsiteY40" fmla="*/ 738187 h 2114550"/>
                    <a:gd name="connsiteX41" fmla="*/ 11907 w 1221582"/>
                    <a:gd name="connsiteY41" fmla="*/ 690562 h 2114550"/>
                    <a:gd name="connsiteX42" fmla="*/ 11907 w 1221582"/>
                    <a:gd name="connsiteY42" fmla="*/ 650081 h 2114550"/>
                    <a:gd name="connsiteX43" fmla="*/ 45245 w 1221582"/>
                    <a:gd name="connsiteY43" fmla="*/ 621506 h 2114550"/>
                    <a:gd name="connsiteX44" fmla="*/ 133351 w 1221582"/>
                    <a:gd name="connsiteY44" fmla="*/ 581025 h 2114550"/>
                    <a:gd name="connsiteX45" fmla="*/ 171451 w 1221582"/>
                    <a:gd name="connsiteY45" fmla="*/ 545306 h 2114550"/>
                    <a:gd name="connsiteX46" fmla="*/ 183357 w 1221582"/>
                    <a:gd name="connsiteY46" fmla="*/ 490537 h 2114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1221582" h="2114550">
                      <a:moveTo>
                        <a:pt x="183357" y="490537"/>
                      </a:moveTo>
                      <a:lnTo>
                        <a:pt x="335757" y="200025"/>
                      </a:lnTo>
                      <a:lnTo>
                        <a:pt x="540545" y="38100"/>
                      </a:lnTo>
                      <a:lnTo>
                        <a:pt x="740570" y="0"/>
                      </a:lnTo>
                      <a:lnTo>
                        <a:pt x="850107" y="47625"/>
                      </a:lnTo>
                      <a:lnTo>
                        <a:pt x="921545" y="390525"/>
                      </a:lnTo>
                      <a:lnTo>
                        <a:pt x="883445" y="652462"/>
                      </a:lnTo>
                      <a:lnTo>
                        <a:pt x="902495" y="776287"/>
                      </a:lnTo>
                      <a:lnTo>
                        <a:pt x="1064420" y="1004887"/>
                      </a:lnTo>
                      <a:lnTo>
                        <a:pt x="1212057" y="1238250"/>
                      </a:lnTo>
                      <a:lnTo>
                        <a:pt x="1221582" y="1452562"/>
                      </a:lnTo>
                      <a:lnTo>
                        <a:pt x="1150145" y="1676400"/>
                      </a:lnTo>
                      <a:lnTo>
                        <a:pt x="1107282" y="1919287"/>
                      </a:lnTo>
                      <a:lnTo>
                        <a:pt x="1012032" y="2062162"/>
                      </a:lnTo>
                      <a:lnTo>
                        <a:pt x="873920" y="2100262"/>
                      </a:lnTo>
                      <a:lnTo>
                        <a:pt x="707232" y="2114550"/>
                      </a:lnTo>
                      <a:lnTo>
                        <a:pt x="607220" y="2033587"/>
                      </a:lnTo>
                      <a:lnTo>
                        <a:pt x="440532" y="1971675"/>
                      </a:lnTo>
                      <a:lnTo>
                        <a:pt x="283370" y="1919287"/>
                      </a:lnTo>
                      <a:lnTo>
                        <a:pt x="183357" y="1900237"/>
                      </a:lnTo>
                      <a:lnTo>
                        <a:pt x="97632" y="1876425"/>
                      </a:lnTo>
                      <a:lnTo>
                        <a:pt x="7145" y="1771650"/>
                      </a:lnTo>
                      <a:cubicBezTo>
                        <a:pt x="4763" y="1749425"/>
                        <a:pt x="16668" y="1724818"/>
                        <a:pt x="14286" y="1702593"/>
                      </a:cubicBezTo>
                      <a:lnTo>
                        <a:pt x="0" y="1643062"/>
                      </a:lnTo>
                      <a:lnTo>
                        <a:pt x="80963" y="1662112"/>
                      </a:lnTo>
                      <a:lnTo>
                        <a:pt x="97632" y="1597818"/>
                      </a:lnTo>
                      <a:lnTo>
                        <a:pt x="80963" y="1450181"/>
                      </a:lnTo>
                      <a:lnTo>
                        <a:pt x="114300" y="1428750"/>
                      </a:lnTo>
                      <a:lnTo>
                        <a:pt x="116683" y="1390650"/>
                      </a:lnTo>
                      <a:lnTo>
                        <a:pt x="73820" y="1340644"/>
                      </a:lnTo>
                      <a:lnTo>
                        <a:pt x="107158" y="1235869"/>
                      </a:lnTo>
                      <a:lnTo>
                        <a:pt x="100014" y="1169193"/>
                      </a:lnTo>
                      <a:lnTo>
                        <a:pt x="135732" y="1095375"/>
                      </a:lnTo>
                      <a:lnTo>
                        <a:pt x="142875" y="1047750"/>
                      </a:lnTo>
                      <a:lnTo>
                        <a:pt x="176214" y="1012031"/>
                      </a:lnTo>
                      <a:lnTo>
                        <a:pt x="145257" y="964406"/>
                      </a:lnTo>
                      <a:lnTo>
                        <a:pt x="138114" y="923925"/>
                      </a:lnTo>
                      <a:lnTo>
                        <a:pt x="102395" y="904875"/>
                      </a:lnTo>
                      <a:lnTo>
                        <a:pt x="83344" y="866775"/>
                      </a:lnTo>
                      <a:lnTo>
                        <a:pt x="50007" y="804862"/>
                      </a:lnTo>
                      <a:lnTo>
                        <a:pt x="30957" y="738187"/>
                      </a:lnTo>
                      <a:lnTo>
                        <a:pt x="11907" y="690562"/>
                      </a:lnTo>
                      <a:lnTo>
                        <a:pt x="11907" y="650081"/>
                      </a:lnTo>
                      <a:lnTo>
                        <a:pt x="45245" y="621506"/>
                      </a:lnTo>
                      <a:lnTo>
                        <a:pt x="133351" y="581025"/>
                      </a:lnTo>
                      <a:lnTo>
                        <a:pt x="171451" y="545306"/>
                      </a:lnTo>
                      <a:lnTo>
                        <a:pt x="183357" y="490537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7" name="Freeform 86"/>
                <p:cNvSpPr/>
                <p:nvPr/>
              </p:nvSpPr>
              <p:spPr>
                <a:xfrm>
                  <a:off x="3850481" y="3764757"/>
                  <a:ext cx="2095500" cy="1404937"/>
                </a:xfrm>
                <a:custGeom>
                  <a:avLst/>
                  <a:gdLst>
                    <a:gd name="connsiteX0" fmla="*/ 114300 w 2095500"/>
                    <a:gd name="connsiteY0" fmla="*/ 409575 h 1212056"/>
                    <a:gd name="connsiteX1" fmla="*/ 152400 w 2095500"/>
                    <a:gd name="connsiteY1" fmla="*/ 340519 h 1212056"/>
                    <a:gd name="connsiteX2" fmla="*/ 200025 w 2095500"/>
                    <a:gd name="connsiteY2" fmla="*/ 271462 h 1212056"/>
                    <a:gd name="connsiteX3" fmla="*/ 285750 w 2095500"/>
                    <a:gd name="connsiteY3" fmla="*/ 223837 h 1212056"/>
                    <a:gd name="connsiteX4" fmla="*/ 352425 w 2095500"/>
                    <a:gd name="connsiteY4" fmla="*/ 197644 h 1212056"/>
                    <a:gd name="connsiteX5" fmla="*/ 407194 w 2095500"/>
                    <a:gd name="connsiteY5" fmla="*/ 183356 h 1212056"/>
                    <a:gd name="connsiteX6" fmla="*/ 442913 w 2095500"/>
                    <a:gd name="connsiteY6" fmla="*/ 173831 h 1212056"/>
                    <a:gd name="connsiteX7" fmla="*/ 485775 w 2095500"/>
                    <a:gd name="connsiteY7" fmla="*/ 154781 h 1212056"/>
                    <a:gd name="connsiteX8" fmla="*/ 528638 w 2095500"/>
                    <a:gd name="connsiteY8" fmla="*/ 130969 h 1212056"/>
                    <a:gd name="connsiteX9" fmla="*/ 552450 w 2095500"/>
                    <a:gd name="connsiteY9" fmla="*/ 104775 h 1212056"/>
                    <a:gd name="connsiteX10" fmla="*/ 595313 w 2095500"/>
                    <a:gd name="connsiteY10" fmla="*/ 66675 h 1212056"/>
                    <a:gd name="connsiteX11" fmla="*/ 619125 w 2095500"/>
                    <a:gd name="connsiteY11" fmla="*/ 47625 h 1212056"/>
                    <a:gd name="connsiteX12" fmla="*/ 697707 w 2095500"/>
                    <a:gd name="connsiteY12" fmla="*/ 30956 h 1212056"/>
                    <a:gd name="connsiteX13" fmla="*/ 750094 w 2095500"/>
                    <a:gd name="connsiteY13" fmla="*/ 9525 h 1212056"/>
                    <a:gd name="connsiteX14" fmla="*/ 831057 w 2095500"/>
                    <a:gd name="connsiteY14" fmla="*/ 2381 h 1212056"/>
                    <a:gd name="connsiteX15" fmla="*/ 940594 w 2095500"/>
                    <a:gd name="connsiteY15" fmla="*/ 0 h 1212056"/>
                    <a:gd name="connsiteX16" fmla="*/ 985838 w 2095500"/>
                    <a:gd name="connsiteY16" fmla="*/ 0 h 1212056"/>
                    <a:gd name="connsiteX17" fmla="*/ 1069182 w 2095500"/>
                    <a:gd name="connsiteY17" fmla="*/ 11906 h 1212056"/>
                    <a:gd name="connsiteX18" fmla="*/ 1119188 w 2095500"/>
                    <a:gd name="connsiteY18" fmla="*/ 19050 h 1212056"/>
                    <a:gd name="connsiteX19" fmla="*/ 1214438 w 2095500"/>
                    <a:gd name="connsiteY19" fmla="*/ 47625 h 1212056"/>
                    <a:gd name="connsiteX20" fmla="*/ 1240632 w 2095500"/>
                    <a:gd name="connsiteY20" fmla="*/ 64294 h 1212056"/>
                    <a:gd name="connsiteX21" fmla="*/ 1338263 w 2095500"/>
                    <a:gd name="connsiteY21" fmla="*/ 78581 h 1212056"/>
                    <a:gd name="connsiteX22" fmla="*/ 1390650 w 2095500"/>
                    <a:gd name="connsiteY22" fmla="*/ 95250 h 1212056"/>
                    <a:gd name="connsiteX23" fmla="*/ 1447800 w 2095500"/>
                    <a:gd name="connsiteY23" fmla="*/ 116681 h 1212056"/>
                    <a:gd name="connsiteX24" fmla="*/ 1509713 w 2095500"/>
                    <a:gd name="connsiteY24" fmla="*/ 128587 h 1212056"/>
                    <a:gd name="connsiteX25" fmla="*/ 1540669 w 2095500"/>
                    <a:gd name="connsiteY25" fmla="*/ 138112 h 1212056"/>
                    <a:gd name="connsiteX26" fmla="*/ 1609725 w 2095500"/>
                    <a:gd name="connsiteY26" fmla="*/ 171450 h 1212056"/>
                    <a:gd name="connsiteX27" fmla="*/ 1621632 w 2095500"/>
                    <a:gd name="connsiteY27" fmla="*/ 178594 h 1212056"/>
                    <a:gd name="connsiteX28" fmla="*/ 1654969 w 2095500"/>
                    <a:gd name="connsiteY28" fmla="*/ 223837 h 1212056"/>
                    <a:gd name="connsiteX29" fmla="*/ 1674019 w 2095500"/>
                    <a:gd name="connsiteY29" fmla="*/ 252412 h 1212056"/>
                    <a:gd name="connsiteX30" fmla="*/ 1712119 w 2095500"/>
                    <a:gd name="connsiteY30" fmla="*/ 316706 h 1212056"/>
                    <a:gd name="connsiteX31" fmla="*/ 1902619 w 2095500"/>
                    <a:gd name="connsiteY31" fmla="*/ 400050 h 1212056"/>
                    <a:gd name="connsiteX32" fmla="*/ 2031207 w 2095500"/>
                    <a:gd name="connsiteY32" fmla="*/ 473869 h 1212056"/>
                    <a:gd name="connsiteX33" fmla="*/ 2095500 w 2095500"/>
                    <a:gd name="connsiteY33" fmla="*/ 533400 h 1212056"/>
                    <a:gd name="connsiteX34" fmla="*/ 1990725 w 2095500"/>
                    <a:gd name="connsiteY34" fmla="*/ 645319 h 1212056"/>
                    <a:gd name="connsiteX35" fmla="*/ 1897857 w 2095500"/>
                    <a:gd name="connsiteY35" fmla="*/ 800100 h 1212056"/>
                    <a:gd name="connsiteX36" fmla="*/ 1702594 w 2095500"/>
                    <a:gd name="connsiteY36" fmla="*/ 771525 h 1212056"/>
                    <a:gd name="connsiteX37" fmla="*/ 1626394 w 2095500"/>
                    <a:gd name="connsiteY37" fmla="*/ 876300 h 1212056"/>
                    <a:gd name="connsiteX38" fmla="*/ 1533525 w 2095500"/>
                    <a:gd name="connsiteY38" fmla="*/ 919162 h 1212056"/>
                    <a:gd name="connsiteX39" fmla="*/ 1466850 w 2095500"/>
                    <a:gd name="connsiteY39" fmla="*/ 1009650 h 1212056"/>
                    <a:gd name="connsiteX40" fmla="*/ 1366838 w 2095500"/>
                    <a:gd name="connsiteY40" fmla="*/ 1128712 h 1212056"/>
                    <a:gd name="connsiteX41" fmla="*/ 1288257 w 2095500"/>
                    <a:gd name="connsiteY41" fmla="*/ 1166812 h 1212056"/>
                    <a:gd name="connsiteX42" fmla="*/ 1228725 w 2095500"/>
                    <a:gd name="connsiteY42" fmla="*/ 1195387 h 1212056"/>
                    <a:gd name="connsiteX43" fmla="*/ 1073944 w 2095500"/>
                    <a:gd name="connsiteY43" fmla="*/ 1209675 h 1212056"/>
                    <a:gd name="connsiteX44" fmla="*/ 900113 w 2095500"/>
                    <a:gd name="connsiteY44" fmla="*/ 1212056 h 1212056"/>
                    <a:gd name="connsiteX45" fmla="*/ 683419 w 2095500"/>
                    <a:gd name="connsiteY45" fmla="*/ 1195387 h 1212056"/>
                    <a:gd name="connsiteX46" fmla="*/ 600075 w 2095500"/>
                    <a:gd name="connsiteY46" fmla="*/ 1162050 h 1212056"/>
                    <a:gd name="connsiteX47" fmla="*/ 557213 w 2095500"/>
                    <a:gd name="connsiteY47" fmla="*/ 1102519 h 1212056"/>
                    <a:gd name="connsiteX48" fmla="*/ 523875 w 2095500"/>
                    <a:gd name="connsiteY48" fmla="*/ 1028700 h 1212056"/>
                    <a:gd name="connsiteX49" fmla="*/ 507207 w 2095500"/>
                    <a:gd name="connsiteY49" fmla="*/ 876300 h 1212056"/>
                    <a:gd name="connsiteX50" fmla="*/ 459582 w 2095500"/>
                    <a:gd name="connsiteY50" fmla="*/ 742950 h 1212056"/>
                    <a:gd name="connsiteX51" fmla="*/ 340519 w 2095500"/>
                    <a:gd name="connsiteY51" fmla="*/ 690562 h 1212056"/>
                    <a:gd name="connsiteX52" fmla="*/ 123825 w 2095500"/>
                    <a:gd name="connsiteY52" fmla="*/ 685800 h 1212056"/>
                    <a:gd name="connsiteX53" fmla="*/ 33338 w 2095500"/>
                    <a:gd name="connsiteY53" fmla="*/ 685800 h 1212056"/>
                    <a:gd name="connsiteX54" fmla="*/ 0 w 2095500"/>
                    <a:gd name="connsiteY54" fmla="*/ 595312 h 1212056"/>
                    <a:gd name="connsiteX55" fmla="*/ 66675 w 2095500"/>
                    <a:gd name="connsiteY55" fmla="*/ 452437 h 1212056"/>
                    <a:gd name="connsiteX56" fmla="*/ 114300 w 2095500"/>
                    <a:gd name="connsiteY56" fmla="*/ 409575 h 1212056"/>
                    <a:gd name="connsiteX0" fmla="*/ 114300 w 2095500"/>
                    <a:gd name="connsiteY0" fmla="*/ 409575 h 1295400"/>
                    <a:gd name="connsiteX1" fmla="*/ 152400 w 2095500"/>
                    <a:gd name="connsiteY1" fmla="*/ 340519 h 1295400"/>
                    <a:gd name="connsiteX2" fmla="*/ 200025 w 2095500"/>
                    <a:gd name="connsiteY2" fmla="*/ 271462 h 1295400"/>
                    <a:gd name="connsiteX3" fmla="*/ 285750 w 2095500"/>
                    <a:gd name="connsiteY3" fmla="*/ 223837 h 1295400"/>
                    <a:gd name="connsiteX4" fmla="*/ 352425 w 2095500"/>
                    <a:gd name="connsiteY4" fmla="*/ 197644 h 1295400"/>
                    <a:gd name="connsiteX5" fmla="*/ 407194 w 2095500"/>
                    <a:gd name="connsiteY5" fmla="*/ 183356 h 1295400"/>
                    <a:gd name="connsiteX6" fmla="*/ 442913 w 2095500"/>
                    <a:gd name="connsiteY6" fmla="*/ 173831 h 1295400"/>
                    <a:gd name="connsiteX7" fmla="*/ 485775 w 2095500"/>
                    <a:gd name="connsiteY7" fmla="*/ 154781 h 1295400"/>
                    <a:gd name="connsiteX8" fmla="*/ 528638 w 2095500"/>
                    <a:gd name="connsiteY8" fmla="*/ 130969 h 1295400"/>
                    <a:gd name="connsiteX9" fmla="*/ 552450 w 2095500"/>
                    <a:gd name="connsiteY9" fmla="*/ 104775 h 1295400"/>
                    <a:gd name="connsiteX10" fmla="*/ 595313 w 2095500"/>
                    <a:gd name="connsiteY10" fmla="*/ 66675 h 1295400"/>
                    <a:gd name="connsiteX11" fmla="*/ 619125 w 2095500"/>
                    <a:gd name="connsiteY11" fmla="*/ 47625 h 1295400"/>
                    <a:gd name="connsiteX12" fmla="*/ 697707 w 2095500"/>
                    <a:gd name="connsiteY12" fmla="*/ 30956 h 1295400"/>
                    <a:gd name="connsiteX13" fmla="*/ 750094 w 2095500"/>
                    <a:gd name="connsiteY13" fmla="*/ 9525 h 1295400"/>
                    <a:gd name="connsiteX14" fmla="*/ 831057 w 2095500"/>
                    <a:gd name="connsiteY14" fmla="*/ 2381 h 1295400"/>
                    <a:gd name="connsiteX15" fmla="*/ 940594 w 2095500"/>
                    <a:gd name="connsiteY15" fmla="*/ 0 h 1295400"/>
                    <a:gd name="connsiteX16" fmla="*/ 985838 w 2095500"/>
                    <a:gd name="connsiteY16" fmla="*/ 0 h 1295400"/>
                    <a:gd name="connsiteX17" fmla="*/ 1069182 w 2095500"/>
                    <a:gd name="connsiteY17" fmla="*/ 11906 h 1295400"/>
                    <a:gd name="connsiteX18" fmla="*/ 1119188 w 2095500"/>
                    <a:gd name="connsiteY18" fmla="*/ 19050 h 1295400"/>
                    <a:gd name="connsiteX19" fmla="*/ 1214438 w 2095500"/>
                    <a:gd name="connsiteY19" fmla="*/ 47625 h 1295400"/>
                    <a:gd name="connsiteX20" fmla="*/ 1240632 w 2095500"/>
                    <a:gd name="connsiteY20" fmla="*/ 64294 h 1295400"/>
                    <a:gd name="connsiteX21" fmla="*/ 1338263 w 2095500"/>
                    <a:gd name="connsiteY21" fmla="*/ 78581 h 1295400"/>
                    <a:gd name="connsiteX22" fmla="*/ 1390650 w 2095500"/>
                    <a:gd name="connsiteY22" fmla="*/ 95250 h 1295400"/>
                    <a:gd name="connsiteX23" fmla="*/ 1447800 w 2095500"/>
                    <a:gd name="connsiteY23" fmla="*/ 116681 h 1295400"/>
                    <a:gd name="connsiteX24" fmla="*/ 1509713 w 2095500"/>
                    <a:gd name="connsiteY24" fmla="*/ 128587 h 1295400"/>
                    <a:gd name="connsiteX25" fmla="*/ 1540669 w 2095500"/>
                    <a:gd name="connsiteY25" fmla="*/ 138112 h 1295400"/>
                    <a:gd name="connsiteX26" fmla="*/ 1609725 w 2095500"/>
                    <a:gd name="connsiteY26" fmla="*/ 171450 h 1295400"/>
                    <a:gd name="connsiteX27" fmla="*/ 1621632 w 2095500"/>
                    <a:gd name="connsiteY27" fmla="*/ 178594 h 1295400"/>
                    <a:gd name="connsiteX28" fmla="*/ 1654969 w 2095500"/>
                    <a:gd name="connsiteY28" fmla="*/ 223837 h 1295400"/>
                    <a:gd name="connsiteX29" fmla="*/ 1674019 w 2095500"/>
                    <a:gd name="connsiteY29" fmla="*/ 252412 h 1295400"/>
                    <a:gd name="connsiteX30" fmla="*/ 1712119 w 2095500"/>
                    <a:gd name="connsiteY30" fmla="*/ 316706 h 1295400"/>
                    <a:gd name="connsiteX31" fmla="*/ 1902619 w 2095500"/>
                    <a:gd name="connsiteY31" fmla="*/ 400050 h 1295400"/>
                    <a:gd name="connsiteX32" fmla="*/ 2031207 w 2095500"/>
                    <a:gd name="connsiteY32" fmla="*/ 473869 h 1295400"/>
                    <a:gd name="connsiteX33" fmla="*/ 2095500 w 2095500"/>
                    <a:gd name="connsiteY33" fmla="*/ 533400 h 1295400"/>
                    <a:gd name="connsiteX34" fmla="*/ 1990725 w 2095500"/>
                    <a:gd name="connsiteY34" fmla="*/ 645319 h 1295400"/>
                    <a:gd name="connsiteX35" fmla="*/ 1897857 w 2095500"/>
                    <a:gd name="connsiteY35" fmla="*/ 800100 h 1295400"/>
                    <a:gd name="connsiteX36" fmla="*/ 1702594 w 2095500"/>
                    <a:gd name="connsiteY36" fmla="*/ 771525 h 1295400"/>
                    <a:gd name="connsiteX37" fmla="*/ 1626394 w 2095500"/>
                    <a:gd name="connsiteY37" fmla="*/ 876300 h 1295400"/>
                    <a:gd name="connsiteX38" fmla="*/ 1533525 w 2095500"/>
                    <a:gd name="connsiteY38" fmla="*/ 919162 h 1295400"/>
                    <a:gd name="connsiteX39" fmla="*/ 1466850 w 2095500"/>
                    <a:gd name="connsiteY39" fmla="*/ 1009650 h 1295400"/>
                    <a:gd name="connsiteX40" fmla="*/ 1366838 w 2095500"/>
                    <a:gd name="connsiteY40" fmla="*/ 1128712 h 1295400"/>
                    <a:gd name="connsiteX41" fmla="*/ 1288257 w 2095500"/>
                    <a:gd name="connsiteY41" fmla="*/ 1166812 h 1295400"/>
                    <a:gd name="connsiteX42" fmla="*/ 1228725 w 2095500"/>
                    <a:gd name="connsiteY42" fmla="*/ 1195387 h 1295400"/>
                    <a:gd name="connsiteX43" fmla="*/ 1073944 w 2095500"/>
                    <a:gd name="connsiteY43" fmla="*/ 1209675 h 1295400"/>
                    <a:gd name="connsiteX44" fmla="*/ 747713 w 2095500"/>
                    <a:gd name="connsiteY44" fmla="*/ 1295400 h 1295400"/>
                    <a:gd name="connsiteX45" fmla="*/ 683419 w 2095500"/>
                    <a:gd name="connsiteY45" fmla="*/ 1195387 h 1295400"/>
                    <a:gd name="connsiteX46" fmla="*/ 600075 w 2095500"/>
                    <a:gd name="connsiteY46" fmla="*/ 1162050 h 1295400"/>
                    <a:gd name="connsiteX47" fmla="*/ 557213 w 2095500"/>
                    <a:gd name="connsiteY47" fmla="*/ 1102519 h 1295400"/>
                    <a:gd name="connsiteX48" fmla="*/ 523875 w 2095500"/>
                    <a:gd name="connsiteY48" fmla="*/ 1028700 h 1295400"/>
                    <a:gd name="connsiteX49" fmla="*/ 507207 w 2095500"/>
                    <a:gd name="connsiteY49" fmla="*/ 876300 h 1295400"/>
                    <a:gd name="connsiteX50" fmla="*/ 459582 w 2095500"/>
                    <a:gd name="connsiteY50" fmla="*/ 742950 h 1295400"/>
                    <a:gd name="connsiteX51" fmla="*/ 340519 w 2095500"/>
                    <a:gd name="connsiteY51" fmla="*/ 690562 h 1295400"/>
                    <a:gd name="connsiteX52" fmla="*/ 123825 w 2095500"/>
                    <a:gd name="connsiteY52" fmla="*/ 685800 h 1295400"/>
                    <a:gd name="connsiteX53" fmla="*/ 33338 w 2095500"/>
                    <a:gd name="connsiteY53" fmla="*/ 685800 h 1295400"/>
                    <a:gd name="connsiteX54" fmla="*/ 0 w 2095500"/>
                    <a:gd name="connsiteY54" fmla="*/ 595312 h 1295400"/>
                    <a:gd name="connsiteX55" fmla="*/ 66675 w 2095500"/>
                    <a:gd name="connsiteY55" fmla="*/ 452437 h 1295400"/>
                    <a:gd name="connsiteX56" fmla="*/ 114300 w 2095500"/>
                    <a:gd name="connsiteY56" fmla="*/ 409575 h 1295400"/>
                    <a:gd name="connsiteX0" fmla="*/ 114300 w 2095500"/>
                    <a:gd name="connsiteY0" fmla="*/ 409575 h 1428750"/>
                    <a:gd name="connsiteX1" fmla="*/ 152400 w 2095500"/>
                    <a:gd name="connsiteY1" fmla="*/ 340519 h 1428750"/>
                    <a:gd name="connsiteX2" fmla="*/ 200025 w 2095500"/>
                    <a:gd name="connsiteY2" fmla="*/ 271462 h 1428750"/>
                    <a:gd name="connsiteX3" fmla="*/ 285750 w 2095500"/>
                    <a:gd name="connsiteY3" fmla="*/ 223837 h 1428750"/>
                    <a:gd name="connsiteX4" fmla="*/ 352425 w 2095500"/>
                    <a:gd name="connsiteY4" fmla="*/ 197644 h 1428750"/>
                    <a:gd name="connsiteX5" fmla="*/ 407194 w 2095500"/>
                    <a:gd name="connsiteY5" fmla="*/ 183356 h 1428750"/>
                    <a:gd name="connsiteX6" fmla="*/ 442913 w 2095500"/>
                    <a:gd name="connsiteY6" fmla="*/ 173831 h 1428750"/>
                    <a:gd name="connsiteX7" fmla="*/ 485775 w 2095500"/>
                    <a:gd name="connsiteY7" fmla="*/ 154781 h 1428750"/>
                    <a:gd name="connsiteX8" fmla="*/ 528638 w 2095500"/>
                    <a:gd name="connsiteY8" fmla="*/ 1309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228725 w 2095500"/>
                    <a:gd name="connsiteY42" fmla="*/ 1195387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152400 w 2095500"/>
                    <a:gd name="connsiteY1" fmla="*/ 340519 h 1428750"/>
                    <a:gd name="connsiteX2" fmla="*/ 200025 w 2095500"/>
                    <a:gd name="connsiteY2" fmla="*/ 271462 h 1428750"/>
                    <a:gd name="connsiteX3" fmla="*/ 285750 w 2095500"/>
                    <a:gd name="connsiteY3" fmla="*/ 223837 h 1428750"/>
                    <a:gd name="connsiteX4" fmla="*/ 352425 w 2095500"/>
                    <a:gd name="connsiteY4" fmla="*/ 197644 h 1428750"/>
                    <a:gd name="connsiteX5" fmla="*/ 407194 w 2095500"/>
                    <a:gd name="connsiteY5" fmla="*/ 183356 h 1428750"/>
                    <a:gd name="connsiteX6" fmla="*/ 442913 w 2095500"/>
                    <a:gd name="connsiteY6" fmla="*/ 173831 h 1428750"/>
                    <a:gd name="connsiteX7" fmla="*/ 485775 w 2095500"/>
                    <a:gd name="connsiteY7" fmla="*/ 154781 h 1428750"/>
                    <a:gd name="connsiteX8" fmla="*/ 528638 w 2095500"/>
                    <a:gd name="connsiteY8" fmla="*/ 1309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00025 w 2095500"/>
                    <a:gd name="connsiteY2" fmla="*/ 271462 h 1428750"/>
                    <a:gd name="connsiteX3" fmla="*/ 285750 w 2095500"/>
                    <a:gd name="connsiteY3" fmla="*/ 223837 h 1428750"/>
                    <a:gd name="connsiteX4" fmla="*/ 352425 w 2095500"/>
                    <a:gd name="connsiteY4" fmla="*/ 197644 h 1428750"/>
                    <a:gd name="connsiteX5" fmla="*/ 407194 w 2095500"/>
                    <a:gd name="connsiteY5" fmla="*/ 183356 h 1428750"/>
                    <a:gd name="connsiteX6" fmla="*/ 442913 w 2095500"/>
                    <a:gd name="connsiteY6" fmla="*/ 173831 h 1428750"/>
                    <a:gd name="connsiteX7" fmla="*/ 485775 w 2095500"/>
                    <a:gd name="connsiteY7" fmla="*/ 154781 h 1428750"/>
                    <a:gd name="connsiteX8" fmla="*/ 528638 w 2095500"/>
                    <a:gd name="connsiteY8" fmla="*/ 1309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85750 w 2095500"/>
                    <a:gd name="connsiteY3" fmla="*/ 223837 h 1428750"/>
                    <a:gd name="connsiteX4" fmla="*/ 352425 w 2095500"/>
                    <a:gd name="connsiteY4" fmla="*/ 197644 h 1428750"/>
                    <a:gd name="connsiteX5" fmla="*/ 407194 w 2095500"/>
                    <a:gd name="connsiteY5" fmla="*/ 183356 h 1428750"/>
                    <a:gd name="connsiteX6" fmla="*/ 442913 w 2095500"/>
                    <a:gd name="connsiteY6" fmla="*/ 173831 h 1428750"/>
                    <a:gd name="connsiteX7" fmla="*/ 485775 w 2095500"/>
                    <a:gd name="connsiteY7" fmla="*/ 154781 h 1428750"/>
                    <a:gd name="connsiteX8" fmla="*/ 528638 w 2095500"/>
                    <a:gd name="connsiteY8" fmla="*/ 1309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52425 w 2095500"/>
                    <a:gd name="connsiteY4" fmla="*/ 197644 h 1428750"/>
                    <a:gd name="connsiteX5" fmla="*/ 407194 w 2095500"/>
                    <a:gd name="connsiteY5" fmla="*/ 183356 h 1428750"/>
                    <a:gd name="connsiteX6" fmla="*/ 442913 w 2095500"/>
                    <a:gd name="connsiteY6" fmla="*/ 173831 h 1428750"/>
                    <a:gd name="connsiteX7" fmla="*/ 485775 w 2095500"/>
                    <a:gd name="connsiteY7" fmla="*/ 154781 h 1428750"/>
                    <a:gd name="connsiteX8" fmla="*/ 528638 w 2095500"/>
                    <a:gd name="connsiteY8" fmla="*/ 1309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407194 w 2095500"/>
                    <a:gd name="connsiteY5" fmla="*/ 183356 h 1428750"/>
                    <a:gd name="connsiteX6" fmla="*/ 442913 w 2095500"/>
                    <a:gd name="connsiteY6" fmla="*/ 173831 h 1428750"/>
                    <a:gd name="connsiteX7" fmla="*/ 485775 w 2095500"/>
                    <a:gd name="connsiteY7" fmla="*/ 154781 h 1428750"/>
                    <a:gd name="connsiteX8" fmla="*/ 528638 w 2095500"/>
                    <a:gd name="connsiteY8" fmla="*/ 1309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442913 w 2095500"/>
                    <a:gd name="connsiteY6" fmla="*/ 173831 h 1428750"/>
                    <a:gd name="connsiteX7" fmla="*/ 485775 w 2095500"/>
                    <a:gd name="connsiteY7" fmla="*/ 154781 h 1428750"/>
                    <a:gd name="connsiteX8" fmla="*/ 528638 w 2095500"/>
                    <a:gd name="connsiteY8" fmla="*/ 1309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5775 w 2095500"/>
                    <a:gd name="connsiteY7" fmla="*/ 154781 h 1428750"/>
                    <a:gd name="connsiteX8" fmla="*/ 528638 w 2095500"/>
                    <a:gd name="connsiteY8" fmla="*/ 1309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28638 w 2095500"/>
                    <a:gd name="connsiteY8" fmla="*/ 1309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552450 w 2095500"/>
                    <a:gd name="connsiteY9" fmla="*/ 104775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595313 w 2095500"/>
                    <a:gd name="connsiteY10" fmla="*/ 66675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19125 w 2095500"/>
                    <a:gd name="connsiteY11" fmla="*/ 47625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74019 w 2095500"/>
                    <a:gd name="connsiteY29" fmla="*/ 252412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54969 w 2095500"/>
                    <a:gd name="connsiteY28" fmla="*/ 223837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621632 w 2095500"/>
                    <a:gd name="connsiteY27" fmla="*/ 178594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609725 w 2095500"/>
                    <a:gd name="connsiteY26" fmla="*/ 1714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40669 w 2095500"/>
                    <a:gd name="connsiteY25" fmla="*/ 138112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509713 w 2095500"/>
                    <a:gd name="connsiteY24" fmla="*/ 128587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47800 w 2095500"/>
                    <a:gd name="connsiteY23" fmla="*/ 116681 h 1428750"/>
                    <a:gd name="connsiteX24" fmla="*/ 1495426 w 2095500"/>
                    <a:gd name="connsiteY24" fmla="*/ 176212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90650 w 2095500"/>
                    <a:gd name="connsiteY22" fmla="*/ 95250 h 1428750"/>
                    <a:gd name="connsiteX23" fmla="*/ 1400175 w 2095500"/>
                    <a:gd name="connsiteY23" fmla="*/ 169069 h 1428750"/>
                    <a:gd name="connsiteX24" fmla="*/ 1495426 w 2095500"/>
                    <a:gd name="connsiteY24" fmla="*/ 176212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38263 w 2095500"/>
                    <a:gd name="connsiteY21" fmla="*/ 78581 h 1428750"/>
                    <a:gd name="connsiteX22" fmla="*/ 1340644 w 2095500"/>
                    <a:gd name="connsiteY22" fmla="*/ 152400 h 1428750"/>
                    <a:gd name="connsiteX23" fmla="*/ 1400175 w 2095500"/>
                    <a:gd name="connsiteY23" fmla="*/ 169069 h 1428750"/>
                    <a:gd name="connsiteX24" fmla="*/ 1495426 w 2095500"/>
                    <a:gd name="connsiteY24" fmla="*/ 176212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40632 w 2095500"/>
                    <a:gd name="connsiteY20" fmla="*/ 64294 h 1428750"/>
                    <a:gd name="connsiteX21" fmla="*/ 1307306 w 2095500"/>
                    <a:gd name="connsiteY21" fmla="*/ 138112 h 1428750"/>
                    <a:gd name="connsiteX22" fmla="*/ 1340644 w 2095500"/>
                    <a:gd name="connsiteY22" fmla="*/ 152400 h 1428750"/>
                    <a:gd name="connsiteX23" fmla="*/ 1400175 w 2095500"/>
                    <a:gd name="connsiteY23" fmla="*/ 169069 h 1428750"/>
                    <a:gd name="connsiteX24" fmla="*/ 1495426 w 2095500"/>
                    <a:gd name="connsiteY24" fmla="*/ 176212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214438 w 2095500"/>
                    <a:gd name="connsiteY19" fmla="*/ 47625 h 1428750"/>
                    <a:gd name="connsiteX20" fmla="*/ 1207295 w 2095500"/>
                    <a:gd name="connsiteY20" fmla="*/ 138113 h 1428750"/>
                    <a:gd name="connsiteX21" fmla="*/ 1307306 w 2095500"/>
                    <a:gd name="connsiteY21" fmla="*/ 138112 h 1428750"/>
                    <a:gd name="connsiteX22" fmla="*/ 1340644 w 2095500"/>
                    <a:gd name="connsiteY22" fmla="*/ 152400 h 1428750"/>
                    <a:gd name="connsiteX23" fmla="*/ 1400175 w 2095500"/>
                    <a:gd name="connsiteY23" fmla="*/ 169069 h 1428750"/>
                    <a:gd name="connsiteX24" fmla="*/ 1495426 w 2095500"/>
                    <a:gd name="connsiteY24" fmla="*/ 176212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19188 w 2095500"/>
                    <a:gd name="connsiteY18" fmla="*/ 19050 h 1428750"/>
                    <a:gd name="connsiteX19" fmla="*/ 1171575 w 2095500"/>
                    <a:gd name="connsiteY19" fmla="*/ 123825 h 1428750"/>
                    <a:gd name="connsiteX20" fmla="*/ 1207295 w 2095500"/>
                    <a:gd name="connsiteY20" fmla="*/ 138113 h 1428750"/>
                    <a:gd name="connsiteX21" fmla="*/ 1307306 w 2095500"/>
                    <a:gd name="connsiteY21" fmla="*/ 138112 h 1428750"/>
                    <a:gd name="connsiteX22" fmla="*/ 1340644 w 2095500"/>
                    <a:gd name="connsiteY22" fmla="*/ 152400 h 1428750"/>
                    <a:gd name="connsiteX23" fmla="*/ 1400175 w 2095500"/>
                    <a:gd name="connsiteY23" fmla="*/ 169069 h 1428750"/>
                    <a:gd name="connsiteX24" fmla="*/ 1495426 w 2095500"/>
                    <a:gd name="connsiteY24" fmla="*/ 176212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9182 w 2095500"/>
                    <a:gd name="connsiteY17" fmla="*/ 11906 h 1428750"/>
                    <a:gd name="connsiteX18" fmla="*/ 1121569 w 2095500"/>
                    <a:gd name="connsiteY18" fmla="*/ 102393 h 1428750"/>
                    <a:gd name="connsiteX19" fmla="*/ 1171575 w 2095500"/>
                    <a:gd name="connsiteY19" fmla="*/ 123825 h 1428750"/>
                    <a:gd name="connsiteX20" fmla="*/ 1207295 w 2095500"/>
                    <a:gd name="connsiteY20" fmla="*/ 138113 h 1428750"/>
                    <a:gd name="connsiteX21" fmla="*/ 1307306 w 2095500"/>
                    <a:gd name="connsiteY21" fmla="*/ 138112 h 1428750"/>
                    <a:gd name="connsiteX22" fmla="*/ 1340644 w 2095500"/>
                    <a:gd name="connsiteY22" fmla="*/ 152400 h 1428750"/>
                    <a:gd name="connsiteX23" fmla="*/ 1400175 w 2095500"/>
                    <a:gd name="connsiteY23" fmla="*/ 169069 h 1428750"/>
                    <a:gd name="connsiteX24" fmla="*/ 1495426 w 2095500"/>
                    <a:gd name="connsiteY24" fmla="*/ 176212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985838 w 2095500"/>
                    <a:gd name="connsiteY16" fmla="*/ 0 h 1428750"/>
                    <a:gd name="connsiteX17" fmla="*/ 1066801 w 2095500"/>
                    <a:gd name="connsiteY17" fmla="*/ 54769 h 1428750"/>
                    <a:gd name="connsiteX18" fmla="*/ 1121569 w 2095500"/>
                    <a:gd name="connsiteY18" fmla="*/ 102393 h 1428750"/>
                    <a:gd name="connsiteX19" fmla="*/ 1171575 w 2095500"/>
                    <a:gd name="connsiteY19" fmla="*/ 123825 h 1428750"/>
                    <a:gd name="connsiteX20" fmla="*/ 1207295 w 2095500"/>
                    <a:gd name="connsiteY20" fmla="*/ 138113 h 1428750"/>
                    <a:gd name="connsiteX21" fmla="*/ 1307306 w 2095500"/>
                    <a:gd name="connsiteY21" fmla="*/ 138112 h 1428750"/>
                    <a:gd name="connsiteX22" fmla="*/ 1340644 w 2095500"/>
                    <a:gd name="connsiteY22" fmla="*/ 152400 h 1428750"/>
                    <a:gd name="connsiteX23" fmla="*/ 1400175 w 2095500"/>
                    <a:gd name="connsiteY23" fmla="*/ 169069 h 1428750"/>
                    <a:gd name="connsiteX24" fmla="*/ 1495426 w 2095500"/>
                    <a:gd name="connsiteY24" fmla="*/ 176212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9575 h 1428750"/>
                    <a:gd name="connsiteX1" fmla="*/ 226219 w 2095500"/>
                    <a:gd name="connsiteY1" fmla="*/ 359569 h 1428750"/>
                    <a:gd name="connsiteX2" fmla="*/ 247650 w 2095500"/>
                    <a:gd name="connsiteY2" fmla="*/ 304800 h 1428750"/>
                    <a:gd name="connsiteX3" fmla="*/ 278606 w 2095500"/>
                    <a:gd name="connsiteY3" fmla="*/ 288131 h 1428750"/>
                    <a:gd name="connsiteX4" fmla="*/ 311944 w 2095500"/>
                    <a:gd name="connsiteY4" fmla="*/ 304801 h 1428750"/>
                    <a:gd name="connsiteX5" fmla="*/ 397669 w 2095500"/>
                    <a:gd name="connsiteY5" fmla="*/ 295275 h 1428750"/>
                    <a:gd name="connsiteX6" fmla="*/ 383382 w 2095500"/>
                    <a:gd name="connsiteY6" fmla="*/ 264318 h 1428750"/>
                    <a:gd name="connsiteX7" fmla="*/ 488156 w 2095500"/>
                    <a:gd name="connsiteY7" fmla="*/ 211931 h 1428750"/>
                    <a:gd name="connsiteX8" fmla="*/ 571501 w 2095500"/>
                    <a:gd name="connsiteY8" fmla="*/ 207169 h 1428750"/>
                    <a:gd name="connsiteX9" fmla="*/ 619125 w 2095500"/>
                    <a:gd name="connsiteY9" fmla="*/ 195262 h 1428750"/>
                    <a:gd name="connsiteX10" fmla="*/ 633413 w 2095500"/>
                    <a:gd name="connsiteY10" fmla="*/ 100012 h 1428750"/>
                    <a:gd name="connsiteX11" fmla="*/ 659606 w 2095500"/>
                    <a:gd name="connsiteY11" fmla="*/ 73819 h 1428750"/>
                    <a:gd name="connsiteX12" fmla="*/ 697707 w 2095500"/>
                    <a:gd name="connsiteY12" fmla="*/ 30956 h 1428750"/>
                    <a:gd name="connsiteX13" fmla="*/ 750094 w 2095500"/>
                    <a:gd name="connsiteY13" fmla="*/ 9525 h 1428750"/>
                    <a:gd name="connsiteX14" fmla="*/ 831057 w 2095500"/>
                    <a:gd name="connsiteY14" fmla="*/ 2381 h 1428750"/>
                    <a:gd name="connsiteX15" fmla="*/ 940594 w 2095500"/>
                    <a:gd name="connsiteY15" fmla="*/ 0 h 1428750"/>
                    <a:gd name="connsiteX16" fmla="*/ 1012032 w 2095500"/>
                    <a:gd name="connsiteY16" fmla="*/ 59531 h 1428750"/>
                    <a:gd name="connsiteX17" fmla="*/ 1066801 w 2095500"/>
                    <a:gd name="connsiteY17" fmla="*/ 54769 h 1428750"/>
                    <a:gd name="connsiteX18" fmla="*/ 1121569 w 2095500"/>
                    <a:gd name="connsiteY18" fmla="*/ 102393 h 1428750"/>
                    <a:gd name="connsiteX19" fmla="*/ 1171575 w 2095500"/>
                    <a:gd name="connsiteY19" fmla="*/ 123825 h 1428750"/>
                    <a:gd name="connsiteX20" fmla="*/ 1207295 w 2095500"/>
                    <a:gd name="connsiteY20" fmla="*/ 138113 h 1428750"/>
                    <a:gd name="connsiteX21" fmla="*/ 1307306 w 2095500"/>
                    <a:gd name="connsiteY21" fmla="*/ 138112 h 1428750"/>
                    <a:gd name="connsiteX22" fmla="*/ 1340644 w 2095500"/>
                    <a:gd name="connsiteY22" fmla="*/ 152400 h 1428750"/>
                    <a:gd name="connsiteX23" fmla="*/ 1400175 w 2095500"/>
                    <a:gd name="connsiteY23" fmla="*/ 169069 h 1428750"/>
                    <a:gd name="connsiteX24" fmla="*/ 1495426 w 2095500"/>
                    <a:gd name="connsiteY24" fmla="*/ 176212 h 1428750"/>
                    <a:gd name="connsiteX25" fmla="*/ 1535907 w 2095500"/>
                    <a:gd name="connsiteY25" fmla="*/ 197644 h 1428750"/>
                    <a:gd name="connsiteX26" fmla="*/ 1564481 w 2095500"/>
                    <a:gd name="connsiteY26" fmla="*/ 209550 h 1428750"/>
                    <a:gd name="connsiteX27" fmla="*/ 1597819 w 2095500"/>
                    <a:gd name="connsiteY27" fmla="*/ 261938 h 1428750"/>
                    <a:gd name="connsiteX28" fmla="*/ 1609725 w 2095500"/>
                    <a:gd name="connsiteY28" fmla="*/ 297655 h 1428750"/>
                    <a:gd name="connsiteX29" fmla="*/ 1635919 w 2095500"/>
                    <a:gd name="connsiteY29" fmla="*/ 292893 h 1428750"/>
                    <a:gd name="connsiteX30" fmla="*/ 1712119 w 2095500"/>
                    <a:gd name="connsiteY30" fmla="*/ 316706 h 1428750"/>
                    <a:gd name="connsiteX31" fmla="*/ 1902619 w 2095500"/>
                    <a:gd name="connsiteY31" fmla="*/ 400050 h 1428750"/>
                    <a:gd name="connsiteX32" fmla="*/ 2031207 w 2095500"/>
                    <a:gd name="connsiteY32" fmla="*/ 473869 h 1428750"/>
                    <a:gd name="connsiteX33" fmla="*/ 2095500 w 2095500"/>
                    <a:gd name="connsiteY33" fmla="*/ 533400 h 1428750"/>
                    <a:gd name="connsiteX34" fmla="*/ 1990725 w 2095500"/>
                    <a:gd name="connsiteY34" fmla="*/ 645319 h 1428750"/>
                    <a:gd name="connsiteX35" fmla="*/ 1897857 w 2095500"/>
                    <a:gd name="connsiteY35" fmla="*/ 800100 h 1428750"/>
                    <a:gd name="connsiteX36" fmla="*/ 1702594 w 2095500"/>
                    <a:gd name="connsiteY36" fmla="*/ 771525 h 1428750"/>
                    <a:gd name="connsiteX37" fmla="*/ 1626394 w 2095500"/>
                    <a:gd name="connsiteY37" fmla="*/ 876300 h 1428750"/>
                    <a:gd name="connsiteX38" fmla="*/ 1533525 w 2095500"/>
                    <a:gd name="connsiteY38" fmla="*/ 919162 h 1428750"/>
                    <a:gd name="connsiteX39" fmla="*/ 1466850 w 2095500"/>
                    <a:gd name="connsiteY39" fmla="*/ 1009650 h 1428750"/>
                    <a:gd name="connsiteX40" fmla="*/ 1366838 w 2095500"/>
                    <a:gd name="connsiteY40" fmla="*/ 1128712 h 1428750"/>
                    <a:gd name="connsiteX41" fmla="*/ 1288257 w 2095500"/>
                    <a:gd name="connsiteY41" fmla="*/ 1166812 h 1428750"/>
                    <a:gd name="connsiteX42" fmla="*/ 1195387 w 2095500"/>
                    <a:gd name="connsiteY42" fmla="*/ 1314450 h 1428750"/>
                    <a:gd name="connsiteX43" fmla="*/ 890587 w 2095500"/>
                    <a:gd name="connsiteY43" fmla="*/ 1428750 h 1428750"/>
                    <a:gd name="connsiteX44" fmla="*/ 747713 w 2095500"/>
                    <a:gd name="connsiteY44" fmla="*/ 1295400 h 1428750"/>
                    <a:gd name="connsiteX45" fmla="*/ 683419 w 2095500"/>
                    <a:gd name="connsiteY45" fmla="*/ 1195387 h 1428750"/>
                    <a:gd name="connsiteX46" fmla="*/ 600075 w 2095500"/>
                    <a:gd name="connsiteY46" fmla="*/ 1162050 h 1428750"/>
                    <a:gd name="connsiteX47" fmla="*/ 557213 w 2095500"/>
                    <a:gd name="connsiteY47" fmla="*/ 1102519 h 1428750"/>
                    <a:gd name="connsiteX48" fmla="*/ 523875 w 2095500"/>
                    <a:gd name="connsiteY48" fmla="*/ 1028700 h 1428750"/>
                    <a:gd name="connsiteX49" fmla="*/ 507207 w 2095500"/>
                    <a:gd name="connsiteY49" fmla="*/ 876300 h 1428750"/>
                    <a:gd name="connsiteX50" fmla="*/ 459582 w 2095500"/>
                    <a:gd name="connsiteY50" fmla="*/ 742950 h 1428750"/>
                    <a:gd name="connsiteX51" fmla="*/ 340519 w 2095500"/>
                    <a:gd name="connsiteY51" fmla="*/ 690562 h 1428750"/>
                    <a:gd name="connsiteX52" fmla="*/ 123825 w 2095500"/>
                    <a:gd name="connsiteY52" fmla="*/ 685800 h 1428750"/>
                    <a:gd name="connsiteX53" fmla="*/ 33338 w 2095500"/>
                    <a:gd name="connsiteY53" fmla="*/ 685800 h 1428750"/>
                    <a:gd name="connsiteX54" fmla="*/ 0 w 2095500"/>
                    <a:gd name="connsiteY54" fmla="*/ 595312 h 1428750"/>
                    <a:gd name="connsiteX55" fmla="*/ 66675 w 2095500"/>
                    <a:gd name="connsiteY55" fmla="*/ 452437 h 1428750"/>
                    <a:gd name="connsiteX56" fmla="*/ 114300 w 2095500"/>
                    <a:gd name="connsiteY56" fmla="*/ 409575 h 1428750"/>
                    <a:gd name="connsiteX0" fmla="*/ 114300 w 2095500"/>
                    <a:gd name="connsiteY0" fmla="*/ 407194 h 1426369"/>
                    <a:gd name="connsiteX1" fmla="*/ 226219 w 2095500"/>
                    <a:gd name="connsiteY1" fmla="*/ 357188 h 1426369"/>
                    <a:gd name="connsiteX2" fmla="*/ 247650 w 2095500"/>
                    <a:gd name="connsiteY2" fmla="*/ 302419 h 1426369"/>
                    <a:gd name="connsiteX3" fmla="*/ 278606 w 2095500"/>
                    <a:gd name="connsiteY3" fmla="*/ 285750 h 1426369"/>
                    <a:gd name="connsiteX4" fmla="*/ 311944 w 2095500"/>
                    <a:gd name="connsiteY4" fmla="*/ 302420 h 1426369"/>
                    <a:gd name="connsiteX5" fmla="*/ 397669 w 2095500"/>
                    <a:gd name="connsiteY5" fmla="*/ 292894 h 1426369"/>
                    <a:gd name="connsiteX6" fmla="*/ 383382 w 2095500"/>
                    <a:gd name="connsiteY6" fmla="*/ 261937 h 1426369"/>
                    <a:gd name="connsiteX7" fmla="*/ 488156 w 2095500"/>
                    <a:gd name="connsiteY7" fmla="*/ 209550 h 1426369"/>
                    <a:gd name="connsiteX8" fmla="*/ 571501 w 2095500"/>
                    <a:gd name="connsiteY8" fmla="*/ 204788 h 1426369"/>
                    <a:gd name="connsiteX9" fmla="*/ 619125 w 2095500"/>
                    <a:gd name="connsiteY9" fmla="*/ 192881 h 1426369"/>
                    <a:gd name="connsiteX10" fmla="*/ 633413 w 2095500"/>
                    <a:gd name="connsiteY10" fmla="*/ 97631 h 1426369"/>
                    <a:gd name="connsiteX11" fmla="*/ 659606 w 2095500"/>
                    <a:gd name="connsiteY11" fmla="*/ 71438 h 1426369"/>
                    <a:gd name="connsiteX12" fmla="*/ 697707 w 2095500"/>
                    <a:gd name="connsiteY12" fmla="*/ 28575 h 1426369"/>
                    <a:gd name="connsiteX13" fmla="*/ 750094 w 2095500"/>
                    <a:gd name="connsiteY13" fmla="*/ 7144 h 1426369"/>
                    <a:gd name="connsiteX14" fmla="*/ 831057 w 2095500"/>
                    <a:gd name="connsiteY14" fmla="*/ 0 h 1426369"/>
                    <a:gd name="connsiteX15" fmla="*/ 973931 w 2095500"/>
                    <a:gd name="connsiteY15" fmla="*/ 52387 h 1426369"/>
                    <a:gd name="connsiteX16" fmla="*/ 1012032 w 2095500"/>
                    <a:gd name="connsiteY16" fmla="*/ 57150 h 1426369"/>
                    <a:gd name="connsiteX17" fmla="*/ 1066801 w 2095500"/>
                    <a:gd name="connsiteY17" fmla="*/ 52388 h 1426369"/>
                    <a:gd name="connsiteX18" fmla="*/ 1121569 w 2095500"/>
                    <a:gd name="connsiteY18" fmla="*/ 100012 h 1426369"/>
                    <a:gd name="connsiteX19" fmla="*/ 1171575 w 2095500"/>
                    <a:gd name="connsiteY19" fmla="*/ 121444 h 1426369"/>
                    <a:gd name="connsiteX20" fmla="*/ 1207295 w 2095500"/>
                    <a:gd name="connsiteY20" fmla="*/ 135732 h 1426369"/>
                    <a:gd name="connsiteX21" fmla="*/ 1307306 w 2095500"/>
                    <a:gd name="connsiteY21" fmla="*/ 135731 h 1426369"/>
                    <a:gd name="connsiteX22" fmla="*/ 1340644 w 2095500"/>
                    <a:gd name="connsiteY22" fmla="*/ 150019 h 1426369"/>
                    <a:gd name="connsiteX23" fmla="*/ 1400175 w 2095500"/>
                    <a:gd name="connsiteY23" fmla="*/ 166688 h 1426369"/>
                    <a:gd name="connsiteX24" fmla="*/ 1495426 w 2095500"/>
                    <a:gd name="connsiteY24" fmla="*/ 173831 h 1426369"/>
                    <a:gd name="connsiteX25" fmla="*/ 1535907 w 2095500"/>
                    <a:gd name="connsiteY25" fmla="*/ 195263 h 1426369"/>
                    <a:gd name="connsiteX26" fmla="*/ 1564481 w 2095500"/>
                    <a:gd name="connsiteY26" fmla="*/ 207169 h 1426369"/>
                    <a:gd name="connsiteX27" fmla="*/ 1597819 w 2095500"/>
                    <a:gd name="connsiteY27" fmla="*/ 259557 h 1426369"/>
                    <a:gd name="connsiteX28" fmla="*/ 1609725 w 2095500"/>
                    <a:gd name="connsiteY28" fmla="*/ 295274 h 1426369"/>
                    <a:gd name="connsiteX29" fmla="*/ 1635919 w 2095500"/>
                    <a:gd name="connsiteY29" fmla="*/ 290512 h 1426369"/>
                    <a:gd name="connsiteX30" fmla="*/ 1712119 w 2095500"/>
                    <a:gd name="connsiteY30" fmla="*/ 314325 h 1426369"/>
                    <a:gd name="connsiteX31" fmla="*/ 1902619 w 2095500"/>
                    <a:gd name="connsiteY31" fmla="*/ 397669 h 1426369"/>
                    <a:gd name="connsiteX32" fmla="*/ 2031207 w 2095500"/>
                    <a:gd name="connsiteY32" fmla="*/ 471488 h 1426369"/>
                    <a:gd name="connsiteX33" fmla="*/ 2095500 w 2095500"/>
                    <a:gd name="connsiteY33" fmla="*/ 531019 h 1426369"/>
                    <a:gd name="connsiteX34" fmla="*/ 1990725 w 2095500"/>
                    <a:gd name="connsiteY34" fmla="*/ 642938 h 1426369"/>
                    <a:gd name="connsiteX35" fmla="*/ 1897857 w 2095500"/>
                    <a:gd name="connsiteY35" fmla="*/ 797719 h 1426369"/>
                    <a:gd name="connsiteX36" fmla="*/ 1702594 w 2095500"/>
                    <a:gd name="connsiteY36" fmla="*/ 769144 h 1426369"/>
                    <a:gd name="connsiteX37" fmla="*/ 1626394 w 2095500"/>
                    <a:gd name="connsiteY37" fmla="*/ 873919 h 1426369"/>
                    <a:gd name="connsiteX38" fmla="*/ 1533525 w 2095500"/>
                    <a:gd name="connsiteY38" fmla="*/ 916781 h 1426369"/>
                    <a:gd name="connsiteX39" fmla="*/ 1466850 w 2095500"/>
                    <a:gd name="connsiteY39" fmla="*/ 1007269 h 1426369"/>
                    <a:gd name="connsiteX40" fmla="*/ 1366838 w 2095500"/>
                    <a:gd name="connsiteY40" fmla="*/ 1126331 h 1426369"/>
                    <a:gd name="connsiteX41" fmla="*/ 1288257 w 2095500"/>
                    <a:gd name="connsiteY41" fmla="*/ 1164431 h 1426369"/>
                    <a:gd name="connsiteX42" fmla="*/ 1195387 w 2095500"/>
                    <a:gd name="connsiteY42" fmla="*/ 1312069 h 1426369"/>
                    <a:gd name="connsiteX43" fmla="*/ 890587 w 2095500"/>
                    <a:gd name="connsiteY43" fmla="*/ 1426369 h 1426369"/>
                    <a:gd name="connsiteX44" fmla="*/ 747713 w 2095500"/>
                    <a:gd name="connsiteY44" fmla="*/ 1293019 h 1426369"/>
                    <a:gd name="connsiteX45" fmla="*/ 683419 w 2095500"/>
                    <a:gd name="connsiteY45" fmla="*/ 1193006 h 1426369"/>
                    <a:gd name="connsiteX46" fmla="*/ 600075 w 2095500"/>
                    <a:gd name="connsiteY46" fmla="*/ 1159669 h 1426369"/>
                    <a:gd name="connsiteX47" fmla="*/ 557213 w 2095500"/>
                    <a:gd name="connsiteY47" fmla="*/ 1100138 h 1426369"/>
                    <a:gd name="connsiteX48" fmla="*/ 523875 w 2095500"/>
                    <a:gd name="connsiteY48" fmla="*/ 1026319 h 1426369"/>
                    <a:gd name="connsiteX49" fmla="*/ 507207 w 2095500"/>
                    <a:gd name="connsiteY49" fmla="*/ 873919 h 1426369"/>
                    <a:gd name="connsiteX50" fmla="*/ 459582 w 2095500"/>
                    <a:gd name="connsiteY50" fmla="*/ 740569 h 1426369"/>
                    <a:gd name="connsiteX51" fmla="*/ 340519 w 2095500"/>
                    <a:gd name="connsiteY51" fmla="*/ 688181 h 1426369"/>
                    <a:gd name="connsiteX52" fmla="*/ 123825 w 2095500"/>
                    <a:gd name="connsiteY52" fmla="*/ 683419 h 1426369"/>
                    <a:gd name="connsiteX53" fmla="*/ 33338 w 2095500"/>
                    <a:gd name="connsiteY53" fmla="*/ 683419 h 1426369"/>
                    <a:gd name="connsiteX54" fmla="*/ 0 w 2095500"/>
                    <a:gd name="connsiteY54" fmla="*/ 592931 h 1426369"/>
                    <a:gd name="connsiteX55" fmla="*/ 66675 w 2095500"/>
                    <a:gd name="connsiteY55" fmla="*/ 450056 h 1426369"/>
                    <a:gd name="connsiteX56" fmla="*/ 114300 w 2095500"/>
                    <a:gd name="connsiteY56" fmla="*/ 407194 h 1426369"/>
                    <a:gd name="connsiteX0" fmla="*/ 114300 w 2095500"/>
                    <a:gd name="connsiteY0" fmla="*/ 400050 h 1419225"/>
                    <a:gd name="connsiteX1" fmla="*/ 226219 w 2095500"/>
                    <a:gd name="connsiteY1" fmla="*/ 350044 h 1419225"/>
                    <a:gd name="connsiteX2" fmla="*/ 247650 w 2095500"/>
                    <a:gd name="connsiteY2" fmla="*/ 295275 h 1419225"/>
                    <a:gd name="connsiteX3" fmla="*/ 278606 w 2095500"/>
                    <a:gd name="connsiteY3" fmla="*/ 278606 h 1419225"/>
                    <a:gd name="connsiteX4" fmla="*/ 311944 w 2095500"/>
                    <a:gd name="connsiteY4" fmla="*/ 295276 h 1419225"/>
                    <a:gd name="connsiteX5" fmla="*/ 397669 w 2095500"/>
                    <a:gd name="connsiteY5" fmla="*/ 285750 h 1419225"/>
                    <a:gd name="connsiteX6" fmla="*/ 383382 w 2095500"/>
                    <a:gd name="connsiteY6" fmla="*/ 254793 h 1419225"/>
                    <a:gd name="connsiteX7" fmla="*/ 488156 w 2095500"/>
                    <a:gd name="connsiteY7" fmla="*/ 202406 h 1419225"/>
                    <a:gd name="connsiteX8" fmla="*/ 571501 w 2095500"/>
                    <a:gd name="connsiteY8" fmla="*/ 197644 h 1419225"/>
                    <a:gd name="connsiteX9" fmla="*/ 619125 w 2095500"/>
                    <a:gd name="connsiteY9" fmla="*/ 185737 h 1419225"/>
                    <a:gd name="connsiteX10" fmla="*/ 633413 w 2095500"/>
                    <a:gd name="connsiteY10" fmla="*/ 90487 h 1419225"/>
                    <a:gd name="connsiteX11" fmla="*/ 659606 w 2095500"/>
                    <a:gd name="connsiteY11" fmla="*/ 64294 h 1419225"/>
                    <a:gd name="connsiteX12" fmla="*/ 697707 w 2095500"/>
                    <a:gd name="connsiteY12" fmla="*/ 21431 h 1419225"/>
                    <a:gd name="connsiteX13" fmla="*/ 750094 w 2095500"/>
                    <a:gd name="connsiteY13" fmla="*/ 0 h 1419225"/>
                    <a:gd name="connsiteX14" fmla="*/ 935832 w 2095500"/>
                    <a:gd name="connsiteY14" fmla="*/ 73819 h 1419225"/>
                    <a:gd name="connsiteX15" fmla="*/ 973931 w 2095500"/>
                    <a:gd name="connsiteY15" fmla="*/ 45243 h 1419225"/>
                    <a:gd name="connsiteX16" fmla="*/ 1012032 w 2095500"/>
                    <a:gd name="connsiteY16" fmla="*/ 50006 h 1419225"/>
                    <a:gd name="connsiteX17" fmla="*/ 1066801 w 2095500"/>
                    <a:gd name="connsiteY17" fmla="*/ 45244 h 1419225"/>
                    <a:gd name="connsiteX18" fmla="*/ 1121569 w 2095500"/>
                    <a:gd name="connsiteY18" fmla="*/ 92868 h 1419225"/>
                    <a:gd name="connsiteX19" fmla="*/ 1171575 w 2095500"/>
                    <a:gd name="connsiteY19" fmla="*/ 114300 h 1419225"/>
                    <a:gd name="connsiteX20" fmla="*/ 1207295 w 2095500"/>
                    <a:gd name="connsiteY20" fmla="*/ 128588 h 1419225"/>
                    <a:gd name="connsiteX21" fmla="*/ 1307306 w 2095500"/>
                    <a:gd name="connsiteY21" fmla="*/ 128587 h 1419225"/>
                    <a:gd name="connsiteX22" fmla="*/ 1340644 w 2095500"/>
                    <a:gd name="connsiteY22" fmla="*/ 142875 h 1419225"/>
                    <a:gd name="connsiteX23" fmla="*/ 1400175 w 2095500"/>
                    <a:gd name="connsiteY23" fmla="*/ 159544 h 1419225"/>
                    <a:gd name="connsiteX24" fmla="*/ 1495426 w 2095500"/>
                    <a:gd name="connsiteY24" fmla="*/ 166687 h 1419225"/>
                    <a:gd name="connsiteX25" fmla="*/ 1535907 w 2095500"/>
                    <a:gd name="connsiteY25" fmla="*/ 188119 h 1419225"/>
                    <a:gd name="connsiteX26" fmla="*/ 1564481 w 2095500"/>
                    <a:gd name="connsiteY26" fmla="*/ 200025 h 1419225"/>
                    <a:gd name="connsiteX27" fmla="*/ 1597819 w 2095500"/>
                    <a:gd name="connsiteY27" fmla="*/ 252413 h 1419225"/>
                    <a:gd name="connsiteX28" fmla="*/ 1609725 w 2095500"/>
                    <a:gd name="connsiteY28" fmla="*/ 288130 h 1419225"/>
                    <a:gd name="connsiteX29" fmla="*/ 1635919 w 2095500"/>
                    <a:gd name="connsiteY29" fmla="*/ 283368 h 1419225"/>
                    <a:gd name="connsiteX30" fmla="*/ 1712119 w 2095500"/>
                    <a:gd name="connsiteY30" fmla="*/ 307181 h 1419225"/>
                    <a:gd name="connsiteX31" fmla="*/ 1902619 w 2095500"/>
                    <a:gd name="connsiteY31" fmla="*/ 390525 h 1419225"/>
                    <a:gd name="connsiteX32" fmla="*/ 2031207 w 2095500"/>
                    <a:gd name="connsiteY32" fmla="*/ 464344 h 1419225"/>
                    <a:gd name="connsiteX33" fmla="*/ 2095500 w 2095500"/>
                    <a:gd name="connsiteY33" fmla="*/ 523875 h 1419225"/>
                    <a:gd name="connsiteX34" fmla="*/ 1990725 w 2095500"/>
                    <a:gd name="connsiteY34" fmla="*/ 635794 h 1419225"/>
                    <a:gd name="connsiteX35" fmla="*/ 1897857 w 2095500"/>
                    <a:gd name="connsiteY35" fmla="*/ 790575 h 1419225"/>
                    <a:gd name="connsiteX36" fmla="*/ 1702594 w 2095500"/>
                    <a:gd name="connsiteY36" fmla="*/ 762000 h 1419225"/>
                    <a:gd name="connsiteX37" fmla="*/ 1626394 w 2095500"/>
                    <a:gd name="connsiteY37" fmla="*/ 866775 h 1419225"/>
                    <a:gd name="connsiteX38" fmla="*/ 1533525 w 2095500"/>
                    <a:gd name="connsiteY38" fmla="*/ 909637 h 1419225"/>
                    <a:gd name="connsiteX39" fmla="*/ 1466850 w 2095500"/>
                    <a:gd name="connsiteY39" fmla="*/ 1000125 h 1419225"/>
                    <a:gd name="connsiteX40" fmla="*/ 1366838 w 2095500"/>
                    <a:gd name="connsiteY40" fmla="*/ 1119187 h 1419225"/>
                    <a:gd name="connsiteX41" fmla="*/ 1288257 w 2095500"/>
                    <a:gd name="connsiteY41" fmla="*/ 1157287 h 1419225"/>
                    <a:gd name="connsiteX42" fmla="*/ 1195387 w 2095500"/>
                    <a:gd name="connsiteY42" fmla="*/ 1304925 h 1419225"/>
                    <a:gd name="connsiteX43" fmla="*/ 890587 w 2095500"/>
                    <a:gd name="connsiteY43" fmla="*/ 1419225 h 1419225"/>
                    <a:gd name="connsiteX44" fmla="*/ 747713 w 2095500"/>
                    <a:gd name="connsiteY44" fmla="*/ 1285875 h 1419225"/>
                    <a:gd name="connsiteX45" fmla="*/ 683419 w 2095500"/>
                    <a:gd name="connsiteY45" fmla="*/ 1185862 h 1419225"/>
                    <a:gd name="connsiteX46" fmla="*/ 600075 w 2095500"/>
                    <a:gd name="connsiteY46" fmla="*/ 1152525 h 1419225"/>
                    <a:gd name="connsiteX47" fmla="*/ 557213 w 2095500"/>
                    <a:gd name="connsiteY47" fmla="*/ 1092994 h 1419225"/>
                    <a:gd name="connsiteX48" fmla="*/ 523875 w 2095500"/>
                    <a:gd name="connsiteY48" fmla="*/ 1019175 h 1419225"/>
                    <a:gd name="connsiteX49" fmla="*/ 507207 w 2095500"/>
                    <a:gd name="connsiteY49" fmla="*/ 866775 h 1419225"/>
                    <a:gd name="connsiteX50" fmla="*/ 459582 w 2095500"/>
                    <a:gd name="connsiteY50" fmla="*/ 733425 h 1419225"/>
                    <a:gd name="connsiteX51" fmla="*/ 340519 w 2095500"/>
                    <a:gd name="connsiteY51" fmla="*/ 681037 h 1419225"/>
                    <a:gd name="connsiteX52" fmla="*/ 123825 w 2095500"/>
                    <a:gd name="connsiteY52" fmla="*/ 676275 h 1419225"/>
                    <a:gd name="connsiteX53" fmla="*/ 33338 w 2095500"/>
                    <a:gd name="connsiteY53" fmla="*/ 676275 h 1419225"/>
                    <a:gd name="connsiteX54" fmla="*/ 0 w 2095500"/>
                    <a:gd name="connsiteY54" fmla="*/ 585787 h 1419225"/>
                    <a:gd name="connsiteX55" fmla="*/ 66675 w 2095500"/>
                    <a:gd name="connsiteY55" fmla="*/ 442912 h 1419225"/>
                    <a:gd name="connsiteX56" fmla="*/ 114300 w 2095500"/>
                    <a:gd name="connsiteY56" fmla="*/ 400050 h 1419225"/>
                    <a:gd name="connsiteX0" fmla="*/ 114300 w 2095500"/>
                    <a:gd name="connsiteY0" fmla="*/ 378619 h 1397794"/>
                    <a:gd name="connsiteX1" fmla="*/ 226219 w 2095500"/>
                    <a:gd name="connsiteY1" fmla="*/ 328613 h 1397794"/>
                    <a:gd name="connsiteX2" fmla="*/ 247650 w 2095500"/>
                    <a:gd name="connsiteY2" fmla="*/ 273844 h 1397794"/>
                    <a:gd name="connsiteX3" fmla="*/ 278606 w 2095500"/>
                    <a:gd name="connsiteY3" fmla="*/ 257175 h 1397794"/>
                    <a:gd name="connsiteX4" fmla="*/ 311944 w 2095500"/>
                    <a:gd name="connsiteY4" fmla="*/ 273845 h 1397794"/>
                    <a:gd name="connsiteX5" fmla="*/ 397669 w 2095500"/>
                    <a:gd name="connsiteY5" fmla="*/ 264319 h 1397794"/>
                    <a:gd name="connsiteX6" fmla="*/ 383382 w 2095500"/>
                    <a:gd name="connsiteY6" fmla="*/ 233362 h 1397794"/>
                    <a:gd name="connsiteX7" fmla="*/ 488156 w 2095500"/>
                    <a:gd name="connsiteY7" fmla="*/ 180975 h 1397794"/>
                    <a:gd name="connsiteX8" fmla="*/ 571501 w 2095500"/>
                    <a:gd name="connsiteY8" fmla="*/ 176213 h 1397794"/>
                    <a:gd name="connsiteX9" fmla="*/ 619125 w 2095500"/>
                    <a:gd name="connsiteY9" fmla="*/ 164306 h 1397794"/>
                    <a:gd name="connsiteX10" fmla="*/ 633413 w 2095500"/>
                    <a:gd name="connsiteY10" fmla="*/ 69056 h 1397794"/>
                    <a:gd name="connsiteX11" fmla="*/ 659606 w 2095500"/>
                    <a:gd name="connsiteY11" fmla="*/ 42863 h 1397794"/>
                    <a:gd name="connsiteX12" fmla="*/ 697707 w 2095500"/>
                    <a:gd name="connsiteY12" fmla="*/ 0 h 1397794"/>
                    <a:gd name="connsiteX13" fmla="*/ 800100 w 2095500"/>
                    <a:gd name="connsiteY13" fmla="*/ 2382 h 1397794"/>
                    <a:gd name="connsiteX14" fmla="*/ 935832 w 2095500"/>
                    <a:gd name="connsiteY14" fmla="*/ 52388 h 1397794"/>
                    <a:gd name="connsiteX15" fmla="*/ 973931 w 2095500"/>
                    <a:gd name="connsiteY15" fmla="*/ 23812 h 1397794"/>
                    <a:gd name="connsiteX16" fmla="*/ 1012032 w 2095500"/>
                    <a:gd name="connsiteY16" fmla="*/ 28575 h 1397794"/>
                    <a:gd name="connsiteX17" fmla="*/ 1066801 w 2095500"/>
                    <a:gd name="connsiteY17" fmla="*/ 23813 h 1397794"/>
                    <a:gd name="connsiteX18" fmla="*/ 1121569 w 2095500"/>
                    <a:gd name="connsiteY18" fmla="*/ 71437 h 1397794"/>
                    <a:gd name="connsiteX19" fmla="*/ 1171575 w 2095500"/>
                    <a:gd name="connsiteY19" fmla="*/ 92869 h 1397794"/>
                    <a:gd name="connsiteX20" fmla="*/ 1207295 w 2095500"/>
                    <a:gd name="connsiteY20" fmla="*/ 107157 h 1397794"/>
                    <a:gd name="connsiteX21" fmla="*/ 1307306 w 2095500"/>
                    <a:gd name="connsiteY21" fmla="*/ 107156 h 1397794"/>
                    <a:gd name="connsiteX22" fmla="*/ 1340644 w 2095500"/>
                    <a:gd name="connsiteY22" fmla="*/ 121444 h 1397794"/>
                    <a:gd name="connsiteX23" fmla="*/ 1400175 w 2095500"/>
                    <a:gd name="connsiteY23" fmla="*/ 138113 h 1397794"/>
                    <a:gd name="connsiteX24" fmla="*/ 1495426 w 2095500"/>
                    <a:gd name="connsiteY24" fmla="*/ 145256 h 1397794"/>
                    <a:gd name="connsiteX25" fmla="*/ 1535907 w 2095500"/>
                    <a:gd name="connsiteY25" fmla="*/ 166688 h 1397794"/>
                    <a:gd name="connsiteX26" fmla="*/ 1564481 w 2095500"/>
                    <a:gd name="connsiteY26" fmla="*/ 178594 h 1397794"/>
                    <a:gd name="connsiteX27" fmla="*/ 1597819 w 2095500"/>
                    <a:gd name="connsiteY27" fmla="*/ 230982 h 1397794"/>
                    <a:gd name="connsiteX28" fmla="*/ 1609725 w 2095500"/>
                    <a:gd name="connsiteY28" fmla="*/ 266699 h 1397794"/>
                    <a:gd name="connsiteX29" fmla="*/ 1635919 w 2095500"/>
                    <a:gd name="connsiteY29" fmla="*/ 261937 h 1397794"/>
                    <a:gd name="connsiteX30" fmla="*/ 1712119 w 2095500"/>
                    <a:gd name="connsiteY30" fmla="*/ 285750 h 1397794"/>
                    <a:gd name="connsiteX31" fmla="*/ 1902619 w 2095500"/>
                    <a:gd name="connsiteY31" fmla="*/ 369094 h 1397794"/>
                    <a:gd name="connsiteX32" fmla="*/ 2031207 w 2095500"/>
                    <a:gd name="connsiteY32" fmla="*/ 442913 h 1397794"/>
                    <a:gd name="connsiteX33" fmla="*/ 2095500 w 2095500"/>
                    <a:gd name="connsiteY33" fmla="*/ 502444 h 1397794"/>
                    <a:gd name="connsiteX34" fmla="*/ 1990725 w 2095500"/>
                    <a:gd name="connsiteY34" fmla="*/ 614363 h 1397794"/>
                    <a:gd name="connsiteX35" fmla="*/ 1897857 w 2095500"/>
                    <a:gd name="connsiteY35" fmla="*/ 769144 h 1397794"/>
                    <a:gd name="connsiteX36" fmla="*/ 1702594 w 2095500"/>
                    <a:gd name="connsiteY36" fmla="*/ 740569 h 1397794"/>
                    <a:gd name="connsiteX37" fmla="*/ 1626394 w 2095500"/>
                    <a:gd name="connsiteY37" fmla="*/ 845344 h 1397794"/>
                    <a:gd name="connsiteX38" fmla="*/ 1533525 w 2095500"/>
                    <a:gd name="connsiteY38" fmla="*/ 888206 h 1397794"/>
                    <a:gd name="connsiteX39" fmla="*/ 1466850 w 2095500"/>
                    <a:gd name="connsiteY39" fmla="*/ 978694 h 1397794"/>
                    <a:gd name="connsiteX40" fmla="*/ 1366838 w 2095500"/>
                    <a:gd name="connsiteY40" fmla="*/ 1097756 h 1397794"/>
                    <a:gd name="connsiteX41" fmla="*/ 1288257 w 2095500"/>
                    <a:gd name="connsiteY41" fmla="*/ 1135856 h 1397794"/>
                    <a:gd name="connsiteX42" fmla="*/ 1195387 w 2095500"/>
                    <a:gd name="connsiteY42" fmla="*/ 1283494 h 1397794"/>
                    <a:gd name="connsiteX43" fmla="*/ 890587 w 2095500"/>
                    <a:gd name="connsiteY43" fmla="*/ 1397794 h 1397794"/>
                    <a:gd name="connsiteX44" fmla="*/ 747713 w 2095500"/>
                    <a:gd name="connsiteY44" fmla="*/ 1264444 h 1397794"/>
                    <a:gd name="connsiteX45" fmla="*/ 683419 w 2095500"/>
                    <a:gd name="connsiteY45" fmla="*/ 1164431 h 1397794"/>
                    <a:gd name="connsiteX46" fmla="*/ 600075 w 2095500"/>
                    <a:gd name="connsiteY46" fmla="*/ 1131094 h 1397794"/>
                    <a:gd name="connsiteX47" fmla="*/ 557213 w 2095500"/>
                    <a:gd name="connsiteY47" fmla="*/ 1071563 h 1397794"/>
                    <a:gd name="connsiteX48" fmla="*/ 523875 w 2095500"/>
                    <a:gd name="connsiteY48" fmla="*/ 997744 h 1397794"/>
                    <a:gd name="connsiteX49" fmla="*/ 507207 w 2095500"/>
                    <a:gd name="connsiteY49" fmla="*/ 845344 h 1397794"/>
                    <a:gd name="connsiteX50" fmla="*/ 459582 w 2095500"/>
                    <a:gd name="connsiteY50" fmla="*/ 711994 h 1397794"/>
                    <a:gd name="connsiteX51" fmla="*/ 340519 w 2095500"/>
                    <a:gd name="connsiteY51" fmla="*/ 659606 h 1397794"/>
                    <a:gd name="connsiteX52" fmla="*/ 123825 w 2095500"/>
                    <a:gd name="connsiteY52" fmla="*/ 654844 h 1397794"/>
                    <a:gd name="connsiteX53" fmla="*/ 33338 w 2095500"/>
                    <a:gd name="connsiteY53" fmla="*/ 654844 h 1397794"/>
                    <a:gd name="connsiteX54" fmla="*/ 0 w 2095500"/>
                    <a:gd name="connsiteY54" fmla="*/ 564356 h 1397794"/>
                    <a:gd name="connsiteX55" fmla="*/ 66675 w 2095500"/>
                    <a:gd name="connsiteY55" fmla="*/ 421481 h 1397794"/>
                    <a:gd name="connsiteX56" fmla="*/ 114300 w 2095500"/>
                    <a:gd name="connsiteY56" fmla="*/ 378619 h 1397794"/>
                    <a:gd name="connsiteX0" fmla="*/ 114300 w 2095500"/>
                    <a:gd name="connsiteY0" fmla="*/ 378619 h 1397794"/>
                    <a:gd name="connsiteX1" fmla="*/ 226219 w 2095500"/>
                    <a:gd name="connsiteY1" fmla="*/ 328613 h 1397794"/>
                    <a:gd name="connsiteX2" fmla="*/ 247650 w 2095500"/>
                    <a:gd name="connsiteY2" fmla="*/ 273844 h 1397794"/>
                    <a:gd name="connsiteX3" fmla="*/ 278606 w 2095500"/>
                    <a:gd name="connsiteY3" fmla="*/ 257175 h 1397794"/>
                    <a:gd name="connsiteX4" fmla="*/ 311944 w 2095500"/>
                    <a:gd name="connsiteY4" fmla="*/ 273845 h 1397794"/>
                    <a:gd name="connsiteX5" fmla="*/ 397669 w 2095500"/>
                    <a:gd name="connsiteY5" fmla="*/ 264319 h 1397794"/>
                    <a:gd name="connsiteX6" fmla="*/ 383382 w 2095500"/>
                    <a:gd name="connsiteY6" fmla="*/ 233362 h 1397794"/>
                    <a:gd name="connsiteX7" fmla="*/ 488156 w 2095500"/>
                    <a:gd name="connsiteY7" fmla="*/ 180975 h 1397794"/>
                    <a:gd name="connsiteX8" fmla="*/ 571501 w 2095500"/>
                    <a:gd name="connsiteY8" fmla="*/ 176213 h 1397794"/>
                    <a:gd name="connsiteX9" fmla="*/ 619125 w 2095500"/>
                    <a:gd name="connsiteY9" fmla="*/ 164306 h 1397794"/>
                    <a:gd name="connsiteX10" fmla="*/ 633413 w 2095500"/>
                    <a:gd name="connsiteY10" fmla="*/ 69056 h 1397794"/>
                    <a:gd name="connsiteX11" fmla="*/ 659606 w 2095500"/>
                    <a:gd name="connsiteY11" fmla="*/ 42863 h 1397794"/>
                    <a:gd name="connsiteX12" fmla="*/ 697707 w 2095500"/>
                    <a:gd name="connsiteY12" fmla="*/ 0 h 1397794"/>
                    <a:gd name="connsiteX13" fmla="*/ 800100 w 2095500"/>
                    <a:gd name="connsiteY13" fmla="*/ 2382 h 1397794"/>
                    <a:gd name="connsiteX14" fmla="*/ 897732 w 2095500"/>
                    <a:gd name="connsiteY14" fmla="*/ 50005 h 1397794"/>
                    <a:gd name="connsiteX15" fmla="*/ 935832 w 2095500"/>
                    <a:gd name="connsiteY15" fmla="*/ 52388 h 1397794"/>
                    <a:gd name="connsiteX16" fmla="*/ 973931 w 2095500"/>
                    <a:gd name="connsiteY16" fmla="*/ 23812 h 1397794"/>
                    <a:gd name="connsiteX17" fmla="*/ 1012032 w 2095500"/>
                    <a:gd name="connsiteY17" fmla="*/ 28575 h 1397794"/>
                    <a:gd name="connsiteX18" fmla="*/ 1066801 w 2095500"/>
                    <a:gd name="connsiteY18" fmla="*/ 23813 h 1397794"/>
                    <a:gd name="connsiteX19" fmla="*/ 1121569 w 2095500"/>
                    <a:gd name="connsiteY19" fmla="*/ 71437 h 1397794"/>
                    <a:gd name="connsiteX20" fmla="*/ 1171575 w 2095500"/>
                    <a:gd name="connsiteY20" fmla="*/ 92869 h 1397794"/>
                    <a:gd name="connsiteX21" fmla="*/ 1207295 w 2095500"/>
                    <a:gd name="connsiteY21" fmla="*/ 107157 h 1397794"/>
                    <a:gd name="connsiteX22" fmla="*/ 1307306 w 2095500"/>
                    <a:gd name="connsiteY22" fmla="*/ 107156 h 1397794"/>
                    <a:gd name="connsiteX23" fmla="*/ 1340644 w 2095500"/>
                    <a:gd name="connsiteY23" fmla="*/ 121444 h 1397794"/>
                    <a:gd name="connsiteX24" fmla="*/ 1400175 w 2095500"/>
                    <a:gd name="connsiteY24" fmla="*/ 138113 h 1397794"/>
                    <a:gd name="connsiteX25" fmla="*/ 1495426 w 2095500"/>
                    <a:gd name="connsiteY25" fmla="*/ 145256 h 1397794"/>
                    <a:gd name="connsiteX26" fmla="*/ 1535907 w 2095500"/>
                    <a:gd name="connsiteY26" fmla="*/ 166688 h 1397794"/>
                    <a:gd name="connsiteX27" fmla="*/ 1564481 w 2095500"/>
                    <a:gd name="connsiteY27" fmla="*/ 178594 h 1397794"/>
                    <a:gd name="connsiteX28" fmla="*/ 1597819 w 2095500"/>
                    <a:gd name="connsiteY28" fmla="*/ 230982 h 1397794"/>
                    <a:gd name="connsiteX29" fmla="*/ 1609725 w 2095500"/>
                    <a:gd name="connsiteY29" fmla="*/ 266699 h 1397794"/>
                    <a:gd name="connsiteX30" fmla="*/ 1635919 w 2095500"/>
                    <a:gd name="connsiteY30" fmla="*/ 261937 h 1397794"/>
                    <a:gd name="connsiteX31" fmla="*/ 1712119 w 2095500"/>
                    <a:gd name="connsiteY31" fmla="*/ 285750 h 1397794"/>
                    <a:gd name="connsiteX32" fmla="*/ 1902619 w 2095500"/>
                    <a:gd name="connsiteY32" fmla="*/ 369094 h 1397794"/>
                    <a:gd name="connsiteX33" fmla="*/ 2031207 w 2095500"/>
                    <a:gd name="connsiteY33" fmla="*/ 442913 h 1397794"/>
                    <a:gd name="connsiteX34" fmla="*/ 2095500 w 2095500"/>
                    <a:gd name="connsiteY34" fmla="*/ 502444 h 1397794"/>
                    <a:gd name="connsiteX35" fmla="*/ 1990725 w 2095500"/>
                    <a:gd name="connsiteY35" fmla="*/ 614363 h 1397794"/>
                    <a:gd name="connsiteX36" fmla="*/ 1897857 w 2095500"/>
                    <a:gd name="connsiteY36" fmla="*/ 769144 h 1397794"/>
                    <a:gd name="connsiteX37" fmla="*/ 1702594 w 2095500"/>
                    <a:gd name="connsiteY37" fmla="*/ 740569 h 1397794"/>
                    <a:gd name="connsiteX38" fmla="*/ 1626394 w 2095500"/>
                    <a:gd name="connsiteY38" fmla="*/ 845344 h 1397794"/>
                    <a:gd name="connsiteX39" fmla="*/ 1533525 w 2095500"/>
                    <a:gd name="connsiteY39" fmla="*/ 888206 h 1397794"/>
                    <a:gd name="connsiteX40" fmla="*/ 1466850 w 2095500"/>
                    <a:gd name="connsiteY40" fmla="*/ 978694 h 1397794"/>
                    <a:gd name="connsiteX41" fmla="*/ 1366838 w 2095500"/>
                    <a:gd name="connsiteY41" fmla="*/ 1097756 h 1397794"/>
                    <a:gd name="connsiteX42" fmla="*/ 1288257 w 2095500"/>
                    <a:gd name="connsiteY42" fmla="*/ 1135856 h 1397794"/>
                    <a:gd name="connsiteX43" fmla="*/ 1195387 w 2095500"/>
                    <a:gd name="connsiteY43" fmla="*/ 1283494 h 1397794"/>
                    <a:gd name="connsiteX44" fmla="*/ 890587 w 2095500"/>
                    <a:gd name="connsiteY44" fmla="*/ 1397794 h 1397794"/>
                    <a:gd name="connsiteX45" fmla="*/ 747713 w 2095500"/>
                    <a:gd name="connsiteY45" fmla="*/ 1264444 h 1397794"/>
                    <a:gd name="connsiteX46" fmla="*/ 683419 w 2095500"/>
                    <a:gd name="connsiteY46" fmla="*/ 1164431 h 1397794"/>
                    <a:gd name="connsiteX47" fmla="*/ 600075 w 2095500"/>
                    <a:gd name="connsiteY47" fmla="*/ 1131094 h 1397794"/>
                    <a:gd name="connsiteX48" fmla="*/ 557213 w 2095500"/>
                    <a:gd name="connsiteY48" fmla="*/ 1071563 h 1397794"/>
                    <a:gd name="connsiteX49" fmla="*/ 523875 w 2095500"/>
                    <a:gd name="connsiteY49" fmla="*/ 997744 h 1397794"/>
                    <a:gd name="connsiteX50" fmla="*/ 507207 w 2095500"/>
                    <a:gd name="connsiteY50" fmla="*/ 845344 h 1397794"/>
                    <a:gd name="connsiteX51" fmla="*/ 459582 w 2095500"/>
                    <a:gd name="connsiteY51" fmla="*/ 711994 h 1397794"/>
                    <a:gd name="connsiteX52" fmla="*/ 340519 w 2095500"/>
                    <a:gd name="connsiteY52" fmla="*/ 659606 h 1397794"/>
                    <a:gd name="connsiteX53" fmla="*/ 123825 w 2095500"/>
                    <a:gd name="connsiteY53" fmla="*/ 654844 h 1397794"/>
                    <a:gd name="connsiteX54" fmla="*/ 33338 w 2095500"/>
                    <a:gd name="connsiteY54" fmla="*/ 654844 h 1397794"/>
                    <a:gd name="connsiteX55" fmla="*/ 0 w 2095500"/>
                    <a:gd name="connsiteY55" fmla="*/ 564356 h 1397794"/>
                    <a:gd name="connsiteX56" fmla="*/ 66675 w 2095500"/>
                    <a:gd name="connsiteY56" fmla="*/ 421481 h 1397794"/>
                    <a:gd name="connsiteX57" fmla="*/ 114300 w 2095500"/>
                    <a:gd name="connsiteY57" fmla="*/ 378619 h 1397794"/>
                    <a:gd name="connsiteX0" fmla="*/ 114300 w 2095500"/>
                    <a:gd name="connsiteY0" fmla="*/ 385762 h 1404937"/>
                    <a:gd name="connsiteX1" fmla="*/ 226219 w 2095500"/>
                    <a:gd name="connsiteY1" fmla="*/ 335756 h 1404937"/>
                    <a:gd name="connsiteX2" fmla="*/ 247650 w 2095500"/>
                    <a:gd name="connsiteY2" fmla="*/ 280987 h 1404937"/>
                    <a:gd name="connsiteX3" fmla="*/ 278606 w 2095500"/>
                    <a:gd name="connsiteY3" fmla="*/ 264318 h 1404937"/>
                    <a:gd name="connsiteX4" fmla="*/ 311944 w 2095500"/>
                    <a:gd name="connsiteY4" fmla="*/ 280988 h 1404937"/>
                    <a:gd name="connsiteX5" fmla="*/ 397669 w 2095500"/>
                    <a:gd name="connsiteY5" fmla="*/ 271462 h 1404937"/>
                    <a:gd name="connsiteX6" fmla="*/ 383382 w 2095500"/>
                    <a:gd name="connsiteY6" fmla="*/ 240505 h 1404937"/>
                    <a:gd name="connsiteX7" fmla="*/ 488156 w 2095500"/>
                    <a:gd name="connsiteY7" fmla="*/ 188118 h 1404937"/>
                    <a:gd name="connsiteX8" fmla="*/ 571501 w 2095500"/>
                    <a:gd name="connsiteY8" fmla="*/ 183356 h 1404937"/>
                    <a:gd name="connsiteX9" fmla="*/ 619125 w 2095500"/>
                    <a:gd name="connsiteY9" fmla="*/ 171449 h 1404937"/>
                    <a:gd name="connsiteX10" fmla="*/ 633413 w 2095500"/>
                    <a:gd name="connsiteY10" fmla="*/ 76199 h 1404937"/>
                    <a:gd name="connsiteX11" fmla="*/ 659606 w 2095500"/>
                    <a:gd name="connsiteY11" fmla="*/ 50006 h 1404937"/>
                    <a:gd name="connsiteX12" fmla="*/ 716757 w 2095500"/>
                    <a:gd name="connsiteY12" fmla="*/ 0 h 1404937"/>
                    <a:gd name="connsiteX13" fmla="*/ 800100 w 2095500"/>
                    <a:gd name="connsiteY13" fmla="*/ 9525 h 1404937"/>
                    <a:gd name="connsiteX14" fmla="*/ 897732 w 2095500"/>
                    <a:gd name="connsiteY14" fmla="*/ 57148 h 1404937"/>
                    <a:gd name="connsiteX15" fmla="*/ 935832 w 2095500"/>
                    <a:gd name="connsiteY15" fmla="*/ 59531 h 1404937"/>
                    <a:gd name="connsiteX16" fmla="*/ 973931 w 2095500"/>
                    <a:gd name="connsiteY16" fmla="*/ 30955 h 1404937"/>
                    <a:gd name="connsiteX17" fmla="*/ 1012032 w 2095500"/>
                    <a:gd name="connsiteY17" fmla="*/ 35718 h 1404937"/>
                    <a:gd name="connsiteX18" fmla="*/ 1066801 w 2095500"/>
                    <a:gd name="connsiteY18" fmla="*/ 30956 h 1404937"/>
                    <a:gd name="connsiteX19" fmla="*/ 1121569 w 2095500"/>
                    <a:gd name="connsiteY19" fmla="*/ 78580 h 1404937"/>
                    <a:gd name="connsiteX20" fmla="*/ 1171575 w 2095500"/>
                    <a:gd name="connsiteY20" fmla="*/ 100012 h 1404937"/>
                    <a:gd name="connsiteX21" fmla="*/ 1207295 w 2095500"/>
                    <a:gd name="connsiteY21" fmla="*/ 114300 h 1404937"/>
                    <a:gd name="connsiteX22" fmla="*/ 1307306 w 2095500"/>
                    <a:gd name="connsiteY22" fmla="*/ 114299 h 1404937"/>
                    <a:gd name="connsiteX23" fmla="*/ 1340644 w 2095500"/>
                    <a:gd name="connsiteY23" fmla="*/ 128587 h 1404937"/>
                    <a:gd name="connsiteX24" fmla="*/ 1400175 w 2095500"/>
                    <a:gd name="connsiteY24" fmla="*/ 145256 h 1404937"/>
                    <a:gd name="connsiteX25" fmla="*/ 1495426 w 2095500"/>
                    <a:gd name="connsiteY25" fmla="*/ 152399 h 1404937"/>
                    <a:gd name="connsiteX26" fmla="*/ 1535907 w 2095500"/>
                    <a:gd name="connsiteY26" fmla="*/ 173831 h 1404937"/>
                    <a:gd name="connsiteX27" fmla="*/ 1564481 w 2095500"/>
                    <a:gd name="connsiteY27" fmla="*/ 185737 h 1404937"/>
                    <a:gd name="connsiteX28" fmla="*/ 1597819 w 2095500"/>
                    <a:gd name="connsiteY28" fmla="*/ 238125 h 1404937"/>
                    <a:gd name="connsiteX29" fmla="*/ 1609725 w 2095500"/>
                    <a:gd name="connsiteY29" fmla="*/ 273842 h 1404937"/>
                    <a:gd name="connsiteX30" fmla="*/ 1635919 w 2095500"/>
                    <a:gd name="connsiteY30" fmla="*/ 269080 h 1404937"/>
                    <a:gd name="connsiteX31" fmla="*/ 1712119 w 2095500"/>
                    <a:gd name="connsiteY31" fmla="*/ 292893 h 1404937"/>
                    <a:gd name="connsiteX32" fmla="*/ 1902619 w 2095500"/>
                    <a:gd name="connsiteY32" fmla="*/ 376237 h 1404937"/>
                    <a:gd name="connsiteX33" fmla="*/ 2031207 w 2095500"/>
                    <a:gd name="connsiteY33" fmla="*/ 450056 h 1404937"/>
                    <a:gd name="connsiteX34" fmla="*/ 2095500 w 2095500"/>
                    <a:gd name="connsiteY34" fmla="*/ 509587 h 1404937"/>
                    <a:gd name="connsiteX35" fmla="*/ 1990725 w 2095500"/>
                    <a:gd name="connsiteY35" fmla="*/ 621506 h 1404937"/>
                    <a:gd name="connsiteX36" fmla="*/ 1897857 w 2095500"/>
                    <a:gd name="connsiteY36" fmla="*/ 776287 h 1404937"/>
                    <a:gd name="connsiteX37" fmla="*/ 1702594 w 2095500"/>
                    <a:gd name="connsiteY37" fmla="*/ 747712 h 1404937"/>
                    <a:gd name="connsiteX38" fmla="*/ 1626394 w 2095500"/>
                    <a:gd name="connsiteY38" fmla="*/ 852487 h 1404937"/>
                    <a:gd name="connsiteX39" fmla="*/ 1533525 w 2095500"/>
                    <a:gd name="connsiteY39" fmla="*/ 895349 h 1404937"/>
                    <a:gd name="connsiteX40" fmla="*/ 1466850 w 2095500"/>
                    <a:gd name="connsiteY40" fmla="*/ 985837 h 1404937"/>
                    <a:gd name="connsiteX41" fmla="*/ 1366838 w 2095500"/>
                    <a:gd name="connsiteY41" fmla="*/ 1104899 h 1404937"/>
                    <a:gd name="connsiteX42" fmla="*/ 1288257 w 2095500"/>
                    <a:gd name="connsiteY42" fmla="*/ 1142999 h 1404937"/>
                    <a:gd name="connsiteX43" fmla="*/ 1195387 w 2095500"/>
                    <a:gd name="connsiteY43" fmla="*/ 1290637 h 1404937"/>
                    <a:gd name="connsiteX44" fmla="*/ 890587 w 2095500"/>
                    <a:gd name="connsiteY44" fmla="*/ 1404937 h 1404937"/>
                    <a:gd name="connsiteX45" fmla="*/ 747713 w 2095500"/>
                    <a:gd name="connsiteY45" fmla="*/ 1271587 h 1404937"/>
                    <a:gd name="connsiteX46" fmla="*/ 683419 w 2095500"/>
                    <a:gd name="connsiteY46" fmla="*/ 1171574 h 1404937"/>
                    <a:gd name="connsiteX47" fmla="*/ 600075 w 2095500"/>
                    <a:gd name="connsiteY47" fmla="*/ 1138237 h 1404937"/>
                    <a:gd name="connsiteX48" fmla="*/ 557213 w 2095500"/>
                    <a:gd name="connsiteY48" fmla="*/ 1078706 h 1404937"/>
                    <a:gd name="connsiteX49" fmla="*/ 523875 w 2095500"/>
                    <a:gd name="connsiteY49" fmla="*/ 1004887 h 1404937"/>
                    <a:gd name="connsiteX50" fmla="*/ 507207 w 2095500"/>
                    <a:gd name="connsiteY50" fmla="*/ 852487 h 1404937"/>
                    <a:gd name="connsiteX51" fmla="*/ 459582 w 2095500"/>
                    <a:gd name="connsiteY51" fmla="*/ 719137 h 1404937"/>
                    <a:gd name="connsiteX52" fmla="*/ 340519 w 2095500"/>
                    <a:gd name="connsiteY52" fmla="*/ 666749 h 1404937"/>
                    <a:gd name="connsiteX53" fmla="*/ 123825 w 2095500"/>
                    <a:gd name="connsiteY53" fmla="*/ 661987 h 1404937"/>
                    <a:gd name="connsiteX54" fmla="*/ 33338 w 2095500"/>
                    <a:gd name="connsiteY54" fmla="*/ 661987 h 1404937"/>
                    <a:gd name="connsiteX55" fmla="*/ 0 w 2095500"/>
                    <a:gd name="connsiteY55" fmla="*/ 571499 h 1404937"/>
                    <a:gd name="connsiteX56" fmla="*/ 66675 w 2095500"/>
                    <a:gd name="connsiteY56" fmla="*/ 428624 h 1404937"/>
                    <a:gd name="connsiteX57" fmla="*/ 114300 w 2095500"/>
                    <a:gd name="connsiteY57" fmla="*/ 385762 h 1404937"/>
                    <a:gd name="connsiteX0" fmla="*/ 114300 w 2095500"/>
                    <a:gd name="connsiteY0" fmla="*/ 385762 h 1404937"/>
                    <a:gd name="connsiteX1" fmla="*/ 226219 w 2095500"/>
                    <a:gd name="connsiteY1" fmla="*/ 335756 h 1404937"/>
                    <a:gd name="connsiteX2" fmla="*/ 247650 w 2095500"/>
                    <a:gd name="connsiteY2" fmla="*/ 280987 h 1404937"/>
                    <a:gd name="connsiteX3" fmla="*/ 278606 w 2095500"/>
                    <a:gd name="connsiteY3" fmla="*/ 264318 h 1404937"/>
                    <a:gd name="connsiteX4" fmla="*/ 311944 w 2095500"/>
                    <a:gd name="connsiteY4" fmla="*/ 280988 h 1404937"/>
                    <a:gd name="connsiteX5" fmla="*/ 354807 w 2095500"/>
                    <a:gd name="connsiteY5" fmla="*/ 276224 h 1404937"/>
                    <a:gd name="connsiteX6" fmla="*/ 397669 w 2095500"/>
                    <a:gd name="connsiteY6" fmla="*/ 271462 h 1404937"/>
                    <a:gd name="connsiteX7" fmla="*/ 383382 w 2095500"/>
                    <a:gd name="connsiteY7" fmla="*/ 240505 h 1404937"/>
                    <a:gd name="connsiteX8" fmla="*/ 488156 w 2095500"/>
                    <a:gd name="connsiteY8" fmla="*/ 188118 h 1404937"/>
                    <a:gd name="connsiteX9" fmla="*/ 571501 w 2095500"/>
                    <a:gd name="connsiteY9" fmla="*/ 183356 h 1404937"/>
                    <a:gd name="connsiteX10" fmla="*/ 619125 w 2095500"/>
                    <a:gd name="connsiteY10" fmla="*/ 171449 h 1404937"/>
                    <a:gd name="connsiteX11" fmla="*/ 633413 w 2095500"/>
                    <a:gd name="connsiteY11" fmla="*/ 76199 h 1404937"/>
                    <a:gd name="connsiteX12" fmla="*/ 659606 w 2095500"/>
                    <a:gd name="connsiteY12" fmla="*/ 50006 h 1404937"/>
                    <a:gd name="connsiteX13" fmla="*/ 716757 w 2095500"/>
                    <a:gd name="connsiteY13" fmla="*/ 0 h 1404937"/>
                    <a:gd name="connsiteX14" fmla="*/ 800100 w 2095500"/>
                    <a:gd name="connsiteY14" fmla="*/ 9525 h 1404937"/>
                    <a:gd name="connsiteX15" fmla="*/ 897732 w 2095500"/>
                    <a:gd name="connsiteY15" fmla="*/ 57148 h 1404937"/>
                    <a:gd name="connsiteX16" fmla="*/ 935832 w 2095500"/>
                    <a:gd name="connsiteY16" fmla="*/ 59531 h 1404937"/>
                    <a:gd name="connsiteX17" fmla="*/ 973931 w 2095500"/>
                    <a:gd name="connsiteY17" fmla="*/ 30955 h 1404937"/>
                    <a:gd name="connsiteX18" fmla="*/ 1012032 w 2095500"/>
                    <a:gd name="connsiteY18" fmla="*/ 35718 h 1404937"/>
                    <a:gd name="connsiteX19" fmla="*/ 1066801 w 2095500"/>
                    <a:gd name="connsiteY19" fmla="*/ 30956 h 1404937"/>
                    <a:gd name="connsiteX20" fmla="*/ 1121569 w 2095500"/>
                    <a:gd name="connsiteY20" fmla="*/ 78580 h 1404937"/>
                    <a:gd name="connsiteX21" fmla="*/ 1171575 w 2095500"/>
                    <a:gd name="connsiteY21" fmla="*/ 100012 h 1404937"/>
                    <a:gd name="connsiteX22" fmla="*/ 1207295 w 2095500"/>
                    <a:gd name="connsiteY22" fmla="*/ 114300 h 1404937"/>
                    <a:gd name="connsiteX23" fmla="*/ 1307306 w 2095500"/>
                    <a:gd name="connsiteY23" fmla="*/ 114299 h 1404937"/>
                    <a:gd name="connsiteX24" fmla="*/ 1340644 w 2095500"/>
                    <a:gd name="connsiteY24" fmla="*/ 128587 h 1404937"/>
                    <a:gd name="connsiteX25" fmla="*/ 1400175 w 2095500"/>
                    <a:gd name="connsiteY25" fmla="*/ 145256 h 1404937"/>
                    <a:gd name="connsiteX26" fmla="*/ 1495426 w 2095500"/>
                    <a:gd name="connsiteY26" fmla="*/ 152399 h 1404937"/>
                    <a:gd name="connsiteX27" fmla="*/ 1535907 w 2095500"/>
                    <a:gd name="connsiteY27" fmla="*/ 173831 h 1404937"/>
                    <a:gd name="connsiteX28" fmla="*/ 1564481 w 2095500"/>
                    <a:gd name="connsiteY28" fmla="*/ 185737 h 1404937"/>
                    <a:gd name="connsiteX29" fmla="*/ 1597819 w 2095500"/>
                    <a:gd name="connsiteY29" fmla="*/ 238125 h 1404937"/>
                    <a:gd name="connsiteX30" fmla="*/ 1609725 w 2095500"/>
                    <a:gd name="connsiteY30" fmla="*/ 273842 h 1404937"/>
                    <a:gd name="connsiteX31" fmla="*/ 1635919 w 2095500"/>
                    <a:gd name="connsiteY31" fmla="*/ 269080 h 1404937"/>
                    <a:gd name="connsiteX32" fmla="*/ 1712119 w 2095500"/>
                    <a:gd name="connsiteY32" fmla="*/ 292893 h 1404937"/>
                    <a:gd name="connsiteX33" fmla="*/ 1902619 w 2095500"/>
                    <a:gd name="connsiteY33" fmla="*/ 376237 h 1404937"/>
                    <a:gd name="connsiteX34" fmla="*/ 2031207 w 2095500"/>
                    <a:gd name="connsiteY34" fmla="*/ 450056 h 1404937"/>
                    <a:gd name="connsiteX35" fmla="*/ 2095500 w 2095500"/>
                    <a:gd name="connsiteY35" fmla="*/ 509587 h 1404937"/>
                    <a:gd name="connsiteX36" fmla="*/ 1990725 w 2095500"/>
                    <a:gd name="connsiteY36" fmla="*/ 621506 h 1404937"/>
                    <a:gd name="connsiteX37" fmla="*/ 1897857 w 2095500"/>
                    <a:gd name="connsiteY37" fmla="*/ 776287 h 1404937"/>
                    <a:gd name="connsiteX38" fmla="*/ 1702594 w 2095500"/>
                    <a:gd name="connsiteY38" fmla="*/ 747712 h 1404937"/>
                    <a:gd name="connsiteX39" fmla="*/ 1626394 w 2095500"/>
                    <a:gd name="connsiteY39" fmla="*/ 852487 h 1404937"/>
                    <a:gd name="connsiteX40" fmla="*/ 1533525 w 2095500"/>
                    <a:gd name="connsiteY40" fmla="*/ 895349 h 1404937"/>
                    <a:gd name="connsiteX41" fmla="*/ 1466850 w 2095500"/>
                    <a:gd name="connsiteY41" fmla="*/ 985837 h 1404937"/>
                    <a:gd name="connsiteX42" fmla="*/ 1366838 w 2095500"/>
                    <a:gd name="connsiteY42" fmla="*/ 1104899 h 1404937"/>
                    <a:gd name="connsiteX43" fmla="*/ 1288257 w 2095500"/>
                    <a:gd name="connsiteY43" fmla="*/ 1142999 h 1404937"/>
                    <a:gd name="connsiteX44" fmla="*/ 1195387 w 2095500"/>
                    <a:gd name="connsiteY44" fmla="*/ 1290637 h 1404937"/>
                    <a:gd name="connsiteX45" fmla="*/ 890587 w 2095500"/>
                    <a:gd name="connsiteY45" fmla="*/ 1404937 h 1404937"/>
                    <a:gd name="connsiteX46" fmla="*/ 747713 w 2095500"/>
                    <a:gd name="connsiteY46" fmla="*/ 1271587 h 1404937"/>
                    <a:gd name="connsiteX47" fmla="*/ 683419 w 2095500"/>
                    <a:gd name="connsiteY47" fmla="*/ 1171574 h 1404937"/>
                    <a:gd name="connsiteX48" fmla="*/ 600075 w 2095500"/>
                    <a:gd name="connsiteY48" fmla="*/ 1138237 h 1404937"/>
                    <a:gd name="connsiteX49" fmla="*/ 557213 w 2095500"/>
                    <a:gd name="connsiteY49" fmla="*/ 1078706 h 1404937"/>
                    <a:gd name="connsiteX50" fmla="*/ 523875 w 2095500"/>
                    <a:gd name="connsiteY50" fmla="*/ 1004887 h 1404937"/>
                    <a:gd name="connsiteX51" fmla="*/ 507207 w 2095500"/>
                    <a:gd name="connsiteY51" fmla="*/ 852487 h 1404937"/>
                    <a:gd name="connsiteX52" fmla="*/ 459582 w 2095500"/>
                    <a:gd name="connsiteY52" fmla="*/ 719137 h 1404937"/>
                    <a:gd name="connsiteX53" fmla="*/ 340519 w 2095500"/>
                    <a:gd name="connsiteY53" fmla="*/ 666749 h 1404937"/>
                    <a:gd name="connsiteX54" fmla="*/ 123825 w 2095500"/>
                    <a:gd name="connsiteY54" fmla="*/ 661987 h 1404937"/>
                    <a:gd name="connsiteX55" fmla="*/ 33338 w 2095500"/>
                    <a:gd name="connsiteY55" fmla="*/ 661987 h 1404937"/>
                    <a:gd name="connsiteX56" fmla="*/ 0 w 2095500"/>
                    <a:gd name="connsiteY56" fmla="*/ 571499 h 1404937"/>
                    <a:gd name="connsiteX57" fmla="*/ 66675 w 2095500"/>
                    <a:gd name="connsiteY57" fmla="*/ 428624 h 1404937"/>
                    <a:gd name="connsiteX58" fmla="*/ 114300 w 2095500"/>
                    <a:gd name="connsiteY58" fmla="*/ 385762 h 1404937"/>
                    <a:gd name="connsiteX0" fmla="*/ 114300 w 2095500"/>
                    <a:gd name="connsiteY0" fmla="*/ 385762 h 1404937"/>
                    <a:gd name="connsiteX1" fmla="*/ 226219 w 2095500"/>
                    <a:gd name="connsiteY1" fmla="*/ 335756 h 1404937"/>
                    <a:gd name="connsiteX2" fmla="*/ 247650 w 2095500"/>
                    <a:gd name="connsiteY2" fmla="*/ 280987 h 1404937"/>
                    <a:gd name="connsiteX3" fmla="*/ 278606 w 2095500"/>
                    <a:gd name="connsiteY3" fmla="*/ 264318 h 1404937"/>
                    <a:gd name="connsiteX4" fmla="*/ 311944 w 2095500"/>
                    <a:gd name="connsiteY4" fmla="*/ 280988 h 1404937"/>
                    <a:gd name="connsiteX5" fmla="*/ 354807 w 2095500"/>
                    <a:gd name="connsiteY5" fmla="*/ 276224 h 1404937"/>
                    <a:gd name="connsiteX6" fmla="*/ 397669 w 2095500"/>
                    <a:gd name="connsiteY6" fmla="*/ 271462 h 1404937"/>
                    <a:gd name="connsiteX7" fmla="*/ 383382 w 2095500"/>
                    <a:gd name="connsiteY7" fmla="*/ 240505 h 1404937"/>
                    <a:gd name="connsiteX8" fmla="*/ 423863 w 2095500"/>
                    <a:gd name="connsiteY8" fmla="*/ 211931 h 1404937"/>
                    <a:gd name="connsiteX9" fmla="*/ 488156 w 2095500"/>
                    <a:gd name="connsiteY9" fmla="*/ 188118 h 1404937"/>
                    <a:gd name="connsiteX10" fmla="*/ 571501 w 2095500"/>
                    <a:gd name="connsiteY10" fmla="*/ 183356 h 1404937"/>
                    <a:gd name="connsiteX11" fmla="*/ 619125 w 2095500"/>
                    <a:gd name="connsiteY11" fmla="*/ 171449 h 1404937"/>
                    <a:gd name="connsiteX12" fmla="*/ 633413 w 2095500"/>
                    <a:gd name="connsiteY12" fmla="*/ 76199 h 1404937"/>
                    <a:gd name="connsiteX13" fmla="*/ 659606 w 2095500"/>
                    <a:gd name="connsiteY13" fmla="*/ 50006 h 1404937"/>
                    <a:gd name="connsiteX14" fmla="*/ 716757 w 2095500"/>
                    <a:gd name="connsiteY14" fmla="*/ 0 h 1404937"/>
                    <a:gd name="connsiteX15" fmla="*/ 800100 w 2095500"/>
                    <a:gd name="connsiteY15" fmla="*/ 9525 h 1404937"/>
                    <a:gd name="connsiteX16" fmla="*/ 897732 w 2095500"/>
                    <a:gd name="connsiteY16" fmla="*/ 57148 h 1404937"/>
                    <a:gd name="connsiteX17" fmla="*/ 935832 w 2095500"/>
                    <a:gd name="connsiteY17" fmla="*/ 59531 h 1404937"/>
                    <a:gd name="connsiteX18" fmla="*/ 973931 w 2095500"/>
                    <a:gd name="connsiteY18" fmla="*/ 30955 h 1404937"/>
                    <a:gd name="connsiteX19" fmla="*/ 1012032 w 2095500"/>
                    <a:gd name="connsiteY19" fmla="*/ 35718 h 1404937"/>
                    <a:gd name="connsiteX20" fmla="*/ 1066801 w 2095500"/>
                    <a:gd name="connsiteY20" fmla="*/ 30956 h 1404937"/>
                    <a:gd name="connsiteX21" fmla="*/ 1121569 w 2095500"/>
                    <a:gd name="connsiteY21" fmla="*/ 78580 h 1404937"/>
                    <a:gd name="connsiteX22" fmla="*/ 1171575 w 2095500"/>
                    <a:gd name="connsiteY22" fmla="*/ 100012 h 1404937"/>
                    <a:gd name="connsiteX23" fmla="*/ 1207295 w 2095500"/>
                    <a:gd name="connsiteY23" fmla="*/ 114300 h 1404937"/>
                    <a:gd name="connsiteX24" fmla="*/ 1307306 w 2095500"/>
                    <a:gd name="connsiteY24" fmla="*/ 114299 h 1404937"/>
                    <a:gd name="connsiteX25" fmla="*/ 1340644 w 2095500"/>
                    <a:gd name="connsiteY25" fmla="*/ 128587 h 1404937"/>
                    <a:gd name="connsiteX26" fmla="*/ 1400175 w 2095500"/>
                    <a:gd name="connsiteY26" fmla="*/ 145256 h 1404937"/>
                    <a:gd name="connsiteX27" fmla="*/ 1495426 w 2095500"/>
                    <a:gd name="connsiteY27" fmla="*/ 152399 h 1404937"/>
                    <a:gd name="connsiteX28" fmla="*/ 1535907 w 2095500"/>
                    <a:gd name="connsiteY28" fmla="*/ 173831 h 1404937"/>
                    <a:gd name="connsiteX29" fmla="*/ 1564481 w 2095500"/>
                    <a:gd name="connsiteY29" fmla="*/ 185737 h 1404937"/>
                    <a:gd name="connsiteX30" fmla="*/ 1597819 w 2095500"/>
                    <a:gd name="connsiteY30" fmla="*/ 238125 h 1404937"/>
                    <a:gd name="connsiteX31" fmla="*/ 1609725 w 2095500"/>
                    <a:gd name="connsiteY31" fmla="*/ 273842 h 1404937"/>
                    <a:gd name="connsiteX32" fmla="*/ 1635919 w 2095500"/>
                    <a:gd name="connsiteY32" fmla="*/ 269080 h 1404937"/>
                    <a:gd name="connsiteX33" fmla="*/ 1712119 w 2095500"/>
                    <a:gd name="connsiteY33" fmla="*/ 292893 h 1404937"/>
                    <a:gd name="connsiteX34" fmla="*/ 1902619 w 2095500"/>
                    <a:gd name="connsiteY34" fmla="*/ 376237 h 1404937"/>
                    <a:gd name="connsiteX35" fmla="*/ 2031207 w 2095500"/>
                    <a:gd name="connsiteY35" fmla="*/ 450056 h 1404937"/>
                    <a:gd name="connsiteX36" fmla="*/ 2095500 w 2095500"/>
                    <a:gd name="connsiteY36" fmla="*/ 509587 h 1404937"/>
                    <a:gd name="connsiteX37" fmla="*/ 1990725 w 2095500"/>
                    <a:gd name="connsiteY37" fmla="*/ 621506 h 1404937"/>
                    <a:gd name="connsiteX38" fmla="*/ 1897857 w 2095500"/>
                    <a:gd name="connsiteY38" fmla="*/ 776287 h 1404937"/>
                    <a:gd name="connsiteX39" fmla="*/ 1702594 w 2095500"/>
                    <a:gd name="connsiteY39" fmla="*/ 747712 h 1404937"/>
                    <a:gd name="connsiteX40" fmla="*/ 1626394 w 2095500"/>
                    <a:gd name="connsiteY40" fmla="*/ 852487 h 1404937"/>
                    <a:gd name="connsiteX41" fmla="*/ 1533525 w 2095500"/>
                    <a:gd name="connsiteY41" fmla="*/ 895349 h 1404937"/>
                    <a:gd name="connsiteX42" fmla="*/ 1466850 w 2095500"/>
                    <a:gd name="connsiteY42" fmla="*/ 985837 h 1404937"/>
                    <a:gd name="connsiteX43" fmla="*/ 1366838 w 2095500"/>
                    <a:gd name="connsiteY43" fmla="*/ 1104899 h 1404937"/>
                    <a:gd name="connsiteX44" fmla="*/ 1288257 w 2095500"/>
                    <a:gd name="connsiteY44" fmla="*/ 1142999 h 1404937"/>
                    <a:gd name="connsiteX45" fmla="*/ 1195387 w 2095500"/>
                    <a:gd name="connsiteY45" fmla="*/ 1290637 h 1404937"/>
                    <a:gd name="connsiteX46" fmla="*/ 890587 w 2095500"/>
                    <a:gd name="connsiteY46" fmla="*/ 1404937 h 1404937"/>
                    <a:gd name="connsiteX47" fmla="*/ 747713 w 2095500"/>
                    <a:gd name="connsiteY47" fmla="*/ 1271587 h 1404937"/>
                    <a:gd name="connsiteX48" fmla="*/ 683419 w 2095500"/>
                    <a:gd name="connsiteY48" fmla="*/ 1171574 h 1404937"/>
                    <a:gd name="connsiteX49" fmla="*/ 600075 w 2095500"/>
                    <a:gd name="connsiteY49" fmla="*/ 1138237 h 1404937"/>
                    <a:gd name="connsiteX50" fmla="*/ 557213 w 2095500"/>
                    <a:gd name="connsiteY50" fmla="*/ 1078706 h 1404937"/>
                    <a:gd name="connsiteX51" fmla="*/ 523875 w 2095500"/>
                    <a:gd name="connsiteY51" fmla="*/ 1004887 h 1404937"/>
                    <a:gd name="connsiteX52" fmla="*/ 507207 w 2095500"/>
                    <a:gd name="connsiteY52" fmla="*/ 852487 h 1404937"/>
                    <a:gd name="connsiteX53" fmla="*/ 459582 w 2095500"/>
                    <a:gd name="connsiteY53" fmla="*/ 719137 h 1404937"/>
                    <a:gd name="connsiteX54" fmla="*/ 340519 w 2095500"/>
                    <a:gd name="connsiteY54" fmla="*/ 666749 h 1404937"/>
                    <a:gd name="connsiteX55" fmla="*/ 123825 w 2095500"/>
                    <a:gd name="connsiteY55" fmla="*/ 661987 h 1404937"/>
                    <a:gd name="connsiteX56" fmla="*/ 33338 w 2095500"/>
                    <a:gd name="connsiteY56" fmla="*/ 661987 h 1404937"/>
                    <a:gd name="connsiteX57" fmla="*/ 0 w 2095500"/>
                    <a:gd name="connsiteY57" fmla="*/ 571499 h 1404937"/>
                    <a:gd name="connsiteX58" fmla="*/ 66675 w 2095500"/>
                    <a:gd name="connsiteY58" fmla="*/ 428624 h 1404937"/>
                    <a:gd name="connsiteX59" fmla="*/ 114300 w 2095500"/>
                    <a:gd name="connsiteY59" fmla="*/ 385762 h 1404937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</a:cxnLst>
                  <a:rect l="l" t="t" r="r" b="b"/>
                  <a:pathLst>
                    <a:path w="2095500" h="1404937">
                      <a:moveTo>
                        <a:pt x="114300" y="385762"/>
                      </a:moveTo>
                      <a:lnTo>
                        <a:pt x="226219" y="335756"/>
                      </a:lnTo>
                      <a:lnTo>
                        <a:pt x="247650" y="280987"/>
                      </a:lnTo>
                      <a:lnTo>
                        <a:pt x="278606" y="264318"/>
                      </a:lnTo>
                      <a:lnTo>
                        <a:pt x="311944" y="280988"/>
                      </a:lnTo>
                      <a:cubicBezTo>
                        <a:pt x="323850" y="280194"/>
                        <a:pt x="340520" y="277812"/>
                        <a:pt x="354807" y="276224"/>
                      </a:cubicBezTo>
                      <a:cubicBezTo>
                        <a:pt x="369094" y="274636"/>
                        <a:pt x="392907" y="277415"/>
                        <a:pt x="397669" y="271462"/>
                      </a:cubicBezTo>
                      <a:cubicBezTo>
                        <a:pt x="402431" y="265509"/>
                        <a:pt x="377032" y="250427"/>
                        <a:pt x="383382" y="240505"/>
                      </a:cubicBezTo>
                      <a:cubicBezTo>
                        <a:pt x="400844" y="230980"/>
                        <a:pt x="406401" y="221456"/>
                        <a:pt x="423863" y="211931"/>
                      </a:cubicBezTo>
                      <a:lnTo>
                        <a:pt x="488156" y="188118"/>
                      </a:lnTo>
                      <a:lnTo>
                        <a:pt x="571501" y="183356"/>
                      </a:lnTo>
                      <a:lnTo>
                        <a:pt x="619125" y="171449"/>
                      </a:lnTo>
                      <a:lnTo>
                        <a:pt x="633413" y="76199"/>
                      </a:lnTo>
                      <a:lnTo>
                        <a:pt x="659606" y="50006"/>
                      </a:lnTo>
                      <a:lnTo>
                        <a:pt x="716757" y="0"/>
                      </a:lnTo>
                      <a:lnTo>
                        <a:pt x="800100" y="9525"/>
                      </a:lnTo>
                      <a:cubicBezTo>
                        <a:pt x="832644" y="21431"/>
                        <a:pt x="865188" y="45242"/>
                        <a:pt x="897732" y="57148"/>
                      </a:cubicBezTo>
                      <a:lnTo>
                        <a:pt x="935832" y="59531"/>
                      </a:lnTo>
                      <a:lnTo>
                        <a:pt x="973931" y="30955"/>
                      </a:lnTo>
                      <a:lnTo>
                        <a:pt x="1012032" y="35718"/>
                      </a:lnTo>
                      <a:cubicBezTo>
                        <a:pt x="1039813" y="39687"/>
                        <a:pt x="1048545" y="23812"/>
                        <a:pt x="1066801" y="30956"/>
                      </a:cubicBezTo>
                      <a:cubicBezTo>
                        <a:pt x="1085057" y="38100"/>
                        <a:pt x="1104107" y="48418"/>
                        <a:pt x="1121569" y="78580"/>
                      </a:cubicBezTo>
                      <a:lnTo>
                        <a:pt x="1171575" y="100012"/>
                      </a:lnTo>
                      <a:lnTo>
                        <a:pt x="1207295" y="114300"/>
                      </a:lnTo>
                      <a:lnTo>
                        <a:pt x="1307306" y="114299"/>
                      </a:lnTo>
                      <a:cubicBezTo>
                        <a:pt x="1308100" y="138905"/>
                        <a:pt x="1339850" y="103981"/>
                        <a:pt x="1340644" y="128587"/>
                      </a:cubicBezTo>
                      <a:lnTo>
                        <a:pt x="1400175" y="145256"/>
                      </a:lnTo>
                      <a:lnTo>
                        <a:pt x="1495426" y="152399"/>
                      </a:lnTo>
                      <a:lnTo>
                        <a:pt x="1535907" y="173831"/>
                      </a:lnTo>
                      <a:lnTo>
                        <a:pt x="1564481" y="185737"/>
                      </a:lnTo>
                      <a:lnTo>
                        <a:pt x="1597819" y="238125"/>
                      </a:lnTo>
                      <a:lnTo>
                        <a:pt x="1609725" y="273842"/>
                      </a:lnTo>
                      <a:lnTo>
                        <a:pt x="1635919" y="269080"/>
                      </a:lnTo>
                      <a:lnTo>
                        <a:pt x="1712119" y="292893"/>
                      </a:lnTo>
                      <a:lnTo>
                        <a:pt x="1902619" y="376237"/>
                      </a:lnTo>
                      <a:lnTo>
                        <a:pt x="2031207" y="450056"/>
                      </a:lnTo>
                      <a:lnTo>
                        <a:pt x="2095500" y="509587"/>
                      </a:lnTo>
                      <a:lnTo>
                        <a:pt x="1990725" y="621506"/>
                      </a:lnTo>
                      <a:lnTo>
                        <a:pt x="1897857" y="776287"/>
                      </a:lnTo>
                      <a:lnTo>
                        <a:pt x="1702594" y="747712"/>
                      </a:lnTo>
                      <a:lnTo>
                        <a:pt x="1626394" y="852487"/>
                      </a:lnTo>
                      <a:lnTo>
                        <a:pt x="1533525" y="895349"/>
                      </a:lnTo>
                      <a:lnTo>
                        <a:pt x="1466850" y="985837"/>
                      </a:lnTo>
                      <a:lnTo>
                        <a:pt x="1366838" y="1104899"/>
                      </a:lnTo>
                      <a:cubicBezTo>
                        <a:pt x="1340644" y="1117599"/>
                        <a:pt x="1316832" y="1112043"/>
                        <a:pt x="1288257" y="1142999"/>
                      </a:cubicBezTo>
                      <a:cubicBezTo>
                        <a:pt x="1259682" y="1173955"/>
                        <a:pt x="1226344" y="1241424"/>
                        <a:pt x="1195387" y="1290637"/>
                      </a:cubicBezTo>
                      <a:lnTo>
                        <a:pt x="890587" y="1404937"/>
                      </a:lnTo>
                      <a:lnTo>
                        <a:pt x="747713" y="1271587"/>
                      </a:lnTo>
                      <a:lnTo>
                        <a:pt x="683419" y="1171574"/>
                      </a:lnTo>
                      <a:lnTo>
                        <a:pt x="600075" y="1138237"/>
                      </a:lnTo>
                      <a:lnTo>
                        <a:pt x="557213" y="1078706"/>
                      </a:lnTo>
                      <a:lnTo>
                        <a:pt x="523875" y="1004887"/>
                      </a:lnTo>
                      <a:lnTo>
                        <a:pt x="507207" y="852487"/>
                      </a:lnTo>
                      <a:lnTo>
                        <a:pt x="459582" y="719137"/>
                      </a:lnTo>
                      <a:lnTo>
                        <a:pt x="340519" y="666749"/>
                      </a:lnTo>
                      <a:lnTo>
                        <a:pt x="123825" y="661987"/>
                      </a:lnTo>
                      <a:lnTo>
                        <a:pt x="33338" y="661987"/>
                      </a:lnTo>
                      <a:lnTo>
                        <a:pt x="0" y="571499"/>
                      </a:lnTo>
                      <a:lnTo>
                        <a:pt x="66675" y="428624"/>
                      </a:lnTo>
                      <a:lnTo>
                        <a:pt x="114300" y="385762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 dirty="0"/>
                </a:p>
              </p:txBody>
            </p:sp>
            <p:sp>
              <p:nvSpPr>
                <p:cNvPr id="88" name="Freeform 87"/>
                <p:cNvSpPr/>
                <p:nvPr/>
              </p:nvSpPr>
              <p:spPr>
                <a:xfrm>
                  <a:off x="4822031" y="3028950"/>
                  <a:ext cx="2093119" cy="2749550"/>
                </a:xfrm>
                <a:custGeom>
                  <a:avLst/>
                  <a:gdLst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698500 w 2120900"/>
                    <a:gd name="connsiteY36" fmla="*/ 990600 h 2749550"/>
                    <a:gd name="connsiteX37" fmla="*/ 704850 w 2120900"/>
                    <a:gd name="connsiteY37" fmla="*/ 914400 h 2749550"/>
                    <a:gd name="connsiteX38" fmla="*/ 704850 w 2120900"/>
                    <a:gd name="connsiteY38" fmla="*/ 844550 h 2749550"/>
                    <a:gd name="connsiteX39" fmla="*/ 768350 w 2120900"/>
                    <a:gd name="connsiteY39" fmla="*/ 749300 h 2749550"/>
                    <a:gd name="connsiteX40" fmla="*/ 793750 w 2120900"/>
                    <a:gd name="connsiteY40" fmla="*/ 654050 h 2749550"/>
                    <a:gd name="connsiteX41" fmla="*/ 806450 w 2120900"/>
                    <a:gd name="connsiteY41" fmla="*/ 552450 h 2749550"/>
                    <a:gd name="connsiteX42" fmla="*/ 838200 w 2120900"/>
                    <a:gd name="connsiteY42" fmla="*/ 438150 h 2749550"/>
                    <a:gd name="connsiteX43" fmla="*/ 876300 w 2120900"/>
                    <a:gd name="connsiteY43" fmla="*/ 368300 h 2749550"/>
                    <a:gd name="connsiteX44" fmla="*/ 927100 w 2120900"/>
                    <a:gd name="connsiteY44" fmla="*/ 273050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698500 w 2120900"/>
                    <a:gd name="connsiteY36" fmla="*/ 990600 h 2749550"/>
                    <a:gd name="connsiteX37" fmla="*/ 704850 w 2120900"/>
                    <a:gd name="connsiteY37" fmla="*/ 914400 h 2749550"/>
                    <a:gd name="connsiteX38" fmla="*/ 704850 w 2120900"/>
                    <a:gd name="connsiteY38" fmla="*/ 844550 h 2749550"/>
                    <a:gd name="connsiteX39" fmla="*/ 768350 w 2120900"/>
                    <a:gd name="connsiteY39" fmla="*/ 749300 h 2749550"/>
                    <a:gd name="connsiteX40" fmla="*/ 793750 w 2120900"/>
                    <a:gd name="connsiteY40" fmla="*/ 654050 h 2749550"/>
                    <a:gd name="connsiteX41" fmla="*/ 806450 w 2120900"/>
                    <a:gd name="connsiteY41" fmla="*/ 552450 h 2749550"/>
                    <a:gd name="connsiteX42" fmla="*/ 838200 w 2120900"/>
                    <a:gd name="connsiteY42" fmla="*/ 438150 h 2749550"/>
                    <a:gd name="connsiteX43" fmla="*/ 876300 w 2120900"/>
                    <a:gd name="connsiteY43" fmla="*/ 368300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698500 w 2120900"/>
                    <a:gd name="connsiteY36" fmla="*/ 990600 h 2749550"/>
                    <a:gd name="connsiteX37" fmla="*/ 704850 w 2120900"/>
                    <a:gd name="connsiteY37" fmla="*/ 914400 h 2749550"/>
                    <a:gd name="connsiteX38" fmla="*/ 704850 w 2120900"/>
                    <a:gd name="connsiteY38" fmla="*/ 844550 h 2749550"/>
                    <a:gd name="connsiteX39" fmla="*/ 768350 w 2120900"/>
                    <a:gd name="connsiteY39" fmla="*/ 749300 h 2749550"/>
                    <a:gd name="connsiteX40" fmla="*/ 793750 w 2120900"/>
                    <a:gd name="connsiteY40" fmla="*/ 654050 h 2749550"/>
                    <a:gd name="connsiteX41" fmla="*/ 806450 w 2120900"/>
                    <a:gd name="connsiteY41" fmla="*/ 552450 h 2749550"/>
                    <a:gd name="connsiteX42" fmla="*/ 838200 w 2120900"/>
                    <a:gd name="connsiteY42" fmla="*/ 438150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698500 w 2120900"/>
                    <a:gd name="connsiteY36" fmla="*/ 990600 h 2749550"/>
                    <a:gd name="connsiteX37" fmla="*/ 704850 w 2120900"/>
                    <a:gd name="connsiteY37" fmla="*/ 914400 h 2749550"/>
                    <a:gd name="connsiteX38" fmla="*/ 704850 w 2120900"/>
                    <a:gd name="connsiteY38" fmla="*/ 844550 h 2749550"/>
                    <a:gd name="connsiteX39" fmla="*/ 768350 w 2120900"/>
                    <a:gd name="connsiteY39" fmla="*/ 749300 h 2749550"/>
                    <a:gd name="connsiteX40" fmla="*/ 793750 w 2120900"/>
                    <a:gd name="connsiteY40" fmla="*/ 654050 h 2749550"/>
                    <a:gd name="connsiteX41" fmla="*/ 806450 w 2120900"/>
                    <a:gd name="connsiteY41" fmla="*/ 552450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698500 w 2120900"/>
                    <a:gd name="connsiteY36" fmla="*/ 990600 h 2749550"/>
                    <a:gd name="connsiteX37" fmla="*/ 704850 w 2120900"/>
                    <a:gd name="connsiteY37" fmla="*/ 914400 h 2749550"/>
                    <a:gd name="connsiteX38" fmla="*/ 704850 w 2120900"/>
                    <a:gd name="connsiteY38" fmla="*/ 844550 h 2749550"/>
                    <a:gd name="connsiteX39" fmla="*/ 768350 w 2120900"/>
                    <a:gd name="connsiteY39" fmla="*/ 749300 h 2749550"/>
                    <a:gd name="connsiteX40" fmla="*/ 793750 w 2120900"/>
                    <a:gd name="connsiteY40" fmla="*/ 654050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698500 w 2120900"/>
                    <a:gd name="connsiteY36" fmla="*/ 990600 h 2749550"/>
                    <a:gd name="connsiteX37" fmla="*/ 704850 w 2120900"/>
                    <a:gd name="connsiteY37" fmla="*/ 914400 h 2749550"/>
                    <a:gd name="connsiteX38" fmla="*/ 704850 w 2120900"/>
                    <a:gd name="connsiteY38" fmla="*/ 844550 h 2749550"/>
                    <a:gd name="connsiteX39" fmla="*/ 768350 w 2120900"/>
                    <a:gd name="connsiteY39" fmla="*/ 749300 h 2749550"/>
                    <a:gd name="connsiteX40" fmla="*/ 922338 w 2120900"/>
                    <a:gd name="connsiteY40" fmla="*/ 532606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698500 w 2120900"/>
                    <a:gd name="connsiteY36" fmla="*/ 990600 h 2749550"/>
                    <a:gd name="connsiteX37" fmla="*/ 704850 w 2120900"/>
                    <a:gd name="connsiteY37" fmla="*/ 914400 h 2749550"/>
                    <a:gd name="connsiteX38" fmla="*/ 704850 w 2120900"/>
                    <a:gd name="connsiteY38" fmla="*/ 844550 h 2749550"/>
                    <a:gd name="connsiteX39" fmla="*/ 885031 w 2120900"/>
                    <a:gd name="connsiteY39" fmla="*/ 584993 h 2749550"/>
                    <a:gd name="connsiteX40" fmla="*/ 922338 w 2120900"/>
                    <a:gd name="connsiteY40" fmla="*/ 532606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698500 w 2120900"/>
                    <a:gd name="connsiteY36" fmla="*/ 990600 h 2749550"/>
                    <a:gd name="connsiteX37" fmla="*/ 704850 w 2120900"/>
                    <a:gd name="connsiteY37" fmla="*/ 914400 h 2749550"/>
                    <a:gd name="connsiteX38" fmla="*/ 862013 w 2120900"/>
                    <a:gd name="connsiteY38" fmla="*/ 649287 h 2749550"/>
                    <a:gd name="connsiteX39" fmla="*/ 885031 w 2120900"/>
                    <a:gd name="connsiteY39" fmla="*/ 584993 h 2749550"/>
                    <a:gd name="connsiteX40" fmla="*/ 922338 w 2120900"/>
                    <a:gd name="connsiteY40" fmla="*/ 532606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698500 w 2120900"/>
                    <a:gd name="connsiteY36" fmla="*/ 990600 h 2749550"/>
                    <a:gd name="connsiteX37" fmla="*/ 857250 w 2120900"/>
                    <a:gd name="connsiteY37" fmla="*/ 814387 h 2749550"/>
                    <a:gd name="connsiteX38" fmla="*/ 862013 w 2120900"/>
                    <a:gd name="connsiteY38" fmla="*/ 649287 h 2749550"/>
                    <a:gd name="connsiteX39" fmla="*/ 885031 w 2120900"/>
                    <a:gd name="connsiteY39" fmla="*/ 584993 h 2749550"/>
                    <a:gd name="connsiteX40" fmla="*/ 922338 w 2120900"/>
                    <a:gd name="connsiteY40" fmla="*/ 532606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692150 w 2120900"/>
                    <a:gd name="connsiteY35" fmla="*/ 1066800 h 2749550"/>
                    <a:gd name="connsiteX36" fmla="*/ 805656 w 2120900"/>
                    <a:gd name="connsiteY36" fmla="*/ 840581 h 2749550"/>
                    <a:gd name="connsiteX37" fmla="*/ 857250 w 2120900"/>
                    <a:gd name="connsiteY37" fmla="*/ 814387 h 2749550"/>
                    <a:gd name="connsiteX38" fmla="*/ 862013 w 2120900"/>
                    <a:gd name="connsiteY38" fmla="*/ 649287 h 2749550"/>
                    <a:gd name="connsiteX39" fmla="*/ 885031 w 2120900"/>
                    <a:gd name="connsiteY39" fmla="*/ 584993 h 2749550"/>
                    <a:gd name="connsiteX40" fmla="*/ 922338 w 2120900"/>
                    <a:gd name="connsiteY40" fmla="*/ 532606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685800 w 2120900"/>
                    <a:gd name="connsiteY34" fmla="*/ 1136650 h 2749550"/>
                    <a:gd name="connsiteX35" fmla="*/ 770731 w 2120900"/>
                    <a:gd name="connsiteY35" fmla="*/ 928688 h 2749550"/>
                    <a:gd name="connsiteX36" fmla="*/ 805656 w 2120900"/>
                    <a:gd name="connsiteY36" fmla="*/ 840581 h 2749550"/>
                    <a:gd name="connsiteX37" fmla="*/ 857250 w 2120900"/>
                    <a:gd name="connsiteY37" fmla="*/ 814387 h 2749550"/>
                    <a:gd name="connsiteX38" fmla="*/ 862013 w 2120900"/>
                    <a:gd name="connsiteY38" fmla="*/ 649287 h 2749550"/>
                    <a:gd name="connsiteX39" fmla="*/ 885031 w 2120900"/>
                    <a:gd name="connsiteY39" fmla="*/ 584993 h 2749550"/>
                    <a:gd name="connsiteX40" fmla="*/ 922338 w 2120900"/>
                    <a:gd name="connsiteY40" fmla="*/ 532606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93750 w 2120900"/>
                    <a:gd name="connsiteY33" fmla="*/ 1168400 h 2749550"/>
                    <a:gd name="connsiteX34" fmla="*/ 788193 w 2120900"/>
                    <a:gd name="connsiteY34" fmla="*/ 1008062 h 2749550"/>
                    <a:gd name="connsiteX35" fmla="*/ 770731 w 2120900"/>
                    <a:gd name="connsiteY35" fmla="*/ 928688 h 2749550"/>
                    <a:gd name="connsiteX36" fmla="*/ 805656 w 2120900"/>
                    <a:gd name="connsiteY36" fmla="*/ 840581 h 2749550"/>
                    <a:gd name="connsiteX37" fmla="*/ 857250 w 2120900"/>
                    <a:gd name="connsiteY37" fmla="*/ 814387 h 2749550"/>
                    <a:gd name="connsiteX38" fmla="*/ 862013 w 2120900"/>
                    <a:gd name="connsiteY38" fmla="*/ 649287 h 2749550"/>
                    <a:gd name="connsiteX39" fmla="*/ 885031 w 2120900"/>
                    <a:gd name="connsiteY39" fmla="*/ 584993 h 2749550"/>
                    <a:gd name="connsiteX40" fmla="*/ 922338 w 2120900"/>
                    <a:gd name="connsiteY40" fmla="*/ 532606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89000 w 2120900"/>
                    <a:gd name="connsiteY32" fmla="*/ 1219200 h 2749550"/>
                    <a:gd name="connsiteX33" fmla="*/ 760412 w 2120900"/>
                    <a:gd name="connsiteY33" fmla="*/ 1039813 h 2749550"/>
                    <a:gd name="connsiteX34" fmla="*/ 788193 w 2120900"/>
                    <a:gd name="connsiteY34" fmla="*/ 1008062 h 2749550"/>
                    <a:gd name="connsiteX35" fmla="*/ 770731 w 2120900"/>
                    <a:gd name="connsiteY35" fmla="*/ 928688 h 2749550"/>
                    <a:gd name="connsiteX36" fmla="*/ 805656 w 2120900"/>
                    <a:gd name="connsiteY36" fmla="*/ 840581 h 2749550"/>
                    <a:gd name="connsiteX37" fmla="*/ 857250 w 2120900"/>
                    <a:gd name="connsiteY37" fmla="*/ 814387 h 2749550"/>
                    <a:gd name="connsiteX38" fmla="*/ 862013 w 2120900"/>
                    <a:gd name="connsiteY38" fmla="*/ 649287 h 2749550"/>
                    <a:gd name="connsiteX39" fmla="*/ 885031 w 2120900"/>
                    <a:gd name="connsiteY39" fmla="*/ 584993 h 2749550"/>
                    <a:gd name="connsiteX40" fmla="*/ 922338 w 2120900"/>
                    <a:gd name="connsiteY40" fmla="*/ 532606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777082 w 2120900"/>
                    <a:gd name="connsiteY32" fmla="*/ 1109663 h 2749550"/>
                    <a:gd name="connsiteX33" fmla="*/ 760412 w 2120900"/>
                    <a:gd name="connsiteY33" fmla="*/ 1039813 h 2749550"/>
                    <a:gd name="connsiteX34" fmla="*/ 788193 w 2120900"/>
                    <a:gd name="connsiteY34" fmla="*/ 1008062 h 2749550"/>
                    <a:gd name="connsiteX35" fmla="*/ 770731 w 2120900"/>
                    <a:gd name="connsiteY35" fmla="*/ 928688 h 2749550"/>
                    <a:gd name="connsiteX36" fmla="*/ 805656 w 2120900"/>
                    <a:gd name="connsiteY36" fmla="*/ 840581 h 2749550"/>
                    <a:gd name="connsiteX37" fmla="*/ 857250 w 2120900"/>
                    <a:gd name="connsiteY37" fmla="*/ 814387 h 2749550"/>
                    <a:gd name="connsiteX38" fmla="*/ 862013 w 2120900"/>
                    <a:gd name="connsiteY38" fmla="*/ 649287 h 2749550"/>
                    <a:gd name="connsiteX39" fmla="*/ 885031 w 2120900"/>
                    <a:gd name="connsiteY39" fmla="*/ 584993 h 2749550"/>
                    <a:gd name="connsiteX40" fmla="*/ 922338 w 2120900"/>
                    <a:gd name="connsiteY40" fmla="*/ 532606 h 2749550"/>
                    <a:gd name="connsiteX41" fmla="*/ 930275 w 2120900"/>
                    <a:gd name="connsiteY41" fmla="*/ 459581 h 2749550"/>
                    <a:gd name="connsiteX42" fmla="*/ 962025 w 2120900"/>
                    <a:gd name="connsiteY42" fmla="*/ 454819 h 2749550"/>
                    <a:gd name="connsiteX43" fmla="*/ 992982 w 2120900"/>
                    <a:gd name="connsiteY43" fmla="*/ 415925 h 2749550"/>
                    <a:gd name="connsiteX44" fmla="*/ 962819 w 2120900"/>
                    <a:gd name="connsiteY44" fmla="*/ 223043 h 2749550"/>
                    <a:gd name="connsiteX45" fmla="*/ 1003300 w 2120900"/>
                    <a:gd name="connsiteY45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49313 w 2120900"/>
                    <a:gd name="connsiteY32" fmla="*/ 1185863 h 2749550"/>
                    <a:gd name="connsiteX33" fmla="*/ 777082 w 2120900"/>
                    <a:gd name="connsiteY33" fmla="*/ 1109663 h 2749550"/>
                    <a:gd name="connsiteX34" fmla="*/ 760412 w 2120900"/>
                    <a:gd name="connsiteY34" fmla="*/ 1039813 h 2749550"/>
                    <a:gd name="connsiteX35" fmla="*/ 788193 w 2120900"/>
                    <a:gd name="connsiteY35" fmla="*/ 1008062 h 2749550"/>
                    <a:gd name="connsiteX36" fmla="*/ 770731 w 2120900"/>
                    <a:gd name="connsiteY36" fmla="*/ 928688 h 2749550"/>
                    <a:gd name="connsiteX37" fmla="*/ 805656 w 2120900"/>
                    <a:gd name="connsiteY37" fmla="*/ 840581 h 2749550"/>
                    <a:gd name="connsiteX38" fmla="*/ 857250 w 2120900"/>
                    <a:gd name="connsiteY38" fmla="*/ 814387 h 2749550"/>
                    <a:gd name="connsiteX39" fmla="*/ 862013 w 2120900"/>
                    <a:gd name="connsiteY39" fmla="*/ 649287 h 2749550"/>
                    <a:gd name="connsiteX40" fmla="*/ 885031 w 2120900"/>
                    <a:gd name="connsiteY40" fmla="*/ 584993 h 2749550"/>
                    <a:gd name="connsiteX41" fmla="*/ 922338 w 2120900"/>
                    <a:gd name="connsiteY41" fmla="*/ 532606 h 2749550"/>
                    <a:gd name="connsiteX42" fmla="*/ 930275 w 2120900"/>
                    <a:gd name="connsiteY42" fmla="*/ 459581 h 2749550"/>
                    <a:gd name="connsiteX43" fmla="*/ 962025 w 2120900"/>
                    <a:gd name="connsiteY43" fmla="*/ 454819 h 2749550"/>
                    <a:gd name="connsiteX44" fmla="*/ 992982 w 2120900"/>
                    <a:gd name="connsiteY44" fmla="*/ 415925 h 2749550"/>
                    <a:gd name="connsiteX45" fmla="*/ 962819 w 2120900"/>
                    <a:gd name="connsiteY45" fmla="*/ 223043 h 2749550"/>
                    <a:gd name="connsiteX46" fmla="*/ 1003300 w 2120900"/>
                    <a:gd name="connsiteY46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794544 w 2120900"/>
                    <a:gd name="connsiteY32" fmla="*/ 1133475 h 2749550"/>
                    <a:gd name="connsiteX33" fmla="*/ 777082 w 2120900"/>
                    <a:gd name="connsiteY33" fmla="*/ 1109663 h 2749550"/>
                    <a:gd name="connsiteX34" fmla="*/ 760412 w 2120900"/>
                    <a:gd name="connsiteY34" fmla="*/ 1039813 h 2749550"/>
                    <a:gd name="connsiteX35" fmla="*/ 788193 w 2120900"/>
                    <a:gd name="connsiteY35" fmla="*/ 1008062 h 2749550"/>
                    <a:gd name="connsiteX36" fmla="*/ 770731 w 2120900"/>
                    <a:gd name="connsiteY36" fmla="*/ 928688 h 2749550"/>
                    <a:gd name="connsiteX37" fmla="*/ 805656 w 2120900"/>
                    <a:gd name="connsiteY37" fmla="*/ 840581 h 2749550"/>
                    <a:gd name="connsiteX38" fmla="*/ 857250 w 2120900"/>
                    <a:gd name="connsiteY38" fmla="*/ 814387 h 2749550"/>
                    <a:gd name="connsiteX39" fmla="*/ 862013 w 2120900"/>
                    <a:gd name="connsiteY39" fmla="*/ 649287 h 2749550"/>
                    <a:gd name="connsiteX40" fmla="*/ 885031 w 2120900"/>
                    <a:gd name="connsiteY40" fmla="*/ 584993 h 2749550"/>
                    <a:gd name="connsiteX41" fmla="*/ 922338 w 2120900"/>
                    <a:gd name="connsiteY41" fmla="*/ 532606 h 2749550"/>
                    <a:gd name="connsiteX42" fmla="*/ 930275 w 2120900"/>
                    <a:gd name="connsiteY42" fmla="*/ 459581 h 2749550"/>
                    <a:gd name="connsiteX43" fmla="*/ 962025 w 2120900"/>
                    <a:gd name="connsiteY43" fmla="*/ 454819 h 2749550"/>
                    <a:gd name="connsiteX44" fmla="*/ 992982 w 2120900"/>
                    <a:gd name="connsiteY44" fmla="*/ 415925 h 2749550"/>
                    <a:gd name="connsiteX45" fmla="*/ 962819 w 2120900"/>
                    <a:gd name="connsiteY45" fmla="*/ 223043 h 2749550"/>
                    <a:gd name="connsiteX46" fmla="*/ 1003300 w 2120900"/>
                    <a:gd name="connsiteY46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94556 w 2120900"/>
                    <a:gd name="connsiteY32" fmla="*/ 1162050 h 2749550"/>
                    <a:gd name="connsiteX33" fmla="*/ 794544 w 2120900"/>
                    <a:gd name="connsiteY33" fmla="*/ 1133475 h 2749550"/>
                    <a:gd name="connsiteX34" fmla="*/ 777082 w 2120900"/>
                    <a:gd name="connsiteY34" fmla="*/ 1109663 h 2749550"/>
                    <a:gd name="connsiteX35" fmla="*/ 760412 w 2120900"/>
                    <a:gd name="connsiteY35" fmla="*/ 1039813 h 2749550"/>
                    <a:gd name="connsiteX36" fmla="*/ 788193 w 2120900"/>
                    <a:gd name="connsiteY36" fmla="*/ 1008062 h 2749550"/>
                    <a:gd name="connsiteX37" fmla="*/ 770731 w 2120900"/>
                    <a:gd name="connsiteY37" fmla="*/ 928688 h 2749550"/>
                    <a:gd name="connsiteX38" fmla="*/ 805656 w 2120900"/>
                    <a:gd name="connsiteY38" fmla="*/ 840581 h 2749550"/>
                    <a:gd name="connsiteX39" fmla="*/ 857250 w 2120900"/>
                    <a:gd name="connsiteY39" fmla="*/ 814387 h 2749550"/>
                    <a:gd name="connsiteX40" fmla="*/ 862013 w 2120900"/>
                    <a:gd name="connsiteY40" fmla="*/ 649287 h 2749550"/>
                    <a:gd name="connsiteX41" fmla="*/ 885031 w 2120900"/>
                    <a:gd name="connsiteY41" fmla="*/ 584993 h 2749550"/>
                    <a:gd name="connsiteX42" fmla="*/ 922338 w 2120900"/>
                    <a:gd name="connsiteY42" fmla="*/ 532606 h 2749550"/>
                    <a:gd name="connsiteX43" fmla="*/ 930275 w 2120900"/>
                    <a:gd name="connsiteY43" fmla="*/ 459581 h 2749550"/>
                    <a:gd name="connsiteX44" fmla="*/ 962025 w 2120900"/>
                    <a:gd name="connsiteY44" fmla="*/ 454819 h 2749550"/>
                    <a:gd name="connsiteX45" fmla="*/ 992982 w 2120900"/>
                    <a:gd name="connsiteY45" fmla="*/ 415925 h 2749550"/>
                    <a:gd name="connsiteX46" fmla="*/ 962819 w 2120900"/>
                    <a:gd name="connsiteY46" fmla="*/ 223043 h 2749550"/>
                    <a:gd name="connsiteX47" fmla="*/ 1003300 w 2120900"/>
                    <a:gd name="connsiteY47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920750 w 2120900"/>
                    <a:gd name="connsiteY31" fmla="*/ 1263650 h 2749550"/>
                    <a:gd name="connsiteX32" fmla="*/ 894556 w 2120900"/>
                    <a:gd name="connsiteY32" fmla="*/ 1162050 h 2749550"/>
                    <a:gd name="connsiteX33" fmla="*/ 846931 w 2120900"/>
                    <a:gd name="connsiteY33" fmla="*/ 1138238 h 2749550"/>
                    <a:gd name="connsiteX34" fmla="*/ 794544 w 2120900"/>
                    <a:gd name="connsiteY34" fmla="*/ 1133475 h 2749550"/>
                    <a:gd name="connsiteX35" fmla="*/ 777082 w 2120900"/>
                    <a:gd name="connsiteY35" fmla="*/ 1109663 h 2749550"/>
                    <a:gd name="connsiteX36" fmla="*/ 760412 w 2120900"/>
                    <a:gd name="connsiteY36" fmla="*/ 1039813 h 2749550"/>
                    <a:gd name="connsiteX37" fmla="*/ 788193 w 2120900"/>
                    <a:gd name="connsiteY37" fmla="*/ 1008062 h 2749550"/>
                    <a:gd name="connsiteX38" fmla="*/ 770731 w 2120900"/>
                    <a:gd name="connsiteY38" fmla="*/ 928688 h 2749550"/>
                    <a:gd name="connsiteX39" fmla="*/ 805656 w 2120900"/>
                    <a:gd name="connsiteY39" fmla="*/ 840581 h 2749550"/>
                    <a:gd name="connsiteX40" fmla="*/ 857250 w 2120900"/>
                    <a:gd name="connsiteY40" fmla="*/ 814387 h 2749550"/>
                    <a:gd name="connsiteX41" fmla="*/ 862013 w 2120900"/>
                    <a:gd name="connsiteY41" fmla="*/ 649287 h 2749550"/>
                    <a:gd name="connsiteX42" fmla="*/ 885031 w 2120900"/>
                    <a:gd name="connsiteY42" fmla="*/ 584993 h 2749550"/>
                    <a:gd name="connsiteX43" fmla="*/ 922338 w 2120900"/>
                    <a:gd name="connsiteY43" fmla="*/ 532606 h 2749550"/>
                    <a:gd name="connsiteX44" fmla="*/ 930275 w 2120900"/>
                    <a:gd name="connsiteY44" fmla="*/ 459581 h 2749550"/>
                    <a:gd name="connsiteX45" fmla="*/ 962025 w 2120900"/>
                    <a:gd name="connsiteY45" fmla="*/ 454819 h 2749550"/>
                    <a:gd name="connsiteX46" fmla="*/ 992982 w 2120900"/>
                    <a:gd name="connsiteY46" fmla="*/ 415925 h 2749550"/>
                    <a:gd name="connsiteX47" fmla="*/ 962819 w 2120900"/>
                    <a:gd name="connsiteY47" fmla="*/ 223043 h 2749550"/>
                    <a:gd name="connsiteX48" fmla="*/ 1003300 w 2120900"/>
                    <a:gd name="connsiteY48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1080293 w 2120900"/>
                    <a:gd name="connsiteY31" fmla="*/ 1235075 h 2749550"/>
                    <a:gd name="connsiteX32" fmla="*/ 894556 w 2120900"/>
                    <a:gd name="connsiteY32" fmla="*/ 1162050 h 2749550"/>
                    <a:gd name="connsiteX33" fmla="*/ 846931 w 2120900"/>
                    <a:gd name="connsiteY33" fmla="*/ 1138238 h 2749550"/>
                    <a:gd name="connsiteX34" fmla="*/ 794544 w 2120900"/>
                    <a:gd name="connsiteY34" fmla="*/ 1133475 h 2749550"/>
                    <a:gd name="connsiteX35" fmla="*/ 777082 w 2120900"/>
                    <a:gd name="connsiteY35" fmla="*/ 1109663 h 2749550"/>
                    <a:gd name="connsiteX36" fmla="*/ 760412 w 2120900"/>
                    <a:gd name="connsiteY36" fmla="*/ 1039813 h 2749550"/>
                    <a:gd name="connsiteX37" fmla="*/ 788193 w 2120900"/>
                    <a:gd name="connsiteY37" fmla="*/ 1008062 h 2749550"/>
                    <a:gd name="connsiteX38" fmla="*/ 770731 w 2120900"/>
                    <a:gd name="connsiteY38" fmla="*/ 928688 h 2749550"/>
                    <a:gd name="connsiteX39" fmla="*/ 805656 w 2120900"/>
                    <a:gd name="connsiteY39" fmla="*/ 840581 h 2749550"/>
                    <a:gd name="connsiteX40" fmla="*/ 857250 w 2120900"/>
                    <a:gd name="connsiteY40" fmla="*/ 814387 h 2749550"/>
                    <a:gd name="connsiteX41" fmla="*/ 862013 w 2120900"/>
                    <a:gd name="connsiteY41" fmla="*/ 649287 h 2749550"/>
                    <a:gd name="connsiteX42" fmla="*/ 885031 w 2120900"/>
                    <a:gd name="connsiteY42" fmla="*/ 584993 h 2749550"/>
                    <a:gd name="connsiteX43" fmla="*/ 922338 w 2120900"/>
                    <a:gd name="connsiteY43" fmla="*/ 532606 h 2749550"/>
                    <a:gd name="connsiteX44" fmla="*/ 930275 w 2120900"/>
                    <a:gd name="connsiteY44" fmla="*/ 459581 h 2749550"/>
                    <a:gd name="connsiteX45" fmla="*/ 962025 w 2120900"/>
                    <a:gd name="connsiteY45" fmla="*/ 454819 h 2749550"/>
                    <a:gd name="connsiteX46" fmla="*/ 992982 w 2120900"/>
                    <a:gd name="connsiteY46" fmla="*/ 415925 h 2749550"/>
                    <a:gd name="connsiteX47" fmla="*/ 962819 w 2120900"/>
                    <a:gd name="connsiteY47" fmla="*/ 223043 h 2749550"/>
                    <a:gd name="connsiteX48" fmla="*/ 1003300 w 2120900"/>
                    <a:gd name="connsiteY48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1080293 w 2120900"/>
                    <a:gd name="connsiteY31" fmla="*/ 1235075 h 2749550"/>
                    <a:gd name="connsiteX32" fmla="*/ 961231 w 2120900"/>
                    <a:gd name="connsiteY32" fmla="*/ 1212056 h 2749550"/>
                    <a:gd name="connsiteX33" fmla="*/ 894556 w 2120900"/>
                    <a:gd name="connsiteY33" fmla="*/ 1162050 h 2749550"/>
                    <a:gd name="connsiteX34" fmla="*/ 846931 w 2120900"/>
                    <a:gd name="connsiteY34" fmla="*/ 1138238 h 2749550"/>
                    <a:gd name="connsiteX35" fmla="*/ 794544 w 2120900"/>
                    <a:gd name="connsiteY35" fmla="*/ 1133475 h 2749550"/>
                    <a:gd name="connsiteX36" fmla="*/ 777082 w 2120900"/>
                    <a:gd name="connsiteY36" fmla="*/ 1109663 h 2749550"/>
                    <a:gd name="connsiteX37" fmla="*/ 760412 w 2120900"/>
                    <a:gd name="connsiteY37" fmla="*/ 1039813 h 2749550"/>
                    <a:gd name="connsiteX38" fmla="*/ 788193 w 2120900"/>
                    <a:gd name="connsiteY38" fmla="*/ 1008062 h 2749550"/>
                    <a:gd name="connsiteX39" fmla="*/ 770731 w 2120900"/>
                    <a:gd name="connsiteY39" fmla="*/ 928688 h 2749550"/>
                    <a:gd name="connsiteX40" fmla="*/ 805656 w 2120900"/>
                    <a:gd name="connsiteY40" fmla="*/ 840581 h 2749550"/>
                    <a:gd name="connsiteX41" fmla="*/ 857250 w 2120900"/>
                    <a:gd name="connsiteY41" fmla="*/ 814387 h 2749550"/>
                    <a:gd name="connsiteX42" fmla="*/ 862013 w 2120900"/>
                    <a:gd name="connsiteY42" fmla="*/ 649287 h 2749550"/>
                    <a:gd name="connsiteX43" fmla="*/ 885031 w 2120900"/>
                    <a:gd name="connsiteY43" fmla="*/ 584993 h 2749550"/>
                    <a:gd name="connsiteX44" fmla="*/ 922338 w 2120900"/>
                    <a:gd name="connsiteY44" fmla="*/ 532606 h 2749550"/>
                    <a:gd name="connsiteX45" fmla="*/ 930275 w 2120900"/>
                    <a:gd name="connsiteY45" fmla="*/ 459581 h 2749550"/>
                    <a:gd name="connsiteX46" fmla="*/ 962025 w 2120900"/>
                    <a:gd name="connsiteY46" fmla="*/ 454819 h 2749550"/>
                    <a:gd name="connsiteX47" fmla="*/ 992982 w 2120900"/>
                    <a:gd name="connsiteY47" fmla="*/ 415925 h 2749550"/>
                    <a:gd name="connsiteX48" fmla="*/ 962819 w 2120900"/>
                    <a:gd name="connsiteY48" fmla="*/ 223043 h 2749550"/>
                    <a:gd name="connsiteX49" fmla="*/ 1003300 w 2120900"/>
                    <a:gd name="connsiteY49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1080293 w 2120900"/>
                    <a:gd name="connsiteY31" fmla="*/ 1235075 h 2749550"/>
                    <a:gd name="connsiteX32" fmla="*/ 961231 w 2120900"/>
                    <a:gd name="connsiteY32" fmla="*/ 1212056 h 2749550"/>
                    <a:gd name="connsiteX33" fmla="*/ 944563 w 2120900"/>
                    <a:gd name="connsiteY33" fmla="*/ 1176338 h 2749550"/>
                    <a:gd name="connsiteX34" fmla="*/ 894556 w 2120900"/>
                    <a:gd name="connsiteY34" fmla="*/ 1162050 h 2749550"/>
                    <a:gd name="connsiteX35" fmla="*/ 846931 w 2120900"/>
                    <a:gd name="connsiteY35" fmla="*/ 1138238 h 2749550"/>
                    <a:gd name="connsiteX36" fmla="*/ 794544 w 2120900"/>
                    <a:gd name="connsiteY36" fmla="*/ 1133475 h 2749550"/>
                    <a:gd name="connsiteX37" fmla="*/ 777082 w 2120900"/>
                    <a:gd name="connsiteY37" fmla="*/ 1109663 h 2749550"/>
                    <a:gd name="connsiteX38" fmla="*/ 760412 w 2120900"/>
                    <a:gd name="connsiteY38" fmla="*/ 1039813 h 2749550"/>
                    <a:gd name="connsiteX39" fmla="*/ 788193 w 2120900"/>
                    <a:gd name="connsiteY39" fmla="*/ 1008062 h 2749550"/>
                    <a:gd name="connsiteX40" fmla="*/ 770731 w 2120900"/>
                    <a:gd name="connsiteY40" fmla="*/ 928688 h 2749550"/>
                    <a:gd name="connsiteX41" fmla="*/ 805656 w 2120900"/>
                    <a:gd name="connsiteY41" fmla="*/ 840581 h 2749550"/>
                    <a:gd name="connsiteX42" fmla="*/ 857250 w 2120900"/>
                    <a:gd name="connsiteY42" fmla="*/ 814387 h 2749550"/>
                    <a:gd name="connsiteX43" fmla="*/ 862013 w 2120900"/>
                    <a:gd name="connsiteY43" fmla="*/ 649287 h 2749550"/>
                    <a:gd name="connsiteX44" fmla="*/ 885031 w 2120900"/>
                    <a:gd name="connsiteY44" fmla="*/ 584993 h 2749550"/>
                    <a:gd name="connsiteX45" fmla="*/ 922338 w 2120900"/>
                    <a:gd name="connsiteY45" fmla="*/ 532606 h 2749550"/>
                    <a:gd name="connsiteX46" fmla="*/ 930275 w 2120900"/>
                    <a:gd name="connsiteY46" fmla="*/ 459581 h 2749550"/>
                    <a:gd name="connsiteX47" fmla="*/ 962025 w 2120900"/>
                    <a:gd name="connsiteY47" fmla="*/ 454819 h 2749550"/>
                    <a:gd name="connsiteX48" fmla="*/ 992982 w 2120900"/>
                    <a:gd name="connsiteY48" fmla="*/ 415925 h 2749550"/>
                    <a:gd name="connsiteX49" fmla="*/ 962819 w 2120900"/>
                    <a:gd name="connsiteY49" fmla="*/ 223043 h 2749550"/>
                    <a:gd name="connsiteX50" fmla="*/ 1003300 w 2120900"/>
                    <a:gd name="connsiteY50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869950 w 2120900"/>
                    <a:gd name="connsiteY30" fmla="*/ 1314450 h 2749550"/>
                    <a:gd name="connsiteX31" fmla="*/ 1080293 w 2120900"/>
                    <a:gd name="connsiteY31" fmla="*/ 1235075 h 2749550"/>
                    <a:gd name="connsiteX32" fmla="*/ 1020763 w 2120900"/>
                    <a:gd name="connsiteY32" fmla="*/ 1209675 h 2749550"/>
                    <a:gd name="connsiteX33" fmla="*/ 961231 w 2120900"/>
                    <a:gd name="connsiteY33" fmla="*/ 1212056 h 2749550"/>
                    <a:gd name="connsiteX34" fmla="*/ 944563 w 2120900"/>
                    <a:gd name="connsiteY34" fmla="*/ 1176338 h 2749550"/>
                    <a:gd name="connsiteX35" fmla="*/ 894556 w 2120900"/>
                    <a:gd name="connsiteY35" fmla="*/ 1162050 h 2749550"/>
                    <a:gd name="connsiteX36" fmla="*/ 846931 w 2120900"/>
                    <a:gd name="connsiteY36" fmla="*/ 1138238 h 2749550"/>
                    <a:gd name="connsiteX37" fmla="*/ 794544 w 2120900"/>
                    <a:gd name="connsiteY37" fmla="*/ 1133475 h 2749550"/>
                    <a:gd name="connsiteX38" fmla="*/ 777082 w 2120900"/>
                    <a:gd name="connsiteY38" fmla="*/ 1109663 h 2749550"/>
                    <a:gd name="connsiteX39" fmla="*/ 760412 w 2120900"/>
                    <a:gd name="connsiteY39" fmla="*/ 1039813 h 2749550"/>
                    <a:gd name="connsiteX40" fmla="*/ 788193 w 2120900"/>
                    <a:gd name="connsiteY40" fmla="*/ 1008062 h 2749550"/>
                    <a:gd name="connsiteX41" fmla="*/ 770731 w 2120900"/>
                    <a:gd name="connsiteY41" fmla="*/ 928688 h 2749550"/>
                    <a:gd name="connsiteX42" fmla="*/ 805656 w 2120900"/>
                    <a:gd name="connsiteY42" fmla="*/ 840581 h 2749550"/>
                    <a:gd name="connsiteX43" fmla="*/ 857250 w 2120900"/>
                    <a:gd name="connsiteY43" fmla="*/ 814387 h 2749550"/>
                    <a:gd name="connsiteX44" fmla="*/ 862013 w 2120900"/>
                    <a:gd name="connsiteY44" fmla="*/ 649287 h 2749550"/>
                    <a:gd name="connsiteX45" fmla="*/ 885031 w 2120900"/>
                    <a:gd name="connsiteY45" fmla="*/ 584993 h 2749550"/>
                    <a:gd name="connsiteX46" fmla="*/ 922338 w 2120900"/>
                    <a:gd name="connsiteY46" fmla="*/ 532606 h 2749550"/>
                    <a:gd name="connsiteX47" fmla="*/ 930275 w 2120900"/>
                    <a:gd name="connsiteY47" fmla="*/ 459581 h 2749550"/>
                    <a:gd name="connsiteX48" fmla="*/ 962025 w 2120900"/>
                    <a:gd name="connsiteY48" fmla="*/ 454819 h 2749550"/>
                    <a:gd name="connsiteX49" fmla="*/ 992982 w 2120900"/>
                    <a:gd name="connsiteY49" fmla="*/ 415925 h 2749550"/>
                    <a:gd name="connsiteX50" fmla="*/ 962819 w 2120900"/>
                    <a:gd name="connsiteY50" fmla="*/ 223043 h 2749550"/>
                    <a:gd name="connsiteX51" fmla="*/ 1003300 w 2120900"/>
                    <a:gd name="connsiteY51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736600 w 2120900"/>
                    <a:gd name="connsiteY29" fmla="*/ 1352550 h 2749550"/>
                    <a:gd name="connsiteX30" fmla="*/ 962818 w 2120900"/>
                    <a:gd name="connsiteY30" fmla="*/ 1323975 h 2749550"/>
                    <a:gd name="connsiteX31" fmla="*/ 1080293 w 2120900"/>
                    <a:gd name="connsiteY31" fmla="*/ 1235075 h 2749550"/>
                    <a:gd name="connsiteX32" fmla="*/ 1020763 w 2120900"/>
                    <a:gd name="connsiteY32" fmla="*/ 1209675 h 2749550"/>
                    <a:gd name="connsiteX33" fmla="*/ 961231 w 2120900"/>
                    <a:gd name="connsiteY33" fmla="*/ 1212056 h 2749550"/>
                    <a:gd name="connsiteX34" fmla="*/ 944563 w 2120900"/>
                    <a:gd name="connsiteY34" fmla="*/ 1176338 h 2749550"/>
                    <a:gd name="connsiteX35" fmla="*/ 894556 w 2120900"/>
                    <a:gd name="connsiteY35" fmla="*/ 1162050 h 2749550"/>
                    <a:gd name="connsiteX36" fmla="*/ 846931 w 2120900"/>
                    <a:gd name="connsiteY36" fmla="*/ 1138238 h 2749550"/>
                    <a:gd name="connsiteX37" fmla="*/ 794544 w 2120900"/>
                    <a:gd name="connsiteY37" fmla="*/ 1133475 h 2749550"/>
                    <a:gd name="connsiteX38" fmla="*/ 777082 w 2120900"/>
                    <a:gd name="connsiteY38" fmla="*/ 1109663 h 2749550"/>
                    <a:gd name="connsiteX39" fmla="*/ 760412 w 2120900"/>
                    <a:gd name="connsiteY39" fmla="*/ 1039813 h 2749550"/>
                    <a:gd name="connsiteX40" fmla="*/ 788193 w 2120900"/>
                    <a:gd name="connsiteY40" fmla="*/ 1008062 h 2749550"/>
                    <a:gd name="connsiteX41" fmla="*/ 770731 w 2120900"/>
                    <a:gd name="connsiteY41" fmla="*/ 928688 h 2749550"/>
                    <a:gd name="connsiteX42" fmla="*/ 805656 w 2120900"/>
                    <a:gd name="connsiteY42" fmla="*/ 840581 h 2749550"/>
                    <a:gd name="connsiteX43" fmla="*/ 857250 w 2120900"/>
                    <a:gd name="connsiteY43" fmla="*/ 814387 h 2749550"/>
                    <a:gd name="connsiteX44" fmla="*/ 862013 w 2120900"/>
                    <a:gd name="connsiteY44" fmla="*/ 649287 h 2749550"/>
                    <a:gd name="connsiteX45" fmla="*/ 885031 w 2120900"/>
                    <a:gd name="connsiteY45" fmla="*/ 584993 h 2749550"/>
                    <a:gd name="connsiteX46" fmla="*/ 922338 w 2120900"/>
                    <a:gd name="connsiteY46" fmla="*/ 532606 h 2749550"/>
                    <a:gd name="connsiteX47" fmla="*/ 930275 w 2120900"/>
                    <a:gd name="connsiteY47" fmla="*/ 459581 h 2749550"/>
                    <a:gd name="connsiteX48" fmla="*/ 962025 w 2120900"/>
                    <a:gd name="connsiteY48" fmla="*/ 454819 h 2749550"/>
                    <a:gd name="connsiteX49" fmla="*/ 992982 w 2120900"/>
                    <a:gd name="connsiteY49" fmla="*/ 415925 h 2749550"/>
                    <a:gd name="connsiteX50" fmla="*/ 962819 w 2120900"/>
                    <a:gd name="connsiteY50" fmla="*/ 223043 h 2749550"/>
                    <a:gd name="connsiteX51" fmla="*/ 1003300 w 2120900"/>
                    <a:gd name="connsiteY51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603250 w 2120900"/>
                    <a:gd name="connsiteY28" fmla="*/ 1409700 h 2749550"/>
                    <a:gd name="connsiteX29" fmla="*/ 929481 w 2120900"/>
                    <a:gd name="connsiteY29" fmla="*/ 1426369 h 2749550"/>
                    <a:gd name="connsiteX30" fmla="*/ 962818 w 2120900"/>
                    <a:gd name="connsiteY30" fmla="*/ 1323975 h 2749550"/>
                    <a:gd name="connsiteX31" fmla="*/ 1080293 w 2120900"/>
                    <a:gd name="connsiteY31" fmla="*/ 1235075 h 2749550"/>
                    <a:gd name="connsiteX32" fmla="*/ 1020763 w 2120900"/>
                    <a:gd name="connsiteY32" fmla="*/ 1209675 h 2749550"/>
                    <a:gd name="connsiteX33" fmla="*/ 961231 w 2120900"/>
                    <a:gd name="connsiteY33" fmla="*/ 1212056 h 2749550"/>
                    <a:gd name="connsiteX34" fmla="*/ 944563 w 2120900"/>
                    <a:gd name="connsiteY34" fmla="*/ 1176338 h 2749550"/>
                    <a:gd name="connsiteX35" fmla="*/ 894556 w 2120900"/>
                    <a:gd name="connsiteY35" fmla="*/ 1162050 h 2749550"/>
                    <a:gd name="connsiteX36" fmla="*/ 846931 w 2120900"/>
                    <a:gd name="connsiteY36" fmla="*/ 1138238 h 2749550"/>
                    <a:gd name="connsiteX37" fmla="*/ 794544 w 2120900"/>
                    <a:gd name="connsiteY37" fmla="*/ 1133475 h 2749550"/>
                    <a:gd name="connsiteX38" fmla="*/ 777082 w 2120900"/>
                    <a:gd name="connsiteY38" fmla="*/ 1109663 h 2749550"/>
                    <a:gd name="connsiteX39" fmla="*/ 760412 w 2120900"/>
                    <a:gd name="connsiteY39" fmla="*/ 1039813 h 2749550"/>
                    <a:gd name="connsiteX40" fmla="*/ 788193 w 2120900"/>
                    <a:gd name="connsiteY40" fmla="*/ 1008062 h 2749550"/>
                    <a:gd name="connsiteX41" fmla="*/ 770731 w 2120900"/>
                    <a:gd name="connsiteY41" fmla="*/ 928688 h 2749550"/>
                    <a:gd name="connsiteX42" fmla="*/ 805656 w 2120900"/>
                    <a:gd name="connsiteY42" fmla="*/ 840581 h 2749550"/>
                    <a:gd name="connsiteX43" fmla="*/ 857250 w 2120900"/>
                    <a:gd name="connsiteY43" fmla="*/ 814387 h 2749550"/>
                    <a:gd name="connsiteX44" fmla="*/ 862013 w 2120900"/>
                    <a:gd name="connsiteY44" fmla="*/ 649287 h 2749550"/>
                    <a:gd name="connsiteX45" fmla="*/ 885031 w 2120900"/>
                    <a:gd name="connsiteY45" fmla="*/ 584993 h 2749550"/>
                    <a:gd name="connsiteX46" fmla="*/ 922338 w 2120900"/>
                    <a:gd name="connsiteY46" fmla="*/ 532606 h 2749550"/>
                    <a:gd name="connsiteX47" fmla="*/ 930275 w 2120900"/>
                    <a:gd name="connsiteY47" fmla="*/ 459581 h 2749550"/>
                    <a:gd name="connsiteX48" fmla="*/ 962025 w 2120900"/>
                    <a:gd name="connsiteY48" fmla="*/ 454819 h 2749550"/>
                    <a:gd name="connsiteX49" fmla="*/ 992982 w 2120900"/>
                    <a:gd name="connsiteY49" fmla="*/ 415925 h 2749550"/>
                    <a:gd name="connsiteX50" fmla="*/ 962819 w 2120900"/>
                    <a:gd name="connsiteY50" fmla="*/ 223043 h 2749550"/>
                    <a:gd name="connsiteX51" fmla="*/ 1003300 w 2120900"/>
                    <a:gd name="connsiteY51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508000 w 2120900"/>
                    <a:gd name="connsiteY27" fmla="*/ 1473200 h 2749550"/>
                    <a:gd name="connsiteX28" fmla="*/ 836613 w 2120900"/>
                    <a:gd name="connsiteY28" fmla="*/ 1402556 h 2749550"/>
                    <a:gd name="connsiteX29" fmla="*/ 929481 w 2120900"/>
                    <a:gd name="connsiteY29" fmla="*/ 1426369 h 2749550"/>
                    <a:gd name="connsiteX30" fmla="*/ 962818 w 2120900"/>
                    <a:gd name="connsiteY30" fmla="*/ 1323975 h 2749550"/>
                    <a:gd name="connsiteX31" fmla="*/ 1080293 w 2120900"/>
                    <a:gd name="connsiteY31" fmla="*/ 1235075 h 2749550"/>
                    <a:gd name="connsiteX32" fmla="*/ 1020763 w 2120900"/>
                    <a:gd name="connsiteY32" fmla="*/ 1209675 h 2749550"/>
                    <a:gd name="connsiteX33" fmla="*/ 961231 w 2120900"/>
                    <a:gd name="connsiteY33" fmla="*/ 1212056 h 2749550"/>
                    <a:gd name="connsiteX34" fmla="*/ 944563 w 2120900"/>
                    <a:gd name="connsiteY34" fmla="*/ 1176338 h 2749550"/>
                    <a:gd name="connsiteX35" fmla="*/ 894556 w 2120900"/>
                    <a:gd name="connsiteY35" fmla="*/ 1162050 h 2749550"/>
                    <a:gd name="connsiteX36" fmla="*/ 846931 w 2120900"/>
                    <a:gd name="connsiteY36" fmla="*/ 1138238 h 2749550"/>
                    <a:gd name="connsiteX37" fmla="*/ 794544 w 2120900"/>
                    <a:gd name="connsiteY37" fmla="*/ 1133475 h 2749550"/>
                    <a:gd name="connsiteX38" fmla="*/ 777082 w 2120900"/>
                    <a:gd name="connsiteY38" fmla="*/ 1109663 h 2749550"/>
                    <a:gd name="connsiteX39" fmla="*/ 760412 w 2120900"/>
                    <a:gd name="connsiteY39" fmla="*/ 1039813 h 2749550"/>
                    <a:gd name="connsiteX40" fmla="*/ 788193 w 2120900"/>
                    <a:gd name="connsiteY40" fmla="*/ 1008062 h 2749550"/>
                    <a:gd name="connsiteX41" fmla="*/ 770731 w 2120900"/>
                    <a:gd name="connsiteY41" fmla="*/ 928688 h 2749550"/>
                    <a:gd name="connsiteX42" fmla="*/ 805656 w 2120900"/>
                    <a:gd name="connsiteY42" fmla="*/ 840581 h 2749550"/>
                    <a:gd name="connsiteX43" fmla="*/ 857250 w 2120900"/>
                    <a:gd name="connsiteY43" fmla="*/ 814387 h 2749550"/>
                    <a:gd name="connsiteX44" fmla="*/ 862013 w 2120900"/>
                    <a:gd name="connsiteY44" fmla="*/ 649287 h 2749550"/>
                    <a:gd name="connsiteX45" fmla="*/ 885031 w 2120900"/>
                    <a:gd name="connsiteY45" fmla="*/ 584993 h 2749550"/>
                    <a:gd name="connsiteX46" fmla="*/ 922338 w 2120900"/>
                    <a:gd name="connsiteY46" fmla="*/ 532606 h 2749550"/>
                    <a:gd name="connsiteX47" fmla="*/ 930275 w 2120900"/>
                    <a:gd name="connsiteY47" fmla="*/ 459581 h 2749550"/>
                    <a:gd name="connsiteX48" fmla="*/ 962025 w 2120900"/>
                    <a:gd name="connsiteY48" fmla="*/ 454819 h 2749550"/>
                    <a:gd name="connsiteX49" fmla="*/ 992982 w 2120900"/>
                    <a:gd name="connsiteY49" fmla="*/ 415925 h 2749550"/>
                    <a:gd name="connsiteX50" fmla="*/ 962819 w 2120900"/>
                    <a:gd name="connsiteY50" fmla="*/ 223043 h 2749550"/>
                    <a:gd name="connsiteX51" fmla="*/ 1003300 w 2120900"/>
                    <a:gd name="connsiteY51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19100 w 2120900"/>
                    <a:gd name="connsiteY26" fmla="*/ 1593850 h 2749550"/>
                    <a:gd name="connsiteX27" fmla="*/ 765175 w 2120900"/>
                    <a:gd name="connsiteY27" fmla="*/ 1397000 h 2749550"/>
                    <a:gd name="connsiteX28" fmla="*/ 836613 w 2120900"/>
                    <a:gd name="connsiteY28" fmla="*/ 1402556 h 2749550"/>
                    <a:gd name="connsiteX29" fmla="*/ 929481 w 2120900"/>
                    <a:gd name="connsiteY29" fmla="*/ 1426369 h 2749550"/>
                    <a:gd name="connsiteX30" fmla="*/ 962818 w 2120900"/>
                    <a:gd name="connsiteY30" fmla="*/ 1323975 h 2749550"/>
                    <a:gd name="connsiteX31" fmla="*/ 1080293 w 2120900"/>
                    <a:gd name="connsiteY31" fmla="*/ 1235075 h 2749550"/>
                    <a:gd name="connsiteX32" fmla="*/ 1020763 w 2120900"/>
                    <a:gd name="connsiteY32" fmla="*/ 1209675 h 2749550"/>
                    <a:gd name="connsiteX33" fmla="*/ 961231 w 2120900"/>
                    <a:gd name="connsiteY33" fmla="*/ 1212056 h 2749550"/>
                    <a:gd name="connsiteX34" fmla="*/ 944563 w 2120900"/>
                    <a:gd name="connsiteY34" fmla="*/ 1176338 h 2749550"/>
                    <a:gd name="connsiteX35" fmla="*/ 894556 w 2120900"/>
                    <a:gd name="connsiteY35" fmla="*/ 1162050 h 2749550"/>
                    <a:gd name="connsiteX36" fmla="*/ 846931 w 2120900"/>
                    <a:gd name="connsiteY36" fmla="*/ 1138238 h 2749550"/>
                    <a:gd name="connsiteX37" fmla="*/ 794544 w 2120900"/>
                    <a:gd name="connsiteY37" fmla="*/ 1133475 h 2749550"/>
                    <a:gd name="connsiteX38" fmla="*/ 777082 w 2120900"/>
                    <a:gd name="connsiteY38" fmla="*/ 1109663 h 2749550"/>
                    <a:gd name="connsiteX39" fmla="*/ 760412 w 2120900"/>
                    <a:gd name="connsiteY39" fmla="*/ 1039813 h 2749550"/>
                    <a:gd name="connsiteX40" fmla="*/ 788193 w 2120900"/>
                    <a:gd name="connsiteY40" fmla="*/ 1008062 h 2749550"/>
                    <a:gd name="connsiteX41" fmla="*/ 770731 w 2120900"/>
                    <a:gd name="connsiteY41" fmla="*/ 928688 h 2749550"/>
                    <a:gd name="connsiteX42" fmla="*/ 805656 w 2120900"/>
                    <a:gd name="connsiteY42" fmla="*/ 840581 h 2749550"/>
                    <a:gd name="connsiteX43" fmla="*/ 857250 w 2120900"/>
                    <a:gd name="connsiteY43" fmla="*/ 814387 h 2749550"/>
                    <a:gd name="connsiteX44" fmla="*/ 862013 w 2120900"/>
                    <a:gd name="connsiteY44" fmla="*/ 649287 h 2749550"/>
                    <a:gd name="connsiteX45" fmla="*/ 885031 w 2120900"/>
                    <a:gd name="connsiteY45" fmla="*/ 584993 h 2749550"/>
                    <a:gd name="connsiteX46" fmla="*/ 922338 w 2120900"/>
                    <a:gd name="connsiteY46" fmla="*/ 532606 h 2749550"/>
                    <a:gd name="connsiteX47" fmla="*/ 930275 w 2120900"/>
                    <a:gd name="connsiteY47" fmla="*/ 459581 h 2749550"/>
                    <a:gd name="connsiteX48" fmla="*/ 962025 w 2120900"/>
                    <a:gd name="connsiteY48" fmla="*/ 454819 h 2749550"/>
                    <a:gd name="connsiteX49" fmla="*/ 992982 w 2120900"/>
                    <a:gd name="connsiteY49" fmla="*/ 415925 h 2749550"/>
                    <a:gd name="connsiteX50" fmla="*/ 962819 w 2120900"/>
                    <a:gd name="connsiteY50" fmla="*/ 223043 h 2749550"/>
                    <a:gd name="connsiteX51" fmla="*/ 1003300 w 2120900"/>
                    <a:gd name="connsiteY51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669131 w 2120900"/>
                    <a:gd name="connsiteY26" fmla="*/ 1470025 h 2749550"/>
                    <a:gd name="connsiteX27" fmla="*/ 765175 w 2120900"/>
                    <a:gd name="connsiteY27" fmla="*/ 1397000 h 2749550"/>
                    <a:gd name="connsiteX28" fmla="*/ 836613 w 2120900"/>
                    <a:gd name="connsiteY28" fmla="*/ 1402556 h 2749550"/>
                    <a:gd name="connsiteX29" fmla="*/ 929481 w 2120900"/>
                    <a:gd name="connsiteY29" fmla="*/ 1426369 h 2749550"/>
                    <a:gd name="connsiteX30" fmla="*/ 962818 w 2120900"/>
                    <a:gd name="connsiteY30" fmla="*/ 1323975 h 2749550"/>
                    <a:gd name="connsiteX31" fmla="*/ 1080293 w 2120900"/>
                    <a:gd name="connsiteY31" fmla="*/ 1235075 h 2749550"/>
                    <a:gd name="connsiteX32" fmla="*/ 1020763 w 2120900"/>
                    <a:gd name="connsiteY32" fmla="*/ 1209675 h 2749550"/>
                    <a:gd name="connsiteX33" fmla="*/ 961231 w 2120900"/>
                    <a:gd name="connsiteY33" fmla="*/ 1212056 h 2749550"/>
                    <a:gd name="connsiteX34" fmla="*/ 944563 w 2120900"/>
                    <a:gd name="connsiteY34" fmla="*/ 1176338 h 2749550"/>
                    <a:gd name="connsiteX35" fmla="*/ 894556 w 2120900"/>
                    <a:gd name="connsiteY35" fmla="*/ 1162050 h 2749550"/>
                    <a:gd name="connsiteX36" fmla="*/ 846931 w 2120900"/>
                    <a:gd name="connsiteY36" fmla="*/ 1138238 h 2749550"/>
                    <a:gd name="connsiteX37" fmla="*/ 794544 w 2120900"/>
                    <a:gd name="connsiteY37" fmla="*/ 1133475 h 2749550"/>
                    <a:gd name="connsiteX38" fmla="*/ 777082 w 2120900"/>
                    <a:gd name="connsiteY38" fmla="*/ 1109663 h 2749550"/>
                    <a:gd name="connsiteX39" fmla="*/ 760412 w 2120900"/>
                    <a:gd name="connsiteY39" fmla="*/ 1039813 h 2749550"/>
                    <a:gd name="connsiteX40" fmla="*/ 788193 w 2120900"/>
                    <a:gd name="connsiteY40" fmla="*/ 1008062 h 2749550"/>
                    <a:gd name="connsiteX41" fmla="*/ 770731 w 2120900"/>
                    <a:gd name="connsiteY41" fmla="*/ 928688 h 2749550"/>
                    <a:gd name="connsiteX42" fmla="*/ 805656 w 2120900"/>
                    <a:gd name="connsiteY42" fmla="*/ 840581 h 2749550"/>
                    <a:gd name="connsiteX43" fmla="*/ 857250 w 2120900"/>
                    <a:gd name="connsiteY43" fmla="*/ 814387 h 2749550"/>
                    <a:gd name="connsiteX44" fmla="*/ 862013 w 2120900"/>
                    <a:gd name="connsiteY44" fmla="*/ 649287 h 2749550"/>
                    <a:gd name="connsiteX45" fmla="*/ 885031 w 2120900"/>
                    <a:gd name="connsiteY45" fmla="*/ 584993 h 2749550"/>
                    <a:gd name="connsiteX46" fmla="*/ 922338 w 2120900"/>
                    <a:gd name="connsiteY46" fmla="*/ 532606 h 2749550"/>
                    <a:gd name="connsiteX47" fmla="*/ 930275 w 2120900"/>
                    <a:gd name="connsiteY47" fmla="*/ 459581 h 2749550"/>
                    <a:gd name="connsiteX48" fmla="*/ 962025 w 2120900"/>
                    <a:gd name="connsiteY48" fmla="*/ 454819 h 2749550"/>
                    <a:gd name="connsiteX49" fmla="*/ 992982 w 2120900"/>
                    <a:gd name="connsiteY49" fmla="*/ 415925 h 2749550"/>
                    <a:gd name="connsiteX50" fmla="*/ 962819 w 2120900"/>
                    <a:gd name="connsiteY50" fmla="*/ 223043 h 2749550"/>
                    <a:gd name="connsiteX51" fmla="*/ 1003300 w 2120900"/>
                    <a:gd name="connsiteY51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501650 w 2120900"/>
                    <a:gd name="connsiteY26" fmla="*/ 1569244 h 2749550"/>
                    <a:gd name="connsiteX27" fmla="*/ 669131 w 2120900"/>
                    <a:gd name="connsiteY27" fmla="*/ 1470025 h 2749550"/>
                    <a:gd name="connsiteX28" fmla="*/ 765175 w 2120900"/>
                    <a:gd name="connsiteY28" fmla="*/ 1397000 h 2749550"/>
                    <a:gd name="connsiteX29" fmla="*/ 836613 w 2120900"/>
                    <a:gd name="connsiteY29" fmla="*/ 1402556 h 2749550"/>
                    <a:gd name="connsiteX30" fmla="*/ 929481 w 2120900"/>
                    <a:gd name="connsiteY30" fmla="*/ 1426369 h 2749550"/>
                    <a:gd name="connsiteX31" fmla="*/ 962818 w 2120900"/>
                    <a:gd name="connsiteY31" fmla="*/ 1323975 h 2749550"/>
                    <a:gd name="connsiteX32" fmla="*/ 1080293 w 2120900"/>
                    <a:gd name="connsiteY32" fmla="*/ 1235075 h 2749550"/>
                    <a:gd name="connsiteX33" fmla="*/ 1020763 w 2120900"/>
                    <a:gd name="connsiteY33" fmla="*/ 1209675 h 2749550"/>
                    <a:gd name="connsiteX34" fmla="*/ 961231 w 2120900"/>
                    <a:gd name="connsiteY34" fmla="*/ 1212056 h 2749550"/>
                    <a:gd name="connsiteX35" fmla="*/ 944563 w 2120900"/>
                    <a:gd name="connsiteY35" fmla="*/ 1176338 h 2749550"/>
                    <a:gd name="connsiteX36" fmla="*/ 894556 w 2120900"/>
                    <a:gd name="connsiteY36" fmla="*/ 1162050 h 2749550"/>
                    <a:gd name="connsiteX37" fmla="*/ 846931 w 2120900"/>
                    <a:gd name="connsiteY37" fmla="*/ 1138238 h 2749550"/>
                    <a:gd name="connsiteX38" fmla="*/ 794544 w 2120900"/>
                    <a:gd name="connsiteY38" fmla="*/ 1133475 h 2749550"/>
                    <a:gd name="connsiteX39" fmla="*/ 777082 w 2120900"/>
                    <a:gd name="connsiteY39" fmla="*/ 1109663 h 2749550"/>
                    <a:gd name="connsiteX40" fmla="*/ 760412 w 2120900"/>
                    <a:gd name="connsiteY40" fmla="*/ 1039813 h 2749550"/>
                    <a:gd name="connsiteX41" fmla="*/ 788193 w 2120900"/>
                    <a:gd name="connsiteY41" fmla="*/ 1008062 h 2749550"/>
                    <a:gd name="connsiteX42" fmla="*/ 770731 w 2120900"/>
                    <a:gd name="connsiteY42" fmla="*/ 928688 h 2749550"/>
                    <a:gd name="connsiteX43" fmla="*/ 805656 w 2120900"/>
                    <a:gd name="connsiteY43" fmla="*/ 840581 h 2749550"/>
                    <a:gd name="connsiteX44" fmla="*/ 857250 w 2120900"/>
                    <a:gd name="connsiteY44" fmla="*/ 814387 h 2749550"/>
                    <a:gd name="connsiteX45" fmla="*/ 862013 w 2120900"/>
                    <a:gd name="connsiteY45" fmla="*/ 649287 h 2749550"/>
                    <a:gd name="connsiteX46" fmla="*/ 885031 w 2120900"/>
                    <a:gd name="connsiteY46" fmla="*/ 584993 h 2749550"/>
                    <a:gd name="connsiteX47" fmla="*/ 922338 w 2120900"/>
                    <a:gd name="connsiteY47" fmla="*/ 532606 h 2749550"/>
                    <a:gd name="connsiteX48" fmla="*/ 930275 w 2120900"/>
                    <a:gd name="connsiteY48" fmla="*/ 459581 h 2749550"/>
                    <a:gd name="connsiteX49" fmla="*/ 962025 w 2120900"/>
                    <a:gd name="connsiteY49" fmla="*/ 454819 h 2749550"/>
                    <a:gd name="connsiteX50" fmla="*/ 992982 w 2120900"/>
                    <a:gd name="connsiteY50" fmla="*/ 415925 h 2749550"/>
                    <a:gd name="connsiteX51" fmla="*/ 962819 w 2120900"/>
                    <a:gd name="connsiteY51" fmla="*/ 223043 h 2749550"/>
                    <a:gd name="connsiteX52" fmla="*/ 1003300 w 2120900"/>
                    <a:gd name="connsiteY52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661194 w 2120900"/>
                    <a:gd name="connsiteY26" fmla="*/ 1538288 h 2749550"/>
                    <a:gd name="connsiteX27" fmla="*/ 669131 w 2120900"/>
                    <a:gd name="connsiteY27" fmla="*/ 1470025 h 2749550"/>
                    <a:gd name="connsiteX28" fmla="*/ 765175 w 2120900"/>
                    <a:gd name="connsiteY28" fmla="*/ 1397000 h 2749550"/>
                    <a:gd name="connsiteX29" fmla="*/ 836613 w 2120900"/>
                    <a:gd name="connsiteY29" fmla="*/ 1402556 h 2749550"/>
                    <a:gd name="connsiteX30" fmla="*/ 929481 w 2120900"/>
                    <a:gd name="connsiteY30" fmla="*/ 1426369 h 2749550"/>
                    <a:gd name="connsiteX31" fmla="*/ 962818 w 2120900"/>
                    <a:gd name="connsiteY31" fmla="*/ 1323975 h 2749550"/>
                    <a:gd name="connsiteX32" fmla="*/ 1080293 w 2120900"/>
                    <a:gd name="connsiteY32" fmla="*/ 1235075 h 2749550"/>
                    <a:gd name="connsiteX33" fmla="*/ 1020763 w 2120900"/>
                    <a:gd name="connsiteY33" fmla="*/ 1209675 h 2749550"/>
                    <a:gd name="connsiteX34" fmla="*/ 961231 w 2120900"/>
                    <a:gd name="connsiteY34" fmla="*/ 1212056 h 2749550"/>
                    <a:gd name="connsiteX35" fmla="*/ 944563 w 2120900"/>
                    <a:gd name="connsiteY35" fmla="*/ 1176338 h 2749550"/>
                    <a:gd name="connsiteX36" fmla="*/ 894556 w 2120900"/>
                    <a:gd name="connsiteY36" fmla="*/ 1162050 h 2749550"/>
                    <a:gd name="connsiteX37" fmla="*/ 846931 w 2120900"/>
                    <a:gd name="connsiteY37" fmla="*/ 1138238 h 2749550"/>
                    <a:gd name="connsiteX38" fmla="*/ 794544 w 2120900"/>
                    <a:gd name="connsiteY38" fmla="*/ 1133475 h 2749550"/>
                    <a:gd name="connsiteX39" fmla="*/ 777082 w 2120900"/>
                    <a:gd name="connsiteY39" fmla="*/ 1109663 h 2749550"/>
                    <a:gd name="connsiteX40" fmla="*/ 760412 w 2120900"/>
                    <a:gd name="connsiteY40" fmla="*/ 1039813 h 2749550"/>
                    <a:gd name="connsiteX41" fmla="*/ 788193 w 2120900"/>
                    <a:gd name="connsiteY41" fmla="*/ 1008062 h 2749550"/>
                    <a:gd name="connsiteX42" fmla="*/ 770731 w 2120900"/>
                    <a:gd name="connsiteY42" fmla="*/ 928688 h 2749550"/>
                    <a:gd name="connsiteX43" fmla="*/ 805656 w 2120900"/>
                    <a:gd name="connsiteY43" fmla="*/ 840581 h 2749550"/>
                    <a:gd name="connsiteX44" fmla="*/ 857250 w 2120900"/>
                    <a:gd name="connsiteY44" fmla="*/ 814387 h 2749550"/>
                    <a:gd name="connsiteX45" fmla="*/ 862013 w 2120900"/>
                    <a:gd name="connsiteY45" fmla="*/ 649287 h 2749550"/>
                    <a:gd name="connsiteX46" fmla="*/ 885031 w 2120900"/>
                    <a:gd name="connsiteY46" fmla="*/ 584993 h 2749550"/>
                    <a:gd name="connsiteX47" fmla="*/ 922338 w 2120900"/>
                    <a:gd name="connsiteY47" fmla="*/ 532606 h 2749550"/>
                    <a:gd name="connsiteX48" fmla="*/ 930275 w 2120900"/>
                    <a:gd name="connsiteY48" fmla="*/ 459581 h 2749550"/>
                    <a:gd name="connsiteX49" fmla="*/ 962025 w 2120900"/>
                    <a:gd name="connsiteY49" fmla="*/ 454819 h 2749550"/>
                    <a:gd name="connsiteX50" fmla="*/ 992982 w 2120900"/>
                    <a:gd name="connsiteY50" fmla="*/ 415925 h 2749550"/>
                    <a:gd name="connsiteX51" fmla="*/ 962819 w 2120900"/>
                    <a:gd name="connsiteY51" fmla="*/ 223043 h 2749550"/>
                    <a:gd name="connsiteX52" fmla="*/ 1003300 w 2120900"/>
                    <a:gd name="connsiteY52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470694 w 2120900"/>
                    <a:gd name="connsiteY26" fmla="*/ 1624013 h 2749550"/>
                    <a:gd name="connsiteX27" fmla="*/ 661194 w 2120900"/>
                    <a:gd name="connsiteY27" fmla="*/ 1538288 h 2749550"/>
                    <a:gd name="connsiteX28" fmla="*/ 669131 w 2120900"/>
                    <a:gd name="connsiteY28" fmla="*/ 1470025 h 2749550"/>
                    <a:gd name="connsiteX29" fmla="*/ 765175 w 2120900"/>
                    <a:gd name="connsiteY29" fmla="*/ 1397000 h 2749550"/>
                    <a:gd name="connsiteX30" fmla="*/ 836613 w 2120900"/>
                    <a:gd name="connsiteY30" fmla="*/ 1402556 h 2749550"/>
                    <a:gd name="connsiteX31" fmla="*/ 929481 w 2120900"/>
                    <a:gd name="connsiteY31" fmla="*/ 1426369 h 2749550"/>
                    <a:gd name="connsiteX32" fmla="*/ 962818 w 2120900"/>
                    <a:gd name="connsiteY32" fmla="*/ 1323975 h 2749550"/>
                    <a:gd name="connsiteX33" fmla="*/ 1080293 w 2120900"/>
                    <a:gd name="connsiteY33" fmla="*/ 1235075 h 2749550"/>
                    <a:gd name="connsiteX34" fmla="*/ 1020763 w 2120900"/>
                    <a:gd name="connsiteY34" fmla="*/ 1209675 h 2749550"/>
                    <a:gd name="connsiteX35" fmla="*/ 961231 w 2120900"/>
                    <a:gd name="connsiteY35" fmla="*/ 1212056 h 2749550"/>
                    <a:gd name="connsiteX36" fmla="*/ 944563 w 2120900"/>
                    <a:gd name="connsiteY36" fmla="*/ 1176338 h 2749550"/>
                    <a:gd name="connsiteX37" fmla="*/ 894556 w 2120900"/>
                    <a:gd name="connsiteY37" fmla="*/ 1162050 h 2749550"/>
                    <a:gd name="connsiteX38" fmla="*/ 846931 w 2120900"/>
                    <a:gd name="connsiteY38" fmla="*/ 1138238 h 2749550"/>
                    <a:gd name="connsiteX39" fmla="*/ 794544 w 2120900"/>
                    <a:gd name="connsiteY39" fmla="*/ 1133475 h 2749550"/>
                    <a:gd name="connsiteX40" fmla="*/ 777082 w 2120900"/>
                    <a:gd name="connsiteY40" fmla="*/ 1109663 h 2749550"/>
                    <a:gd name="connsiteX41" fmla="*/ 760412 w 2120900"/>
                    <a:gd name="connsiteY41" fmla="*/ 1039813 h 2749550"/>
                    <a:gd name="connsiteX42" fmla="*/ 788193 w 2120900"/>
                    <a:gd name="connsiteY42" fmla="*/ 1008062 h 2749550"/>
                    <a:gd name="connsiteX43" fmla="*/ 770731 w 2120900"/>
                    <a:gd name="connsiteY43" fmla="*/ 928688 h 2749550"/>
                    <a:gd name="connsiteX44" fmla="*/ 805656 w 2120900"/>
                    <a:gd name="connsiteY44" fmla="*/ 840581 h 2749550"/>
                    <a:gd name="connsiteX45" fmla="*/ 857250 w 2120900"/>
                    <a:gd name="connsiteY45" fmla="*/ 814387 h 2749550"/>
                    <a:gd name="connsiteX46" fmla="*/ 862013 w 2120900"/>
                    <a:gd name="connsiteY46" fmla="*/ 649287 h 2749550"/>
                    <a:gd name="connsiteX47" fmla="*/ 885031 w 2120900"/>
                    <a:gd name="connsiteY47" fmla="*/ 584993 h 2749550"/>
                    <a:gd name="connsiteX48" fmla="*/ 922338 w 2120900"/>
                    <a:gd name="connsiteY48" fmla="*/ 532606 h 2749550"/>
                    <a:gd name="connsiteX49" fmla="*/ 930275 w 2120900"/>
                    <a:gd name="connsiteY49" fmla="*/ 459581 h 2749550"/>
                    <a:gd name="connsiteX50" fmla="*/ 962025 w 2120900"/>
                    <a:gd name="connsiteY50" fmla="*/ 454819 h 2749550"/>
                    <a:gd name="connsiteX51" fmla="*/ 992982 w 2120900"/>
                    <a:gd name="connsiteY51" fmla="*/ 415925 h 2749550"/>
                    <a:gd name="connsiteX52" fmla="*/ 962819 w 2120900"/>
                    <a:gd name="connsiteY52" fmla="*/ 223043 h 2749550"/>
                    <a:gd name="connsiteX53" fmla="*/ 1003300 w 2120900"/>
                    <a:gd name="connsiteY53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311150 w 2120900"/>
                    <a:gd name="connsiteY25" fmla="*/ 1695450 h 2749550"/>
                    <a:gd name="connsiteX26" fmla="*/ 551656 w 2120900"/>
                    <a:gd name="connsiteY26" fmla="*/ 1554956 h 2749550"/>
                    <a:gd name="connsiteX27" fmla="*/ 661194 w 2120900"/>
                    <a:gd name="connsiteY27" fmla="*/ 1538288 h 2749550"/>
                    <a:gd name="connsiteX28" fmla="*/ 669131 w 2120900"/>
                    <a:gd name="connsiteY28" fmla="*/ 1470025 h 2749550"/>
                    <a:gd name="connsiteX29" fmla="*/ 765175 w 2120900"/>
                    <a:gd name="connsiteY29" fmla="*/ 1397000 h 2749550"/>
                    <a:gd name="connsiteX30" fmla="*/ 836613 w 2120900"/>
                    <a:gd name="connsiteY30" fmla="*/ 1402556 h 2749550"/>
                    <a:gd name="connsiteX31" fmla="*/ 929481 w 2120900"/>
                    <a:gd name="connsiteY31" fmla="*/ 1426369 h 2749550"/>
                    <a:gd name="connsiteX32" fmla="*/ 962818 w 2120900"/>
                    <a:gd name="connsiteY32" fmla="*/ 1323975 h 2749550"/>
                    <a:gd name="connsiteX33" fmla="*/ 1080293 w 2120900"/>
                    <a:gd name="connsiteY33" fmla="*/ 1235075 h 2749550"/>
                    <a:gd name="connsiteX34" fmla="*/ 1020763 w 2120900"/>
                    <a:gd name="connsiteY34" fmla="*/ 1209675 h 2749550"/>
                    <a:gd name="connsiteX35" fmla="*/ 961231 w 2120900"/>
                    <a:gd name="connsiteY35" fmla="*/ 1212056 h 2749550"/>
                    <a:gd name="connsiteX36" fmla="*/ 944563 w 2120900"/>
                    <a:gd name="connsiteY36" fmla="*/ 1176338 h 2749550"/>
                    <a:gd name="connsiteX37" fmla="*/ 894556 w 2120900"/>
                    <a:gd name="connsiteY37" fmla="*/ 1162050 h 2749550"/>
                    <a:gd name="connsiteX38" fmla="*/ 846931 w 2120900"/>
                    <a:gd name="connsiteY38" fmla="*/ 1138238 h 2749550"/>
                    <a:gd name="connsiteX39" fmla="*/ 794544 w 2120900"/>
                    <a:gd name="connsiteY39" fmla="*/ 1133475 h 2749550"/>
                    <a:gd name="connsiteX40" fmla="*/ 777082 w 2120900"/>
                    <a:gd name="connsiteY40" fmla="*/ 1109663 h 2749550"/>
                    <a:gd name="connsiteX41" fmla="*/ 760412 w 2120900"/>
                    <a:gd name="connsiteY41" fmla="*/ 1039813 h 2749550"/>
                    <a:gd name="connsiteX42" fmla="*/ 788193 w 2120900"/>
                    <a:gd name="connsiteY42" fmla="*/ 1008062 h 2749550"/>
                    <a:gd name="connsiteX43" fmla="*/ 770731 w 2120900"/>
                    <a:gd name="connsiteY43" fmla="*/ 928688 h 2749550"/>
                    <a:gd name="connsiteX44" fmla="*/ 805656 w 2120900"/>
                    <a:gd name="connsiteY44" fmla="*/ 840581 h 2749550"/>
                    <a:gd name="connsiteX45" fmla="*/ 857250 w 2120900"/>
                    <a:gd name="connsiteY45" fmla="*/ 814387 h 2749550"/>
                    <a:gd name="connsiteX46" fmla="*/ 862013 w 2120900"/>
                    <a:gd name="connsiteY46" fmla="*/ 649287 h 2749550"/>
                    <a:gd name="connsiteX47" fmla="*/ 885031 w 2120900"/>
                    <a:gd name="connsiteY47" fmla="*/ 584993 h 2749550"/>
                    <a:gd name="connsiteX48" fmla="*/ 922338 w 2120900"/>
                    <a:gd name="connsiteY48" fmla="*/ 532606 h 2749550"/>
                    <a:gd name="connsiteX49" fmla="*/ 930275 w 2120900"/>
                    <a:gd name="connsiteY49" fmla="*/ 459581 h 2749550"/>
                    <a:gd name="connsiteX50" fmla="*/ 962025 w 2120900"/>
                    <a:gd name="connsiteY50" fmla="*/ 454819 h 2749550"/>
                    <a:gd name="connsiteX51" fmla="*/ 992982 w 2120900"/>
                    <a:gd name="connsiteY51" fmla="*/ 415925 h 2749550"/>
                    <a:gd name="connsiteX52" fmla="*/ 962819 w 2120900"/>
                    <a:gd name="connsiteY52" fmla="*/ 223043 h 2749550"/>
                    <a:gd name="connsiteX53" fmla="*/ 1003300 w 2120900"/>
                    <a:gd name="connsiteY53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34950 w 2120900"/>
                    <a:gd name="connsiteY24" fmla="*/ 1778000 h 2749550"/>
                    <a:gd name="connsiteX25" fmla="*/ 430213 w 2120900"/>
                    <a:gd name="connsiteY25" fmla="*/ 1650207 h 2749550"/>
                    <a:gd name="connsiteX26" fmla="*/ 551656 w 2120900"/>
                    <a:gd name="connsiteY26" fmla="*/ 1554956 h 2749550"/>
                    <a:gd name="connsiteX27" fmla="*/ 661194 w 2120900"/>
                    <a:gd name="connsiteY27" fmla="*/ 1538288 h 2749550"/>
                    <a:gd name="connsiteX28" fmla="*/ 669131 w 2120900"/>
                    <a:gd name="connsiteY28" fmla="*/ 1470025 h 2749550"/>
                    <a:gd name="connsiteX29" fmla="*/ 765175 w 2120900"/>
                    <a:gd name="connsiteY29" fmla="*/ 1397000 h 2749550"/>
                    <a:gd name="connsiteX30" fmla="*/ 836613 w 2120900"/>
                    <a:gd name="connsiteY30" fmla="*/ 1402556 h 2749550"/>
                    <a:gd name="connsiteX31" fmla="*/ 929481 w 2120900"/>
                    <a:gd name="connsiteY31" fmla="*/ 1426369 h 2749550"/>
                    <a:gd name="connsiteX32" fmla="*/ 962818 w 2120900"/>
                    <a:gd name="connsiteY32" fmla="*/ 1323975 h 2749550"/>
                    <a:gd name="connsiteX33" fmla="*/ 1080293 w 2120900"/>
                    <a:gd name="connsiteY33" fmla="*/ 1235075 h 2749550"/>
                    <a:gd name="connsiteX34" fmla="*/ 1020763 w 2120900"/>
                    <a:gd name="connsiteY34" fmla="*/ 1209675 h 2749550"/>
                    <a:gd name="connsiteX35" fmla="*/ 961231 w 2120900"/>
                    <a:gd name="connsiteY35" fmla="*/ 1212056 h 2749550"/>
                    <a:gd name="connsiteX36" fmla="*/ 944563 w 2120900"/>
                    <a:gd name="connsiteY36" fmla="*/ 1176338 h 2749550"/>
                    <a:gd name="connsiteX37" fmla="*/ 894556 w 2120900"/>
                    <a:gd name="connsiteY37" fmla="*/ 1162050 h 2749550"/>
                    <a:gd name="connsiteX38" fmla="*/ 846931 w 2120900"/>
                    <a:gd name="connsiteY38" fmla="*/ 1138238 h 2749550"/>
                    <a:gd name="connsiteX39" fmla="*/ 794544 w 2120900"/>
                    <a:gd name="connsiteY39" fmla="*/ 1133475 h 2749550"/>
                    <a:gd name="connsiteX40" fmla="*/ 777082 w 2120900"/>
                    <a:gd name="connsiteY40" fmla="*/ 1109663 h 2749550"/>
                    <a:gd name="connsiteX41" fmla="*/ 760412 w 2120900"/>
                    <a:gd name="connsiteY41" fmla="*/ 1039813 h 2749550"/>
                    <a:gd name="connsiteX42" fmla="*/ 788193 w 2120900"/>
                    <a:gd name="connsiteY42" fmla="*/ 1008062 h 2749550"/>
                    <a:gd name="connsiteX43" fmla="*/ 770731 w 2120900"/>
                    <a:gd name="connsiteY43" fmla="*/ 928688 h 2749550"/>
                    <a:gd name="connsiteX44" fmla="*/ 805656 w 2120900"/>
                    <a:gd name="connsiteY44" fmla="*/ 840581 h 2749550"/>
                    <a:gd name="connsiteX45" fmla="*/ 857250 w 2120900"/>
                    <a:gd name="connsiteY45" fmla="*/ 814387 h 2749550"/>
                    <a:gd name="connsiteX46" fmla="*/ 862013 w 2120900"/>
                    <a:gd name="connsiteY46" fmla="*/ 649287 h 2749550"/>
                    <a:gd name="connsiteX47" fmla="*/ 885031 w 2120900"/>
                    <a:gd name="connsiteY47" fmla="*/ 584993 h 2749550"/>
                    <a:gd name="connsiteX48" fmla="*/ 922338 w 2120900"/>
                    <a:gd name="connsiteY48" fmla="*/ 532606 h 2749550"/>
                    <a:gd name="connsiteX49" fmla="*/ 930275 w 2120900"/>
                    <a:gd name="connsiteY49" fmla="*/ 459581 h 2749550"/>
                    <a:gd name="connsiteX50" fmla="*/ 962025 w 2120900"/>
                    <a:gd name="connsiteY50" fmla="*/ 454819 h 2749550"/>
                    <a:gd name="connsiteX51" fmla="*/ 992982 w 2120900"/>
                    <a:gd name="connsiteY51" fmla="*/ 415925 h 2749550"/>
                    <a:gd name="connsiteX52" fmla="*/ 962819 w 2120900"/>
                    <a:gd name="connsiteY52" fmla="*/ 223043 h 2749550"/>
                    <a:gd name="connsiteX53" fmla="*/ 1003300 w 2120900"/>
                    <a:gd name="connsiteY53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396875 w 2120900"/>
                    <a:gd name="connsiteY24" fmla="*/ 1766093 h 2749550"/>
                    <a:gd name="connsiteX25" fmla="*/ 430213 w 2120900"/>
                    <a:gd name="connsiteY25" fmla="*/ 1650207 h 2749550"/>
                    <a:gd name="connsiteX26" fmla="*/ 551656 w 2120900"/>
                    <a:gd name="connsiteY26" fmla="*/ 1554956 h 2749550"/>
                    <a:gd name="connsiteX27" fmla="*/ 661194 w 2120900"/>
                    <a:gd name="connsiteY27" fmla="*/ 1538288 h 2749550"/>
                    <a:gd name="connsiteX28" fmla="*/ 669131 w 2120900"/>
                    <a:gd name="connsiteY28" fmla="*/ 1470025 h 2749550"/>
                    <a:gd name="connsiteX29" fmla="*/ 765175 w 2120900"/>
                    <a:gd name="connsiteY29" fmla="*/ 1397000 h 2749550"/>
                    <a:gd name="connsiteX30" fmla="*/ 836613 w 2120900"/>
                    <a:gd name="connsiteY30" fmla="*/ 1402556 h 2749550"/>
                    <a:gd name="connsiteX31" fmla="*/ 929481 w 2120900"/>
                    <a:gd name="connsiteY31" fmla="*/ 1426369 h 2749550"/>
                    <a:gd name="connsiteX32" fmla="*/ 962818 w 2120900"/>
                    <a:gd name="connsiteY32" fmla="*/ 1323975 h 2749550"/>
                    <a:gd name="connsiteX33" fmla="*/ 1080293 w 2120900"/>
                    <a:gd name="connsiteY33" fmla="*/ 1235075 h 2749550"/>
                    <a:gd name="connsiteX34" fmla="*/ 1020763 w 2120900"/>
                    <a:gd name="connsiteY34" fmla="*/ 1209675 h 2749550"/>
                    <a:gd name="connsiteX35" fmla="*/ 961231 w 2120900"/>
                    <a:gd name="connsiteY35" fmla="*/ 1212056 h 2749550"/>
                    <a:gd name="connsiteX36" fmla="*/ 944563 w 2120900"/>
                    <a:gd name="connsiteY36" fmla="*/ 1176338 h 2749550"/>
                    <a:gd name="connsiteX37" fmla="*/ 894556 w 2120900"/>
                    <a:gd name="connsiteY37" fmla="*/ 1162050 h 2749550"/>
                    <a:gd name="connsiteX38" fmla="*/ 846931 w 2120900"/>
                    <a:gd name="connsiteY38" fmla="*/ 1138238 h 2749550"/>
                    <a:gd name="connsiteX39" fmla="*/ 794544 w 2120900"/>
                    <a:gd name="connsiteY39" fmla="*/ 1133475 h 2749550"/>
                    <a:gd name="connsiteX40" fmla="*/ 777082 w 2120900"/>
                    <a:gd name="connsiteY40" fmla="*/ 1109663 h 2749550"/>
                    <a:gd name="connsiteX41" fmla="*/ 760412 w 2120900"/>
                    <a:gd name="connsiteY41" fmla="*/ 1039813 h 2749550"/>
                    <a:gd name="connsiteX42" fmla="*/ 788193 w 2120900"/>
                    <a:gd name="connsiteY42" fmla="*/ 1008062 h 2749550"/>
                    <a:gd name="connsiteX43" fmla="*/ 770731 w 2120900"/>
                    <a:gd name="connsiteY43" fmla="*/ 928688 h 2749550"/>
                    <a:gd name="connsiteX44" fmla="*/ 805656 w 2120900"/>
                    <a:gd name="connsiteY44" fmla="*/ 840581 h 2749550"/>
                    <a:gd name="connsiteX45" fmla="*/ 857250 w 2120900"/>
                    <a:gd name="connsiteY45" fmla="*/ 814387 h 2749550"/>
                    <a:gd name="connsiteX46" fmla="*/ 862013 w 2120900"/>
                    <a:gd name="connsiteY46" fmla="*/ 649287 h 2749550"/>
                    <a:gd name="connsiteX47" fmla="*/ 885031 w 2120900"/>
                    <a:gd name="connsiteY47" fmla="*/ 584993 h 2749550"/>
                    <a:gd name="connsiteX48" fmla="*/ 922338 w 2120900"/>
                    <a:gd name="connsiteY48" fmla="*/ 532606 h 2749550"/>
                    <a:gd name="connsiteX49" fmla="*/ 930275 w 2120900"/>
                    <a:gd name="connsiteY49" fmla="*/ 459581 h 2749550"/>
                    <a:gd name="connsiteX50" fmla="*/ 962025 w 2120900"/>
                    <a:gd name="connsiteY50" fmla="*/ 454819 h 2749550"/>
                    <a:gd name="connsiteX51" fmla="*/ 992982 w 2120900"/>
                    <a:gd name="connsiteY51" fmla="*/ 415925 h 2749550"/>
                    <a:gd name="connsiteX52" fmla="*/ 962819 w 2120900"/>
                    <a:gd name="connsiteY52" fmla="*/ 223043 h 2749550"/>
                    <a:gd name="connsiteX53" fmla="*/ 1003300 w 2120900"/>
                    <a:gd name="connsiteY53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396875 w 2120900"/>
                    <a:gd name="connsiteY24" fmla="*/ 1766093 h 2749550"/>
                    <a:gd name="connsiteX25" fmla="*/ 442120 w 2120900"/>
                    <a:gd name="connsiteY25" fmla="*/ 1657350 h 2749550"/>
                    <a:gd name="connsiteX26" fmla="*/ 551656 w 2120900"/>
                    <a:gd name="connsiteY26" fmla="*/ 1554956 h 2749550"/>
                    <a:gd name="connsiteX27" fmla="*/ 661194 w 2120900"/>
                    <a:gd name="connsiteY27" fmla="*/ 1538288 h 2749550"/>
                    <a:gd name="connsiteX28" fmla="*/ 669131 w 2120900"/>
                    <a:gd name="connsiteY28" fmla="*/ 1470025 h 2749550"/>
                    <a:gd name="connsiteX29" fmla="*/ 765175 w 2120900"/>
                    <a:gd name="connsiteY29" fmla="*/ 1397000 h 2749550"/>
                    <a:gd name="connsiteX30" fmla="*/ 836613 w 2120900"/>
                    <a:gd name="connsiteY30" fmla="*/ 1402556 h 2749550"/>
                    <a:gd name="connsiteX31" fmla="*/ 929481 w 2120900"/>
                    <a:gd name="connsiteY31" fmla="*/ 1426369 h 2749550"/>
                    <a:gd name="connsiteX32" fmla="*/ 962818 w 2120900"/>
                    <a:gd name="connsiteY32" fmla="*/ 1323975 h 2749550"/>
                    <a:gd name="connsiteX33" fmla="*/ 1080293 w 2120900"/>
                    <a:gd name="connsiteY33" fmla="*/ 1235075 h 2749550"/>
                    <a:gd name="connsiteX34" fmla="*/ 1020763 w 2120900"/>
                    <a:gd name="connsiteY34" fmla="*/ 1209675 h 2749550"/>
                    <a:gd name="connsiteX35" fmla="*/ 961231 w 2120900"/>
                    <a:gd name="connsiteY35" fmla="*/ 1212056 h 2749550"/>
                    <a:gd name="connsiteX36" fmla="*/ 944563 w 2120900"/>
                    <a:gd name="connsiteY36" fmla="*/ 1176338 h 2749550"/>
                    <a:gd name="connsiteX37" fmla="*/ 894556 w 2120900"/>
                    <a:gd name="connsiteY37" fmla="*/ 1162050 h 2749550"/>
                    <a:gd name="connsiteX38" fmla="*/ 846931 w 2120900"/>
                    <a:gd name="connsiteY38" fmla="*/ 1138238 h 2749550"/>
                    <a:gd name="connsiteX39" fmla="*/ 794544 w 2120900"/>
                    <a:gd name="connsiteY39" fmla="*/ 1133475 h 2749550"/>
                    <a:gd name="connsiteX40" fmla="*/ 777082 w 2120900"/>
                    <a:gd name="connsiteY40" fmla="*/ 1109663 h 2749550"/>
                    <a:gd name="connsiteX41" fmla="*/ 760412 w 2120900"/>
                    <a:gd name="connsiteY41" fmla="*/ 1039813 h 2749550"/>
                    <a:gd name="connsiteX42" fmla="*/ 788193 w 2120900"/>
                    <a:gd name="connsiteY42" fmla="*/ 1008062 h 2749550"/>
                    <a:gd name="connsiteX43" fmla="*/ 770731 w 2120900"/>
                    <a:gd name="connsiteY43" fmla="*/ 928688 h 2749550"/>
                    <a:gd name="connsiteX44" fmla="*/ 805656 w 2120900"/>
                    <a:gd name="connsiteY44" fmla="*/ 840581 h 2749550"/>
                    <a:gd name="connsiteX45" fmla="*/ 857250 w 2120900"/>
                    <a:gd name="connsiteY45" fmla="*/ 814387 h 2749550"/>
                    <a:gd name="connsiteX46" fmla="*/ 862013 w 2120900"/>
                    <a:gd name="connsiteY46" fmla="*/ 649287 h 2749550"/>
                    <a:gd name="connsiteX47" fmla="*/ 885031 w 2120900"/>
                    <a:gd name="connsiteY47" fmla="*/ 584993 h 2749550"/>
                    <a:gd name="connsiteX48" fmla="*/ 922338 w 2120900"/>
                    <a:gd name="connsiteY48" fmla="*/ 532606 h 2749550"/>
                    <a:gd name="connsiteX49" fmla="*/ 930275 w 2120900"/>
                    <a:gd name="connsiteY49" fmla="*/ 459581 h 2749550"/>
                    <a:gd name="connsiteX50" fmla="*/ 962025 w 2120900"/>
                    <a:gd name="connsiteY50" fmla="*/ 454819 h 2749550"/>
                    <a:gd name="connsiteX51" fmla="*/ 992982 w 2120900"/>
                    <a:gd name="connsiteY51" fmla="*/ 415925 h 2749550"/>
                    <a:gd name="connsiteX52" fmla="*/ 962819 w 2120900"/>
                    <a:gd name="connsiteY52" fmla="*/ 223043 h 2749550"/>
                    <a:gd name="connsiteX53" fmla="*/ 1003300 w 2120900"/>
                    <a:gd name="connsiteY53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19050 w 2120900"/>
                    <a:gd name="connsiteY18" fmla="*/ 2032000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87338 w 2120900"/>
                    <a:gd name="connsiteY24" fmla="*/ 1814513 h 2749550"/>
                    <a:gd name="connsiteX25" fmla="*/ 396875 w 2120900"/>
                    <a:gd name="connsiteY25" fmla="*/ 1766093 h 2749550"/>
                    <a:gd name="connsiteX26" fmla="*/ 442120 w 2120900"/>
                    <a:gd name="connsiteY26" fmla="*/ 1657350 h 2749550"/>
                    <a:gd name="connsiteX27" fmla="*/ 551656 w 2120900"/>
                    <a:gd name="connsiteY27" fmla="*/ 1554956 h 2749550"/>
                    <a:gd name="connsiteX28" fmla="*/ 661194 w 2120900"/>
                    <a:gd name="connsiteY28" fmla="*/ 1538288 h 2749550"/>
                    <a:gd name="connsiteX29" fmla="*/ 669131 w 2120900"/>
                    <a:gd name="connsiteY29" fmla="*/ 1470025 h 2749550"/>
                    <a:gd name="connsiteX30" fmla="*/ 765175 w 2120900"/>
                    <a:gd name="connsiteY30" fmla="*/ 1397000 h 2749550"/>
                    <a:gd name="connsiteX31" fmla="*/ 836613 w 2120900"/>
                    <a:gd name="connsiteY31" fmla="*/ 1402556 h 2749550"/>
                    <a:gd name="connsiteX32" fmla="*/ 929481 w 2120900"/>
                    <a:gd name="connsiteY32" fmla="*/ 1426369 h 2749550"/>
                    <a:gd name="connsiteX33" fmla="*/ 962818 w 2120900"/>
                    <a:gd name="connsiteY33" fmla="*/ 1323975 h 2749550"/>
                    <a:gd name="connsiteX34" fmla="*/ 1080293 w 2120900"/>
                    <a:gd name="connsiteY34" fmla="*/ 1235075 h 2749550"/>
                    <a:gd name="connsiteX35" fmla="*/ 1020763 w 2120900"/>
                    <a:gd name="connsiteY35" fmla="*/ 1209675 h 2749550"/>
                    <a:gd name="connsiteX36" fmla="*/ 961231 w 2120900"/>
                    <a:gd name="connsiteY36" fmla="*/ 1212056 h 2749550"/>
                    <a:gd name="connsiteX37" fmla="*/ 944563 w 2120900"/>
                    <a:gd name="connsiteY37" fmla="*/ 1176338 h 2749550"/>
                    <a:gd name="connsiteX38" fmla="*/ 894556 w 2120900"/>
                    <a:gd name="connsiteY38" fmla="*/ 1162050 h 2749550"/>
                    <a:gd name="connsiteX39" fmla="*/ 846931 w 2120900"/>
                    <a:gd name="connsiteY39" fmla="*/ 1138238 h 2749550"/>
                    <a:gd name="connsiteX40" fmla="*/ 794544 w 2120900"/>
                    <a:gd name="connsiteY40" fmla="*/ 1133475 h 2749550"/>
                    <a:gd name="connsiteX41" fmla="*/ 777082 w 2120900"/>
                    <a:gd name="connsiteY41" fmla="*/ 1109663 h 2749550"/>
                    <a:gd name="connsiteX42" fmla="*/ 760412 w 2120900"/>
                    <a:gd name="connsiteY42" fmla="*/ 1039813 h 2749550"/>
                    <a:gd name="connsiteX43" fmla="*/ 788193 w 2120900"/>
                    <a:gd name="connsiteY43" fmla="*/ 1008062 h 2749550"/>
                    <a:gd name="connsiteX44" fmla="*/ 770731 w 2120900"/>
                    <a:gd name="connsiteY44" fmla="*/ 928688 h 2749550"/>
                    <a:gd name="connsiteX45" fmla="*/ 805656 w 2120900"/>
                    <a:gd name="connsiteY45" fmla="*/ 840581 h 2749550"/>
                    <a:gd name="connsiteX46" fmla="*/ 857250 w 2120900"/>
                    <a:gd name="connsiteY46" fmla="*/ 814387 h 2749550"/>
                    <a:gd name="connsiteX47" fmla="*/ 862013 w 2120900"/>
                    <a:gd name="connsiteY47" fmla="*/ 649287 h 2749550"/>
                    <a:gd name="connsiteX48" fmla="*/ 885031 w 2120900"/>
                    <a:gd name="connsiteY48" fmla="*/ 584993 h 2749550"/>
                    <a:gd name="connsiteX49" fmla="*/ 922338 w 2120900"/>
                    <a:gd name="connsiteY49" fmla="*/ 532606 h 2749550"/>
                    <a:gd name="connsiteX50" fmla="*/ 930275 w 2120900"/>
                    <a:gd name="connsiteY50" fmla="*/ 459581 h 2749550"/>
                    <a:gd name="connsiteX51" fmla="*/ 962025 w 2120900"/>
                    <a:gd name="connsiteY51" fmla="*/ 454819 h 2749550"/>
                    <a:gd name="connsiteX52" fmla="*/ 992982 w 2120900"/>
                    <a:gd name="connsiteY52" fmla="*/ 415925 h 2749550"/>
                    <a:gd name="connsiteX53" fmla="*/ 962819 w 2120900"/>
                    <a:gd name="connsiteY53" fmla="*/ 223043 h 2749550"/>
                    <a:gd name="connsiteX54" fmla="*/ 1003300 w 2120900"/>
                    <a:gd name="connsiteY54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64294 w 2120900"/>
                    <a:gd name="connsiteY18" fmla="*/ 1991519 h 2749550"/>
                    <a:gd name="connsiteX19" fmla="*/ 6350 w 2120900"/>
                    <a:gd name="connsiteY19" fmla="*/ 1955800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87338 w 2120900"/>
                    <a:gd name="connsiteY24" fmla="*/ 1814513 h 2749550"/>
                    <a:gd name="connsiteX25" fmla="*/ 396875 w 2120900"/>
                    <a:gd name="connsiteY25" fmla="*/ 1766093 h 2749550"/>
                    <a:gd name="connsiteX26" fmla="*/ 442120 w 2120900"/>
                    <a:gd name="connsiteY26" fmla="*/ 1657350 h 2749550"/>
                    <a:gd name="connsiteX27" fmla="*/ 551656 w 2120900"/>
                    <a:gd name="connsiteY27" fmla="*/ 1554956 h 2749550"/>
                    <a:gd name="connsiteX28" fmla="*/ 661194 w 2120900"/>
                    <a:gd name="connsiteY28" fmla="*/ 1538288 h 2749550"/>
                    <a:gd name="connsiteX29" fmla="*/ 669131 w 2120900"/>
                    <a:gd name="connsiteY29" fmla="*/ 1470025 h 2749550"/>
                    <a:gd name="connsiteX30" fmla="*/ 765175 w 2120900"/>
                    <a:gd name="connsiteY30" fmla="*/ 1397000 h 2749550"/>
                    <a:gd name="connsiteX31" fmla="*/ 836613 w 2120900"/>
                    <a:gd name="connsiteY31" fmla="*/ 1402556 h 2749550"/>
                    <a:gd name="connsiteX32" fmla="*/ 929481 w 2120900"/>
                    <a:gd name="connsiteY32" fmla="*/ 1426369 h 2749550"/>
                    <a:gd name="connsiteX33" fmla="*/ 962818 w 2120900"/>
                    <a:gd name="connsiteY33" fmla="*/ 1323975 h 2749550"/>
                    <a:gd name="connsiteX34" fmla="*/ 1080293 w 2120900"/>
                    <a:gd name="connsiteY34" fmla="*/ 1235075 h 2749550"/>
                    <a:gd name="connsiteX35" fmla="*/ 1020763 w 2120900"/>
                    <a:gd name="connsiteY35" fmla="*/ 1209675 h 2749550"/>
                    <a:gd name="connsiteX36" fmla="*/ 961231 w 2120900"/>
                    <a:gd name="connsiteY36" fmla="*/ 1212056 h 2749550"/>
                    <a:gd name="connsiteX37" fmla="*/ 944563 w 2120900"/>
                    <a:gd name="connsiteY37" fmla="*/ 1176338 h 2749550"/>
                    <a:gd name="connsiteX38" fmla="*/ 894556 w 2120900"/>
                    <a:gd name="connsiteY38" fmla="*/ 1162050 h 2749550"/>
                    <a:gd name="connsiteX39" fmla="*/ 846931 w 2120900"/>
                    <a:gd name="connsiteY39" fmla="*/ 1138238 h 2749550"/>
                    <a:gd name="connsiteX40" fmla="*/ 794544 w 2120900"/>
                    <a:gd name="connsiteY40" fmla="*/ 1133475 h 2749550"/>
                    <a:gd name="connsiteX41" fmla="*/ 777082 w 2120900"/>
                    <a:gd name="connsiteY41" fmla="*/ 1109663 h 2749550"/>
                    <a:gd name="connsiteX42" fmla="*/ 760412 w 2120900"/>
                    <a:gd name="connsiteY42" fmla="*/ 1039813 h 2749550"/>
                    <a:gd name="connsiteX43" fmla="*/ 788193 w 2120900"/>
                    <a:gd name="connsiteY43" fmla="*/ 1008062 h 2749550"/>
                    <a:gd name="connsiteX44" fmla="*/ 770731 w 2120900"/>
                    <a:gd name="connsiteY44" fmla="*/ 928688 h 2749550"/>
                    <a:gd name="connsiteX45" fmla="*/ 805656 w 2120900"/>
                    <a:gd name="connsiteY45" fmla="*/ 840581 h 2749550"/>
                    <a:gd name="connsiteX46" fmla="*/ 857250 w 2120900"/>
                    <a:gd name="connsiteY46" fmla="*/ 814387 h 2749550"/>
                    <a:gd name="connsiteX47" fmla="*/ 862013 w 2120900"/>
                    <a:gd name="connsiteY47" fmla="*/ 649287 h 2749550"/>
                    <a:gd name="connsiteX48" fmla="*/ 885031 w 2120900"/>
                    <a:gd name="connsiteY48" fmla="*/ 584993 h 2749550"/>
                    <a:gd name="connsiteX49" fmla="*/ 922338 w 2120900"/>
                    <a:gd name="connsiteY49" fmla="*/ 532606 h 2749550"/>
                    <a:gd name="connsiteX50" fmla="*/ 930275 w 2120900"/>
                    <a:gd name="connsiteY50" fmla="*/ 459581 h 2749550"/>
                    <a:gd name="connsiteX51" fmla="*/ 962025 w 2120900"/>
                    <a:gd name="connsiteY51" fmla="*/ 454819 h 2749550"/>
                    <a:gd name="connsiteX52" fmla="*/ 992982 w 2120900"/>
                    <a:gd name="connsiteY52" fmla="*/ 415925 h 2749550"/>
                    <a:gd name="connsiteX53" fmla="*/ 962819 w 2120900"/>
                    <a:gd name="connsiteY53" fmla="*/ 223043 h 2749550"/>
                    <a:gd name="connsiteX54" fmla="*/ 1003300 w 2120900"/>
                    <a:gd name="connsiteY54" fmla="*/ 184150 h 2749550"/>
                    <a:gd name="connsiteX0" fmla="*/ 1003300 w 2120900"/>
                    <a:gd name="connsiteY0" fmla="*/ 184150 h 2749550"/>
                    <a:gd name="connsiteX1" fmla="*/ 1136650 w 2120900"/>
                    <a:gd name="connsiteY1" fmla="*/ 38100 h 2749550"/>
                    <a:gd name="connsiteX2" fmla="*/ 1397000 w 2120900"/>
                    <a:gd name="connsiteY2" fmla="*/ 0 h 2749550"/>
                    <a:gd name="connsiteX3" fmla="*/ 1784350 w 2120900"/>
                    <a:gd name="connsiteY3" fmla="*/ 190500 h 2749550"/>
                    <a:gd name="connsiteX4" fmla="*/ 1930400 w 2120900"/>
                    <a:gd name="connsiteY4" fmla="*/ 514350 h 2749550"/>
                    <a:gd name="connsiteX5" fmla="*/ 2120900 w 2120900"/>
                    <a:gd name="connsiteY5" fmla="*/ 730250 h 2749550"/>
                    <a:gd name="connsiteX6" fmla="*/ 2114550 w 2120900"/>
                    <a:gd name="connsiteY6" fmla="*/ 1085850 h 2749550"/>
                    <a:gd name="connsiteX7" fmla="*/ 1981200 w 2120900"/>
                    <a:gd name="connsiteY7" fmla="*/ 1308100 h 2749550"/>
                    <a:gd name="connsiteX8" fmla="*/ 1708150 w 2120900"/>
                    <a:gd name="connsiteY8" fmla="*/ 1485900 h 2749550"/>
                    <a:gd name="connsiteX9" fmla="*/ 1485900 w 2120900"/>
                    <a:gd name="connsiteY9" fmla="*/ 1885950 h 2749550"/>
                    <a:gd name="connsiteX10" fmla="*/ 1320800 w 2120900"/>
                    <a:gd name="connsiteY10" fmla="*/ 2279650 h 2749550"/>
                    <a:gd name="connsiteX11" fmla="*/ 1104900 w 2120900"/>
                    <a:gd name="connsiteY11" fmla="*/ 2552700 h 2749550"/>
                    <a:gd name="connsiteX12" fmla="*/ 812800 w 2120900"/>
                    <a:gd name="connsiteY12" fmla="*/ 2749550 h 2749550"/>
                    <a:gd name="connsiteX13" fmla="*/ 495300 w 2120900"/>
                    <a:gd name="connsiteY13" fmla="*/ 2730500 h 2749550"/>
                    <a:gd name="connsiteX14" fmla="*/ 266700 w 2120900"/>
                    <a:gd name="connsiteY14" fmla="*/ 2616200 h 2749550"/>
                    <a:gd name="connsiteX15" fmla="*/ 184150 w 2120900"/>
                    <a:gd name="connsiteY15" fmla="*/ 2387600 h 2749550"/>
                    <a:gd name="connsiteX16" fmla="*/ 88900 w 2120900"/>
                    <a:gd name="connsiteY16" fmla="*/ 2228850 h 2749550"/>
                    <a:gd name="connsiteX17" fmla="*/ 76200 w 2120900"/>
                    <a:gd name="connsiteY17" fmla="*/ 2076450 h 2749550"/>
                    <a:gd name="connsiteX18" fmla="*/ 64294 w 2120900"/>
                    <a:gd name="connsiteY18" fmla="*/ 1991519 h 2749550"/>
                    <a:gd name="connsiteX19" fmla="*/ 27781 w 2120900"/>
                    <a:gd name="connsiteY19" fmla="*/ 1970088 h 2749550"/>
                    <a:gd name="connsiteX20" fmla="*/ 0 w 2120900"/>
                    <a:gd name="connsiteY20" fmla="*/ 1822450 h 2749550"/>
                    <a:gd name="connsiteX21" fmla="*/ 31750 w 2120900"/>
                    <a:gd name="connsiteY21" fmla="*/ 1752600 h 2749550"/>
                    <a:gd name="connsiteX22" fmla="*/ 82550 w 2120900"/>
                    <a:gd name="connsiteY22" fmla="*/ 1739900 h 2749550"/>
                    <a:gd name="connsiteX23" fmla="*/ 171450 w 2120900"/>
                    <a:gd name="connsiteY23" fmla="*/ 1746250 h 2749550"/>
                    <a:gd name="connsiteX24" fmla="*/ 287338 w 2120900"/>
                    <a:gd name="connsiteY24" fmla="*/ 1814513 h 2749550"/>
                    <a:gd name="connsiteX25" fmla="*/ 396875 w 2120900"/>
                    <a:gd name="connsiteY25" fmla="*/ 1766093 h 2749550"/>
                    <a:gd name="connsiteX26" fmla="*/ 442120 w 2120900"/>
                    <a:gd name="connsiteY26" fmla="*/ 1657350 h 2749550"/>
                    <a:gd name="connsiteX27" fmla="*/ 551656 w 2120900"/>
                    <a:gd name="connsiteY27" fmla="*/ 1554956 h 2749550"/>
                    <a:gd name="connsiteX28" fmla="*/ 661194 w 2120900"/>
                    <a:gd name="connsiteY28" fmla="*/ 1538288 h 2749550"/>
                    <a:gd name="connsiteX29" fmla="*/ 669131 w 2120900"/>
                    <a:gd name="connsiteY29" fmla="*/ 1470025 h 2749550"/>
                    <a:gd name="connsiteX30" fmla="*/ 765175 w 2120900"/>
                    <a:gd name="connsiteY30" fmla="*/ 1397000 h 2749550"/>
                    <a:gd name="connsiteX31" fmla="*/ 836613 w 2120900"/>
                    <a:gd name="connsiteY31" fmla="*/ 1402556 h 2749550"/>
                    <a:gd name="connsiteX32" fmla="*/ 929481 w 2120900"/>
                    <a:gd name="connsiteY32" fmla="*/ 1426369 h 2749550"/>
                    <a:gd name="connsiteX33" fmla="*/ 962818 w 2120900"/>
                    <a:gd name="connsiteY33" fmla="*/ 1323975 h 2749550"/>
                    <a:gd name="connsiteX34" fmla="*/ 1080293 w 2120900"/>
                    <a:gd name="connsiteY34" fmla="*/ 1235075 h 2749550"/>
                    <a:gd name="connsiteX35" fmla="*/ 1020763 w 2120900"/>
                    <a:gd name="connsiteY35" fmla="*/ 1209675 h 2749550"/>
                    <a:gd name="connsiteX36" fmla="*/ 961231 w 2120900"/>
                    <a:gd name="connsiteY36" fmla="*/ 1212056 h 2749550"/>
                    <a:gd name="connsiteX37" fmla="*/ 944563 w 2120900"/>
                    <a:gd name="connsiteY37" fmla="*/ 1176338 h 2749550"/>
                    <a:gd name="connsiteX38" fmla="*/ 894556 w 2120900"/>
                    <a:gd name="connsiteY38" fmla="*/ 1162050 h 2749550"/>
                    <a:gd name="connsiteX39" fmla="*/ 846931 w 2120900"/>
                    <a:gd name="connsiteY39" fmla="*/ 1138238 h 2749550"/>
                    <a:gd name="connsiteX40" fmla="*/ 794544 w 2120900"/>
                    <a:gd name="connsiteY40" fmla="*/ 1133475 h 2749550"/>
                    <a:gd name="connsiteX41" fmla="*/ 777082 w 2120900"/>
                    <a:gd name="connsiteY41" fmla="*/ 1109663 h 2749550"/>
                    <a:gd name="connsiteX42" fmla="*/ 760412 w 2120900"/>
                    <a:gd name="connsiteY42" fmla="*/ 1039813 h 2749550"/>
                    <a:gd name="connsiteX43" fmla="*/ 788193 w 2120900"/>
                    <a:gd name="connsiteY43" fmla="*/ 1008062 h 2749550"/>
                    <a:gd name="connsiteX44" fmla="*/ 770731 w 2120900"/>
                    <a:gd name="connsiteY44" fmla="*/ 928688 h 2749550"/>
                    <a:gd name="connsiteX45" fmla="*/ 805656 w 2120900"/>
                    <a:gd name="connsiteY45" fmla="*/ 840581 h 2749550"/>
                    <a:gd name="connsiteX46" fmla="*/ 857250 w 2120900"/>
                    <a:gd name="connsiteY46" fmla="*/ 814387 h 2749550"/>
                    <a:gd name="connsiteX47" fmla="*/ 862013 w 2120900"/>
                    <a:gd name="connsiteY47" fmla="*/ 649287 h 2749550"/>
                    <a:gd name="connsiteX48" fmla="*/ 885031 w 2120900"/>
                    <a:gd name="connsiteY48" fmla="*/ 584993 h 2749550"/>
                    <a:gd name="connsiteX49" fmla="*/ 922338 w 2120900"/>
                    <a:gd name="connsiteY49" fmla="*/ 532606 h 2749550"/>
                    <a:gd name="connsiteX50" fmla="*/ 930275 w 2120900"/>
                    <a:gd name="connsiteY50" fmla="*/ 459581 h 2749550"/>
                    <a:gd name="connsiteX51" fmla="*/ 962025 w 2120900"/>
                    <a:gd name="connsiteY51" fmla="*/ 454819 h 2749550"/>
                    <a:gd name="connsiteX52" fmla="*/ 992982 w 2120900"/>
                    <a:gd name="connsiteY52" fmla="*/ 415925 h 2749550"/>
                    <a:gd name="connsiteX53" fmla="*/ 962819 w 2120900"/>
                    <a:gd name="connsiteY53" fmla="*/ 223043 h 2749550"/>
                    <a:gd name="connsiteX54" fmla="*/ 1003300 w 2120900"/>
                    <a:gd name="connsiteY54" fmla="*/ 184150 h 2749550"/>
                    <a:gd name="connsiteX0" fmla="*/ 975519 w 2093119"/>
                    <a:gd name="connsiteY0" fmla="*/ 184150 h 2749550"/>
                    <a:gd name="connsiteX1" fmla="*/ 1108869 w 2093119"/>
                    <a:gd name="connsiteY1" fmla="*/ 38100 h 2749550"/>
                    <a:gd name="connsiteX2" fmla="*/ 1369219 w 2093119"/>
                    <a:gd name="connsiteY2" fmla="*/ 0 h 2749550"/>
                    <a:gd name="connsiteX3" fmla="*/ 1756569 w 2093119"/>
                    <a:gd name="connsiteY3" fmla="*/ 190500 h 2749550"/>
                    <a:gd name="connsiteX4" fmla="*/ 1902619 w 2093119"/>
                    <a:gd name="connsiteY4" fmla="*/ 514350 h 2749550"/>
                    <a:gd name="connsiteX5" fmla="*/ 2093119 w 2093119"/>
                    <a:gd name="connsiteY5" fmla="*/ 730250 h 2749550"/>
                    <a:gd name="connsiteX6" fmla="*/ 2086769 w 2093119"/>
                    <a:gd name="connsiteY6" fmla="*/ 1085850 h 2749550"/>
                    <a:gd name="connsiteX7" fmla="*/ 1953419 w 2093119"/>
                    <a:gd name="connsiteY7" fmla="*/ 1308100 h 2749550"/>
                    <a:gd name="connsiteX8" fmla="*/ 1680369 w 2093119"/>
                    <a:gd name="connsiteY8" fmla="*/ 1485900 h 2749550"/>
                    <a:gd name="connsiteX9" fmla="*/ 1458119 w 2093119"/>
                    <a:gd name="connsiteY9" fmla="*/ 1885950 h 2749550"/>
                    <a:gd name="connsiteX10" fmla="*/ 1293019 w 2093119"/>
                    <a:gd name="connsiteY10" fmla="*/ 2279650 h 2749550"/>
                    <a:gd name="connsiteX11" fmla="*/ 1077119 w 2093119"/>
                    <a:gd name="connsiteY11" fmla="*/ 2552700 h 2749550"/>
                    <a:gd name="connsiteX12" fmla="*/ 785019 w 2093119"/>
                    <a:gd name="connsiteY12" fmla="*/ 2749550 h 2749550"/>
                    <a:gd name="connsiteX13" fmla="*/ 467519 w 2093119"/>
                    <a:gd name="connsiteY13" fmla="*/ 2730500 h 2749550"/>
                    <a:gd name="connsiteX14" fmla="*/ 238919 w 2093119"/>
                    <a:gd name="connsiteY14" fmla="*/ 2616200 h 2749550"/>
                    <a:gd name="connsiteX15" fmla="*/ 156369 w 2093119"/>
                    <a:gd name="connsiteY15" fmla="*/ 2387600 h 2749550"/>
                    <a:gd name="connsiteX16" fmla="*/ 61119 w 2093119"/>
                    <a:gd name="connsiteY16" fmla="*/ 2228850 h 2749550"/>
                    <a:gd name="connsiteX17" fmla="*/ 48419 w 2093119"/>
                    <a:gd name="connsiteY17" fmla="*/ 2076450 h 2749550"/>
                    <a:gd name="connsiteX18" fmla="*/ 36513 w 2093119"/>
                    <a:gd name="connsiteY18" fmla="*/ 1991519 h 2749550"/>
                    <a:gd name="connsiteX19" fmla="*/ 0 w 2093119"/>
                    <a:gd name="connsiteY19" fmla="*/ 1970088 h 2749550"/>
                    <a:gd name="connsiteX20" fmla="*/ 31750 w 2093119"/>
                    <a:gd name="connsiteY20" fmla="*/ 1910556 h 2749550"/>
                    <a:gd name="connsiteX21" fmla="*/ 3969 w 2093119"/>
                    <a:gd name="connsiteY21" fmla="*/ 1752600 h 2749550"/>
                    <a:gd name="connsiteX22" fmla="*/ 54769 w 2093119"/>
                    <a:gd name="connsiteY22" fmla="*/ 1739900 h 2749550"/>
                    <a:gd name="connsiteX23" fmla="*/ 143669 w 2093119"/>
                    <a:gd name="connsiteY23" fmla="*/ 1746250 h 2749550"/>
                    <a:gd name="connsiteX24" fmla="*/ 259557 w 2093119"/>
                    <a:gd name="connsiteY24" fmla="*/ 1814513 h 2749550"/>
                    <a:gd name="connsiteX25" fmla="*/ 369094 w 2093119"/>
                    <a:gd name="connsiteY25" fmla="*/ 1766093 h 2749550"/>
                    <a:gd name="connsiteX26" fmla="*/ 414339 w 2093119"/>
                    <a:gd name="connsiteY26" fmla="*/ 1657350 h 2749550"/>
                    <a:gd name="connsiteX27" fmla="*/ 523875 w 2093119"/>
                    <a:gd name="connsiteY27" fmla="*/ 1554956 h 2749550"/>
                    <a:gd name="connsiteX28" fmla="*/ 633413 w 2093119"/>
                    <a:gd name="connsiteY28" fmla="*/ 1538288 h 2749550"/>
                    <a:gd name="connsiteX29" fmla="*/ 641350 w 2093119"/>
                    <a:gd name="connsiteY29" fmla="*/ 1470025 h 2749550"/>
                    <a:gd name="connsiteX30" fmla="*/ 737394 w 2093119"/>
                    <a:gd name="connsiteY30" fmla="*/ 1397000 h 2749550"/>
                    <a:gd name="connsiteX31" fmla="*/ 808832 w 2093119"/>
                    <a:gd name="connsiteY31" fmla="*/ 1402556 h 2749550"/>
                    <a:gd name="connsiteX32" fmla="*/ 901700 w 2093119"/>
                    <a:gd name="connsiteY32" fmla="*/ 1426369 h 2749550"/>
                    <a:gd name="connsiteX33" fmla="*/ 935037 w 2093119"/>
                    <a:gd name="connsiteY33" fmla="*/ 1323975 h 2749550"/>
                    <a:gd name="connsiteX34" fmla="*/ 1052512 w 2093119"/>
                    <a:gd name="connsiteY34" fmla="*/ 1235075 h 2749550"/>
                    <a:gd name="connsiteX35" fmla="*/ 992982 w 2093119"/>
                    <a:gd name="connsiteY35" fmla="*/ 1209675 h 2749550"/>
                    <a:gd name="connsiteX36" fmla="*/ 933450 w 2093119"/>
                    <a:gd name="connsiteY36" fmla="*/ 1212056 h 2749550"/>
                    <a:gd name="connsiteX37" fmla="*/ 916782 w 2093119"/>
                    <a:gd name="connsiteY37" fmla="*/ 1176338 h 2749550"/>
                    <a:gd name="connsiteX38" fmla="*/ 866775 w 2093119"/>
                    <a:gd name="connsiteY38" fmla="*/ 1162050 h 2749550"/>
                    <a:gd name="connsiteX39" fmla="*/ 819150 w 2093119"/>
                    <a:gd name="connsiteY39" fmla="*/ 1138238 h 2749550"/>
                    <a:gd name="connsiteX40" fmla="*/ 766763 w 2093119"/>
                    <a:gd name="connsiteY40" fmla="*/ 1133475 h 2749550"/>
                    <a:gd name="connsiteX41" fmla="*/ 749301 w 2093119"/>
                    <a:gd name="connsiteY41" fmla="*/ 1109663 h 2749550"/>
                    <a:gd name="connsiteX42" fmla="*/ 732631 w 2093119"/>
                    <a:gd name="connsiteY42" fmla="*/ 1039813 h 2749550"/>
                    <a:gd name="connsiteX43" fmla="*/ 760412 w 2093119"/>
                    <a:gd name="connsiteY43" fmla="*/ 1008062 h 2749550"/>
                    <a:gd name="connsiteX44" fmla="*/ 742950 w 2093119"/>
                    <a:gd name="connsiteY44" fmla="*/ 928688 h 2749550"/>
                    <a:gd name="connsiteX45" fmla="*/ 777875 w 2093119"/>
                    <a:gd name="connsiteY45" fmla="*/ 840581 h 2749550"/>
                    <a:gd name="connsiteX46" fmla="*/ 829469 w 2093119"/>
                    <a:gd name="connsiteY46" fmla="*/ 814387 h 2749550"/>
                    <a:gd name="connsiteX47" fmla="*/ 834232 w 2093119"/>
                    <a:gd name="connsiteY47" fmla="*/ 649287 h 2749550"/>
                    <a:gd name="connsiteX48" fmla="*/ 857250 w 2093119"/>
                    <a:gd name="connsiteY48" fmla="*/ 584993 h 2749550"/>
                    <a:gd name="connsiteX49" fmla="*/ 894557 w 2093119"/>
                    <a:gd name="connsiteY49" fmla="*/ 532606 h 2749550"/>
                    <a:gd name="connsiteX50" fmla="*/ 902494 w 2093119"/>
                    <a:gd name="connsiteY50" fmla="*/ 459581 h 2749550"/>
                    <a:gd name="connsiteX51" fmla="*/ 934244 w 2093119"/>
                    <a:gd name="connsiteY51" fmla="*/ 454819 h 2749550"/>
                    <a:gd name="connsiteX52" fmla="*/ 965201 w 2093119"/>
                    <a:gd name="connsiteY52" fmla="*/ 415925 h 2749550"/>
                    <a:gd name="connsiteX53" fmla="*/ 935038 w 2093119"/>
                    <a:gd name="connsiteY53" fmla="*/ 223043 h 2749550"/>
                    <a:gd name="connsiteX54" fmla="*/ 975519 w 2093119"/>
                    <a:gd name="connsiteY54" fmla="*/ 184150 h 2749550"/>
                    <a:gd name="connsiteX0" fmla="*/ 975519 w 2093119"/>
                    <a:gd name="connsiteY0" fmla="*/ 184150 h 2749550"/>
                    <a:gd name="connsiteX1" fmla="*/ 1108869 w 2093119"/>
                    <a:gd name="connsiteY1" fmla="*/ 38100 h 2749550"/>
                    <a:gd name="connsiteX2" fmla="*/ 1369219 w 2093119"/>
                    <a:gd name="connsiteY2" fmla="*/ 0 h 2749550"/>
                    <a:gd name="connsiteX3" fmla="*/ 1756569 w 2093119"/>
                    <a:gd name="connsiteY3" fmla="*/ 190500 h 2749550"/>
                    <a:gd name="connsiteX4" fmla="*/ 1902619 w 2093119"/>
                    <a:gd name="connsiteY4" fmla="*/ 514350 h 2749550"/>
                    <a:gd name="connsiteX5" fmla="*/ 2093119 w 2093119"/>
                    <a:gd name="connsiteY5" fmla="*/ 730250 h 2749550"/>
                    <a:gd name="connsiteX6" fmla="*/ 2086769 w 2093119"/>
                    <a:gd name="connsiteY6" fmla="*/ 1085850 h 2749550"/>
                    <a:gd name="connsiteX7" fmla="*/ 1953419 w 2093119"/>
                    <a:gd name="connsiteY7" fmla="*/ 1308100 h 2749550"/>
                    <a:gd name="connsiteX8" fmla="*/ 1680369 w 2093119"/>
                    <a:gd name="connsiteY8" fmla="*/ 1485900 h 2749550"/>
                    <a:gd name="connsiteX9" fmla="*/ 1458119 w 2093119"/>
                    <a:gd name="connsiteY9" fmla="*/ 1885950 h 2749550"/>
                    <a:gd name="connsiteX10" fmla="*/ 1293019 w 2093119"/>
                    <a:gd name="connsiteY10" fmla="*/ 2279650 h 2749550"/>
                    <a:gd name="connsiteX11" fmla="*/ 1077119 w 2093119"/>
                    <a:gd name="connsiteY11" fmla="*/ 2552700 h 2749550"/>
                    <a:gd name="connsiteX12" fmla="*/ 785019 w 2093119"/>
                    <a:gd name="connsiteY12" fmla="*/ 2749550 h 2749550"/>
                    <a:gd name="connsiteX13" fmla="*/ 467519 w 2093119"/>
                    <a:gd name="connsiteY13" fmla="*/ 2730500 h 2749550"/>
                    <a:gd name="connsiteX14" fmla="*/ 238919 w 2093119"/>
                    <a:gd name="connsiteY14" fmla="*/ 2616200 h 2749550"/>
                    <a:gd name="connsiteX15" fmla="*/ 156369 w 2093119"/>
                    <a:gd name="connsiteY15" fmla="*/ 2387600 h 2749550"/>
                    <a:gd name="connsiteX16" fmla="*/ 61119 w 2093119"/>
                    <a:gd name="connsiteY16" fmla="*/ 2228850 h 2749550"/>
                    <a:gd name="connsiteX17" fmla="*/ 48419 w 2093119"/>
                    <a:gd name="connsiteY17" fmla="*/ 2076450 h 2749550"/>
                    <a:gd name="connsiteX18" fmla="*/ 36513 w 2093119"/>
                    <a:gd name="connsiteY18" fmla="*/ 1991519 h 2749550"/>
                    <a:gd name="connsiteX19" fmla="*/ 0 w 2093119"/>
                    <a:gd name="connsiteY19" fmla="*/ 1970088 h 2749550"/>
                    <a:gd name="connsiteX20" fmla="*/ 31750 w 2093119"/>
                    <a:gd name="connsiteY20" fmla="*/ 1910556 h 2749550"/>
                    <a:gd name="connsiteX21" fmla="*/ 11112 w 2093119"/>
                    <a:gd name="connsiteY21" fmla="*/ 1900237 h 2749550"/>
                    <a:gd name="connsiteX22" fmla="*/ 54769 w 2093119"/>
                    <a:gd name="connsiteY22" fmla="*/ 1739900 h 2749550"/>
                    <a:gd name="connsiteX23" fmla="*/ 143669 w 2093119"/>
                    <a:gd name="connsiteY23" fmla="*/ 1746250 h 2749550"/>
                    <a:gd name="connsiteX24" fmla="*/ 259557 w 2093119"/>
                    <a:gd name="connsiteY24" fmla="*/ 1814513 h 2749550"/>
                    <a:gd name="connsiteX25" fmla="*/ 369094 w 2093119"/>
                    <a:gd name="connsiteY25" fmla="*/ 1766093 h 2749550"/>
                    <a:gd name="connsiteX26" fmla="*/ 414339 w 2093119"/>
                    <a:gd name="connsiteY26" fmla="*/ 1657350 h 2749550"/>
                    <a:gd name="connsiteX27" fmla="*/ 523875 w 2093119"/>
                    <a:gd name="connsiteY27" fmla="*/ 1554956 h 2749550"/>
                    <a:gd name="connsiteX28" fmla="*/ 633413 w 2093119"/>
                    <a:gd name="connsiteY28" fmla="*/ 1538288 h 2749550"/>
                    <a:gd name="connsiteX29" fmla="*/ 641350 w 2093119"/>
                    <a:gd name="connsiteY29" fmla="*/ 1470025 h 2749550"/>
                    <a:gd name="connsiteX30" fmla="*/ 737394 w 2093119"/>
                    <a:gd name="connsiteY30" fmla="*/ 1397000 h 2749550"/>
                    <a:gd name="connsiteX31" fmla="*/ 808832 w 2093119"/>
                    <a:gd name="connsiteY31" fmla="*/ 1402556 h 2749550"/>
                    <a:gd name="connsiteX32" fmla="*/ 901700 w 2093119"/>
                    <a:gd name="connsiteY32" fmla="*/ 1426369 h 2749550"/>
                    <a:gd name="connsiteX33" fmla="*/ 935037 w 2093119"/>
                    <a:gd name="connsiteY33" fmla="*/ 1323975 h 2749550"/>
                    <a:gd name="connsiteX34" fmla="*/ 1052512 w 2093119"/>
                    <a:gd name="connsiteY34" fmla="*/ 1235075 h 2749550"/>
                    <a:gd name="connsiteX35" fmla="*/ 992982 w 2093119"/>
                    <a:gd name="connsiteY35" fmla="*/ 1209675 h 2749550"/>
                    <a:gd name="connsiteX36" fmla="*/ 933450 w 2093119"/>
                    <a:gd name="connsiteY36" fmla="*/ 1212056 h 2749550"/>
                    <a:gd name="connsiteX37" fmla="*/ 916782 w 2093119"/>
                    <a:gd name="connsiteY37" fmla="*/ 1176338 h 2749550"/>
                    <a:gd name="connsiteX38" fmla="*/ 866775 w 2093119"/>
                    <a:gd name="connsiteY38" fmla="*/ 1162050 h 2749550"/>
                    <a:gd name="connsiteX39" fmla="*/ 819150 w 2093119"/>
                    <a:gd name="connsiteY39" fmla="*/ 1138238 h 2749550"/>
                    <a:gd name="connsiteX40" fmla="*/ 766763 w 2093119"/>
                    <a:gd name="connsiteY40" fmla="*/ 1133475 h 2749550"/>
                    <a:gd name="connsiteX41" fmla="*/ 749301 w 2093119"/>
                    <a:gd name="connsiteY41" fmla="*/ 1109663 h 2749550"/>
                    <a:gd name="connsiteX42" fmla="*/ 732631 w 2093119"/>
                    <a:gd name="connsiteY42" fmla="*/ 1039813 h 2749550"/>
                    <a:gd name="connsiteX43" fmla="*/ 760412 w 2093119"/>
                    <a:gd name="connsiteY43" fmla="*/ 1008062 h 2749550"/>
                    <a:gd name="connsiteX44" fmla="*/ 742950 w 2093119"/>
                    <a:gd name="connsiteY44" fmla="*/ 928688 h 2749550"/>
                    <a:gd name="connsiteX45" fmla="*/ 777875 w 2093119"/>
                    <a:gd name="connsiteY45" fmla="*/ 840581 h 2749550"/>
                    <a:gd name="connsiteX46" fmla="*/ 829469 w 2093119"/>
                    <a:gd name="connsiteY46" fmla="*/ 814387 h 2749550"/>
                    <a:gd name="connsiteX47" fmla="*/ 834232 w 2093119"/>
                    <a:gd name="connsiteY47" fmla="*/ 649287 h 2749550"/>
                    <a:gd name="connsiteX48" fmla="*/ 857250 w 2093119"/>
                    <a:gd name="connsiteY48" fmla="*/ 584993 h 2749550"/>
                    <a:gd name="connsiteX49" fmla="*/ 894557 w 2093119"/>
                    <a:gd name="connsiteY49" fmla="*/ 532606 h 2749550"/>
                    <a:gd name="connsiteX50" fmla="*/ 902494 w 2093119"/>
                    <a:gd name="connsiteY50" fmla="*/ 459581 h 2749550"/>
                    <a:gd name="connsiteX51" fmla="*/ 934244 w 2093119"/>
                    <a:gd name="connsiteY51" fmla="*/ 454819 h 2749550"/>
                    <a:gd name="connsiteX52" fmla="*/ 965201 w 2093119"/>
                    <a:gd name="connsiteY52" fmla="*/ 415925 h 2749550"/>
                    <a:gd name="connsiteX53" fmla="*/ 935038 w 2093119"/>
                    <a:gd name="connsiteY53" fmla="*/ 223043 h 2749550"/>
                    <a:gd name="connsiteX54" fmla="*/ 975519 w 2093119"/>
                    <a:gd name="connsiteY54" fmla="*/ 184150 h 2749550"/>
                    <a:gd name="connsiteX0" fmla="*/ 975519 w 2093119"/>
                    <a:gd name="connsiteY0" fmla="*/ 184150 h 2749550"/>
                    <a:gd name="connsiteX1" fmla="*/ 1108869 w 2093119"/>
                    <a:gd name="connsiteY1" fmla="*/ 38100 h 2749550"/>
                    <a:gd name="connsiteX2" fmla="*/ 1369219 w 2093119"/>
                    <a:gd name="connsiteY2" fmla="*/ 0 h 2749550"/>
                    <a:gd name="connsiteX3" fmla="*/ 1756569 w 2093119"/>
                    <a:gd name="connsiteY3" fmla="*/ 190500 h 2749550"/>
                    <a:gd name="connsiteX4" fmla="*/ 1902619 w 2093119"/>
                    <a:gd name="connsiteY4" fmla="*/ 514350 h 2749550"/>
                    <a:gd name="connsiteX5" fmla="*/ 2093119 w 2093119"/>
                    <a:gd name="connsiteY5" fmla="*/ 730250 h 2749550"/>
                    <a:gd name="connsiteX6" fmla="*/ 2086769 w 2093119"/>
                    <a:gd name="connsiteY6" fmla="*/ 1085850 h 2749550"/>
                    <a:gd name="connsiteX7" fmla="*/ 1953419 w 2093119"/>
                    <a:gd name="connsiteY7" fmla="*/ 1308100 h 2749550"/>
                    <a:gd name="connsiteX8" fmla="*/ 1680369 w 2093119"/>
                    <a:gd name="connsiteY8" fmla="*/ 1485900 h 2749550"/>
                    <a:gd name="connsiteX9" fmla="*/ 1458119 w 2093119"/>
                    <a:gd name="connsiteY9" fmla="*/ 1885950 h 2749550"/>
                    <a:gd name="connsiteX10" fmla="*/ 1293019 w 2093119"/>
                    <a:gd name="connsiteY10" fmla="*/ 2279650 h 2749550"/>
                    <a:gd name="connsiteX11" fmla="*/ 1077119 w 2093119"/>
                    <a:gd name="connsiteY11" fmla="*/ 2552700 h 2749550"/>
                    <a:gd name="connsiteX12" fmla="*/ 785019 w 2093119"/>
                    <a:gd name="connsiteY12" fmla="*/ 2749550 h 2749550"/>
                    <a:gd name="connsiteX13" fmla="*/ 467519 w 2093119"/>
                    <a:gd name="connsiteY13" fmla="*/ 2730500 h 2749550"/>
                    <a:gd name="connsiteX14" fmla="*/ 238919 w 2093119"/>
                    <a:gd name="connsiteY14" fmla="*/ 2616200 h 2749550"/>
                    <a:gd name="connsiteX15" fmla="*/ 156369 w 2093119"/>
                    <a:gd name="connsiteY15" fmla="*/ 2387600 h 2749550"/>
                    <a:gd name="connsiteX16" fmla="*/ 61119 w 2093119"/>
                    <a:gd name="connsiteY16" fmla="*/ 2228850 h 2749550"/>
                    <a:gd name="connsiteX17" fmla="*/ 48419 w 2093119"/>
                    <a:gd name="connsiteY17" fmla="*/ 2076450 h 2749550"/>
                    <a:gd name="connsiteX18" fmla="*/ 36513 w 2093119"/>
                    <a:gd name="connsiteY18" fmla="*/ 1991519 h 2749550"/>
                    <a:gd name="connsiteX19" fmla="*/ 0 w 2093119"/>
                    <a:gd name="connsiteY19" fmla="*/ 1970088 h 2749550"/>
                    <a:gd name="connsiteX20" fmla="*/ 31750 w 2093119"/>
                    <a:gd name="connsiteY20" fmla="*/ 1910556 h 2749550"/>
                    <a:gd name="connsiteX21" fmla="*/ 11112 w 2093119"/>
                    <a:gd name="connsiteY21" fmla="*/ 1900237 h 2749550"/>
                    <a:gd name="connsiteX22" fmla="*/ 30957 w 2093119"/>
                    <a:gd name="connsiteY22" fmla="*/ 1851819 h 2749550"/>
                    <a:gd name="connsiteX23" fmla="*/ 143669 w 2093119"/>
                    <a:gd name="connsiteY23" fmla="*/ 1746250 h 2749550"/>
                    <a:gd name="connsiteX24" fmla="*/ 259557 w 2093119"/>
                    <a:gd name="connsiteY24" fmla="*/ 1814513 h 2749550"/>
                    <a:gd name="connsiteX25" fmla="*/ 369094 w 2093119"/>
                    <a:gd name="connsiteY25" fmla="*/ 1766093 h 2749550"/>
                    <a:gd name="connsiteX26" fmla="*/ 414339 w 2093119"/>
                    <a:gd name="connsiteY26" fmla="*/ 1657350 h 2749550"/>
                    <a:gd name="connsiteX27" fmla="*/ 523875 w 2093119"/>
                    <a:gd name="connsiteY27" fmla="*/ 1554956 h 2749550"/>
                    <a:gd name="connsiteX28" fmla="*/ 633413 w 2093119"/>
                    <a:gd name="connsiteY28" fmla="*/ 1538288 h 2749550"/>
                    <a:gd name="connsiteX29" fmla="*/ 641350 w 2093119"/>
                    <a:gd name="connsiteY29" fmla="*/ 1470025 h 2749550"/>
                    <a:gd name="connsiteX30" fmla="*/ 737394 w 2093119"/>
                    <a:gd name="connsiteY30" fmla="*/ 1397000 h 2749550"/>
                    <a:gd name="connsiteX31" fmla="*/ 808832 w 2093119"/>
                    <a:gd name="connsiteY31" fmla="*/ 1402556 h 2749550"/>
                    <a:gd name="connsiteX32" fmla="*/ 901700 w 2093119"/>
                    <a:gd name="connsiteY32" fmla="*/ 1426369 h 2749550"/>
                    <a:gd name="connsiteX33" fmla="*/ 935037 w 2093119"/>
                    <a:gd name="connsiteY33" fmla="*/ 1323975 h 2749550"/>
                    <a:gd name="connsiteX34" fmla="*/ 1052512 w 2093119"/>
                    <a:gd name="connsiteY34" fmla="*/ 1235075 h 2749550"/>
                    <a:gd name="connsiteX35" fmla="*/ 992982 w 2093119"/>
                    <a:gd name="connsiteY35" fmla="*/ 1209675 h 2749550"/>
                    <a:gd name="connsiteX36" fmla="*/ 933450 w 2093119"/>
                    <a:gd name="connsiteY36" fmla="*/ 1212056 h 2749550"/>
                    <a:gd name="connsiteX37" fmla="*/ 916782 w 2093119"/>
                    <a:gd name="connsiteY37" fmla="*/ 1176338 h 2749550"/>
                    <a:gd name="connsiteX38" fmla="*/ 866775 w 2093119"/>
                    <a:gd name="connsiteY38" fmla="*/ 1162050 h 2749550"/>
                    <a:gd name="connsiteX39" fmla="*/ 819150 w 2093119"/>
                    <a:gd name="connsiteY39" fmla="*/ 1138238 h 2749550"/>
                    <a:gd name="connsiteX40" fmla="*/ 766763 w 2093119"/>
                    <a:gd name="connsiteY40" fmla="*/ 1133475 h 2749550"/>
                    <a:gd name="connsiteX41" fmla="*/ 749301 w 2093119"/>
                    <a:gd name="connsiteY41" fmla="*/ 1109663 h 2749550"/>
                    <a:gd name="connsiteX42" fmla="*/ 732631 w 2093119"/>
                    <a:gd name="connsiteY42" fmla="*/ 1039813 h 2749550"/>
                    <a:gd name="connsiteX43" fmla="*/ 760412 w 2093119"/>
                    <a:gd name="connsiteY43" fmla="*/ 1008062 h 2749550"/>
                    <a:gd name="connsiteX44" fmla="*/ 742950 w 2093119"/>
                    <a:gd name="connsiteY44" fmla="*/ 928688 h 2749550"/>
                    <a:gd name="connsiteX45" fmla="*/ 777875 w 2093119"/>
                    <a:gd name="connsiteY45" fmla="*/ 840581 h 2749550"/>
                    <a:gd name="connsiteX46" fmla="*/ 829469 w 2093119"/>
                    <a:gd name="connsiteY46" fmla="*/ 814387 h 2749550"/>
                    <a:gd name="connsiteX47" fmla="*/ 834232 w 2093119"/>
                    <a:gd name="connsiteY47" fmla="*/ 649287 h 2749550"/>
                    <a:gd name="connsiteX48" fmla="*/ 857250 w 2093119"/>
                    <a:gd name="connsiteY48" fmla="*/ 584993 h 2749550"/>
                    <a:gd name="connsiteX49" fmla="*/ 894557 w 2093119"/>
                    <a:gd name="connsiteY49" fmla="*/ 532606 h 2749550"/>
                    <a:gd name="connsiteX50" fmla="*/ 902494 w 2093119"/>
                    <a:gd name="connsiteY50" fmla="*/ 459581 h 2749550"/>
                    <a:gd name="connsiteX51" fmla="*/ 934244 w 2093119"/>
                    <a:gd name="connsiteY51" fmla="*/ 454819 h 2749550"/>
                    <a:gd name="connsiteX52" fmla="*/ 965201 w 2093119"/>
                    <a:gd name="connsiteY52" fmla="*/ 415925 h 2749550"/>
                    <a:gd name="connsiteX53" fmla="*/ 935038 w 2093119"/>
                    <a:gd name="connsiteY53" fmla="*/ 223043 h 2749550"/>
                    <a:gd name="connsiteX54" fmla="*/ 975519 w 2093119"/>
                    <a:gd name="connsiteY54" fmla="*/ 184150 h 2749550"/>
                    <a:gd name="connsiteX0" fmla="*/ 975519 w 2093119"/>
                    <a:gd name="connsiteY0" fmla="*/ 184150 h 2749550"/>
                    <a:gd name="connsiteX1" fmla="*/ 1108869 w 2093119"/>
                    <a:gd name="connsiteY1" fmla="*/ 38100 h 2749550"/>
                    <a:gd name="connsiteX2" fmla="*/ 1369219 w 2093119"/>
                    <a:gd name="connsiteY2" fmla="*/ 0 h 2749550"/>
                    <a:gd name="connsiteX3" fmla="*/ 1756569 w 2093119"/>
                    <a:gd name="connsiteY3" fmla="*/ 190500 h 2749550"/>
                    <a:gd name="connsiteX4" fmla="*/ 1902619 w 2093119"/>
                    <a:gd name="connsiteY4" fmla="*/ 514350 h 2749550"/>
                    <a:gd name="connsiteX5" fmla="*/ 2093119 w 2093119"/>
                    <a:gd name="connsiteY5" fmla="*/ 730250 h 2749550"/>
                    <a:gd name="connsiteX6" fmla="*/ 2086769 w 2093119"/>
                    <a:gd name="connsiteY6" fmla="*/ 1085850 h 2749550"/>
                    <a:gd name="connsiteX7" fmla="*/ 1953419 w 2093119"/>
                    <a:gd name="connsiteY7" fmla="*/ 1308100 h 2749550"/>
                    <a:gd name="connsiteX8" fmla="*/ 1680369 w 2093119"/>
                    <a:gd name="connsiteY8" fmla="*/ 1485900 h 2749550"/>
                    <a:gd name="connsiteX9" fmla="*/ 1458119 w 2093119"/>
                    <a:gd name="connsiteY9" fmla="*/ 1885950 h 2749550"/>
                    <a:gd name="connsiteX10" fmla="*/ 1293019 w 2093119"/>
                    <a:gd name="connsiteY10" fmla="*/ 2279650 h 2749550"/>
                    <a:gd name="connsiteX11" fmla="*/ 1077119 w 2093119"/>
                    <a:gd name="connsiteY11" fmla="*/ 2552700 h 2749550"/>
                    <a:gd name="connsiteX12" fmla="*/ 785019 w 2093119"/>
                    <a:gd name="connsiteY12" fmla="*/ 2749550 h 2749550"/>
                    <a:gd name="connsiteX13" fmla="*/ 467519 w 2093119"/>
                    <a:gd name="connsiteY13" fmla="*/ 2730500 h 2749550"/>
                    <a:gd name="connsiteX14" fmla="*/ 238919 w 2093119"/>
                    <a:gd name="connsiteY14" fmla="*/ 2616200 h 2749550"/>
                    <a:gd name="connsiteX15" fmla="*/ 156369 w 2093119"/>
                    <a:gd name="connsiteY15" fmla="*/ 2387600 h 2749550"/>
                    <a:gd name="connsiteX16" fmla="*/ 61119 w 2093119"/>
                    <a:gd name="connsiteY16" fmla="*/ 2228850 h 2749550"/>
                    <a:gd name="connsiteX17" fmla="*/ 48419 w 2093119"/>
                    <a:gd name="connsiteY17" fmla="*/ 2076450 h 2749550"/>
                    <a:gd name="connsiteX18" fmla="*/ 36513 w 2093119"/>
                    <a:gd name="connsiteY18" fmla="*/ 1991519 h 2749550"/>
                    <a:gd name="connsiteX19" fmla="*/ 0 w 2093119"/>
                    <a:gd name="connsiteY19" fmla="*/ 1970088 h 2749550"/>
                    <a:gd name="connsiteX20" fmla="*/ 31750 w 2093119"/>
                    <a:gd name="connsiteY20" fmla="*/ 1910556 h 2749550"/>
                    <a:gd name="connsiteX21" fmla="*/ 11112 w 2093119"/>
                    <a:gd name="connsiteY21" fmla="*/ 1900237 h 2749550"/>
                    <a:gd name="connsiteX22" fmla="*/ 30957 w 2093119"/>
                    <a:gd name="connsiteY22" fmla="*/ 1851819 h 2749550"/>
                    <a:gd name="connsiteX23" fmla="*/ 129382 w 2093119"/>
                    <a:gd name="connsiteY23" fmla="*/ 1877219 h 2749550"/>
                    <a:gd name="connsiteX24" fmla="*/ 259557 w 2093119"/>
                    <a:gd name="connsiteY24" fmla="*/ 1814513 h 2749550"/>
                    <a:gd name="connsiteX25" fmla="*/ 369094 w 2093119"/>
                    <a:gd name="connsiteY25" fmla="*/ 1766093 h 2749550"/>
                    <a:gd name="connsiteX26" fmla="*/ 414339 w 2093119"/>
                    <a:gd name="connsiteY26" fmla="*/ 1657350 h 2749550"/>
                    <a:gd name="connsiteX27" fmla="*/ 523875 w 2093119"/>
                    <a:gd name="connsiteY27" fmla="*/ 1554956 h 2749550"/>
                    <a:gd name="connsiteX28" fmla="*/ 633413 w 2093119"/>
                    <a:gd name="connsiteY28" fmla="*/ 1538288 h 2749550"/>
                    <a:gd name="connsiteX29" fmla="*/ 641350 w 2093119"/>
                    <a:gd name="connsiteY29" fmla="*/ 1470025 h 2749550"/>
                    <a:gd name="connsiteX30" fmla="*/ 737394 w 2093119"/>
                    <a:gd name="connsiteY30" fmla="*/ 1397000 h 2749550"/>
                    <a:gd name="connsiteX31" fmla="*/ 808832 w 2093119"/>
                    <a:gd name="connsiteY31" fmla="*/ 1402556 h 2749550"/>
                    <a:gd name="connsiteX32" fmla="*/ 901700 w 2093119"/>
                    <a:gd name="connsiteY32" fmla="*/ 1426369 h 2749550"/>
                    <a:gd name="connsiteX33" fmla="*/ 935037 w 2093119"/>
                    <a:gd name="connsiteY33" fmla="*/ 1323975 h 2749550"/>
                    <a:gd name="connsiteX34" fmla="*/ 1052512 w 2093119"/>
                    <a:gd name="connsiteY34" fmla="*/ 1235075 h 2749550"/>
                    <a:gd name="connsiteX35" fmla="*/ 992982 w 2093119"/>
                    <a:gd name="connsiteY35" fmla="*/ 1209675 h 2749550"/>
                    <a:gd name="connsiteX36" fmla="*/ 933450 w 2093119"/>
                    <a:gd name="connsiteY36" fmla="*/ 1212056 h 2749550"/>
                    <a:gd name="connsiteX37" fmla="*/ 916782 w 2093119"/>
                    <a:gd name="connsiteY37" fmla="*/ 1176338 h 2749550"/>
                    <a:gd name="connsiteX38" fmla="*/ 866775 w 2093119"/>
                    <a:gd name="connsiteY38" fmla="*/ 1162050 h 2749550"/>
                    <a:gd name="connsiteX39" fmla="*/ 819150 w 2093119"/>
                    <a:gd name="connsiteY39" fmla="*/ 1138238 h 2749550"/>
                    <a:gd name="connsiteX40" fmla="*/ 766763 w 2093119"/>
                    <a:gd name="connsiteY40" fmla="*/ 1133475 h 2749550"/>
                    <a:gd name="connsiteX41" fmla="*/ 749301 w 2093119"/>
                    <a:gd name="connsiteY41" fmla="*/ 1109663 h 2749550"/>
                    <a:gd name="connsiteX42" fmla="*/ 732631 w 2093119"/>
                    <a:gd name="connsiteY42" fmla="*/ 1039813 h 2749550"/>
                    <a:gd name="connsiteX43" fmla="*/ 760412 w 2093119"/>
                    <a:gd name="connsiteY43" fmla="*/ 1008062 h 2749550"/>
                    <a:gd name="connsiteX44" fmla="*/ 742950 w 2093119"/>
                    <a:gd name="connsiteY44" fmla="*/ 928688 h 2749550"/>
                    <a:gd name="connsiteX45" fmla="*/ 777875 w 2093119"/>
                    <a:gd name="connsiteY45" fmla="*/ 840581 h 2749550"/>
                    <a:gd name="connsiteX46" fmla="*/ 829469 w 2093119"/>
                    <a:gd name="connsiteY46" fmla="*/ 814387 h 2749550"/>
                    <a:gd name="connsiteX47" fmla="*/ 834232 w 2093119"/>
                    <a:gd name="connsiteY47" fmla="*/ 649287 h 2749550"/>
                    <a:gd name="connsiteX48" fmla="*/ 857250 w 2093119"/>
                    <a:gd name="connsiteY48" fmla="*/ 584993 h 2749550"/>
                    <a:gd name="connsiteX49" fmla="*/ 894557 w 2093119"/>
                    <a:gd name="connsiteY49" fmla="*/ 532606 h 2749550"/>
                    <a:gd name="connsiteX50" fmla="*/ 902494 w 2093119"/>
                    <a:gd name="connsiteY50" fmla="*/ 459581 h 2749550"/>
                    <a:gd name="connsiteX51" fmla="*/ 934244 w 2093119"/>
                    <a:gd name="connsiteY51" fmla="*/ 454819 h 2749550"/>
                    <a:gd name="connsiteX52" fmla="*/ 965201 w 2093119"/>
                    <a:gd name="connsiteY52" fmla="*/ 415925 h 2749550"/>
                    <a:gd name="connsiteX53" fmla="*/ 935038 w 2093119"/>
                    <a:gd name="connsiteY53" fmla="*/ 223043 h 2749550"/>
                    <a:gd name="connsiteX54" fmla="*/ 975519 w 2093119"/>
                    <a:gd name="connsiteY54" fmla="*/ 184150 h 2749550"/>
                    <a:gd name="connsiteX0" fmla="*/ 975519 w 2093119"/>
                    <a:gd name="connsiteY0" fmla="*/ 184150 h 2749550"/>
                    <a:gd name="connsiteX1" fmla="*/ 1108869 w 2093119"/>
                    <a:gd name="connsiteY1" fmla="*/ 38100 h 2749550"/>
                    <a:gd name="connsiteX2" fmla="*/ 1369219 w 2093119"/>
                    <a:gd name="connsiteY2" fmla="*/ 0 h 2749550"/>
                    <a:gd name="connsiteX3" fmla="*/ 1756569 w 2093119"/>
                    <a:gd name="connsiteY3" fmla="*/ 190500 h 2749550"/>
                    <a:gd name="connsiteX4" fmla="*/ 1902619 w 2093119"/>
                    <a:gd name="connsiteY4" fmla="*/ 514350 h 2749550"/>
                    <a:gd name="connsiteX5" fmla="*/ 2093119 w 2093119"/>
                    <a:gd name="connsiteY5" fmla="*/ 730250 h 2749550"/>
                    <a:gd name="connsiteX6" fmla="*/ 2086769 w 2093119"/>
                    <a:gd name="connsiteY6" fmla="*/ 1085850 h 2749550"/>
                    <a:gd name="connsiteX7" fmla="*/ 1953419 w 2093119"/>
                    <a:gd name="connsiteY7" fmla="*/ 1308100 h 2749550"/>
                    <a:gd name="connsiteX8" fmla="*/ 1680369 w 2093119"/>
                    <a:gd name="connsiteY8" fmla="*/ 1485900 h 2749550"/>
                    <a:gd name="connsiteX9" fmla="*/ 1458119 w 2093119"/>
                    <a:gd name="connsiteY9" fmla="*/ 1885950 h 2749550"/>
                    <a:gd name="connsiteX10" fmla="*/ 1293019 w 2093119"/>
                    <a:gd name="connsiteY10" fmla="*/ 2279650 h 2749550"/>
                    <a:gd name="connsiteX11" fmla="*/ 1077119 w 2093119"/>
                    <a:gd name="connsiteY11" fmla="*/ 2552700 h 2749550"/>
                    <a:gd name="connsiteX12" fmla="*/ 785019 w 2093119"/>
                    <a:gd name="connsiteY12" fmla="*/ 2749550 h 2749550"/>
                    <a:gd name="connsiteX13" fmla="*/ 467519 w 2093119"/>
                    <a:gd name="connsiteY13" fmla="*/ 2730500 h 2749550"/>
                    <a:gd name="connsiteX14" fmla="*/ 238919 w 2093119"/>
                    <a:gd name="connsiteY14" fmla="*/ 2616200 h 2749550"/>
                    <a:gd name="connsiteX15" fmla="*/ 156369 w 2093119"/>
                    <a:gd name="connsiteY15" fmla="*/ 2387600 h 2749550"/>
                    <a:gd name="connsiteX16" fmla="*/ 61119 w 2093119"/>
                    <a:gd name="connsiteY16" fmla="*/ 2228850 h 2749550"/>
                    <a:gd name="connsiteX17" fmla="*/ 48419 w 2093119"/>
                    <a:gd name="connsiteY17" fmla="*/ 2076450 h 2749550"/>
                    <a:gd name="connsiteX18" fmla="*/ 36513 w 2093119"/>
                    <a:gd name="connsiteY18" fmla="*/ 1991519 h 2749550"/>
                    <a:gd name="connsiteX19" fmla="*/ 0 w 2093119"/>
                    <a:gd name="connsiteY19" fmla="*/ 1970088 h 2749550"/>
                    <a:gd name="connsiteX20" fmla="*/ 31750 w 2093119"/>
                    <a:gd name="connsiteY20" fmla="*/ 1910556 h 2749550"/>
                    <a:gd name="connsiteX21" fmla="*/ 11112 w 2093119"/>
                    <a:gd name="connsiteY21" fmla="*/ 1900237 h 2749550"/>
                    <a:gd name="connsiteX22" fmla="*/ 30957 w 2093119"/>
                    <a:gd name="connsiteY22" fmla="*/ 1851819 h 2749550"/>
                    <a:gd name="connsiteX23" fmla="*/ 129382 w 2093119"/>
                    <a:gd name="connsiteY23" fmla="*/ 1877219 h 2749550"/>
                    <a:gd name="connsiteX24" fmla="*/ 195263 w 2093119"/>
                    <a:gd name="connsiteY24" fmla="*/ 1843088 h 2749550"/>
                    <a:gd name="connsiteX25" fmla="*/ 259557 w 2093119"/>
                    <a:gd name="connsiteY25" fmla="*/ 1814513 h 2749550"/>
                    <a:gd name="connsiteX26" fmla="*/ 369094 w 2093119"/>
                    <a:gd name="connsiteY26" fmla="*/ 1766093 h 2749550"/>
                    <a:gd name="connsiteX27" fmla="*/ 414339 w 2093119"/>
                    <a:gd name="connsiteY27" fmla="*/ 1657350 h 2749550"/>
                    <a:gd name="connsiteX28" fmla="*/ 523875 w 2093119"/>
                    <a:gd name="connsiteY28" fmla="*/ 1554956 h 2749550"/>
                    <a:gd name="connsiteX29" fmla="*/ 633413 w 2093119"/>
                    <a:gd name="connsiteY29" fmla="*/ 1538288 h 2749550"/>
                    <a:gd name="connsiteX30" fmla="*/ 641350 w 2093119"/>
                    <a:gd name="connsiteY30" fmla="*/ 1470025 h 2749550"/>
                    <a:gd name="connsiteX31" fmla="*/ 737394 w 2093119"/>
                    <a:gd name="connsiteY31" fmla="*/ 1397000 h 2749550"/>
                    <a:gd name="connsiteX32" fmla="*/ 808832 w 2093119"/>
                    <a:gd name="connsiteY32" fmla="*/ 1402556 h 2749550"/>
                    <a:gd name="connsiteX33" fmla="*/ 901700 w 2093119"/>
                    <a:gd name="connsiteY33" fmla="*/ 1426369 h 2749550"/>
                    <a:gd name="connsiteX34" fmla="*/ 935037 w 2093119"/>
                    <a:gd name="connsiteY34" fmla="*/ 1323975 h 2749550"/>
                    <a:gd name="connsiteX35" fmla="*/ 1052512 w 2093119"/>
                    <a:gd name="connsiteY35" fmla="*/ 1235075 h 2749550"/>
                    <a:gd name="connsiteX36" fmla="*/ 992982 w 2093119"/>
                    <a:gd name="connsiteY36" fmla="*/ 1209675 h 2749550"/>
                    <a:gd name="connsiteX37" fmla="*/ 933450 w 2093119"/>
                    <a:gd name="connsiteY37" fmla="*/ 1212056 h 2749550"/>
                    <a:gd name="connsiteX38" fmla="*/ 916782 w 2093119"/>
                    <a:gd name="connsiteY38" fmla="*/ 1176338 h 2749550"/>
                    <a:gd name="connsiteX39" fmla="*/ 866775 w 2093119"/>
                    <a:gd name="connsiteY39" fmla="*/ 1162050 h 2749550"/>
                    <a:gd name="connsiteX40" fmla="*/ 819150 w 2093119"/>
                    <a:gd name="connsiteY40" fmla="*/ 1138238 h 2749550"/>
                    <a:gd name="connsiteX41" fmla="*/ 766763 w 2093119"/>
                    <a:gd name="connsiteY41" fmla="*/ 1133475 h 2749550"/>
                    <a:gd name="connsiteX42" fmla="*/ 749301 w 2093119"/>
                    <a:gd name="connsiteY42" fmla="*/ 1109663 h 2749550"/>
                    <a:gd name="connsiteX43" fmla="*/ 732631 w 2093119"/>
                    <a:gd name="connsiteY43" fmla="*/ 1039813 h 2749550"/>
                    <a:gd name="connsiteX44" fmla="*/ 760412 w 2093119"/>
                    <a:gd name="connsiteY44" fmla="*/ 1008062 h 2749550"/>
                    <a:gd name="connsiteX45" fmla="*/ 742950 w 2093119"/>
                    <a:gd name="connsiteY45" fmla="*/ 928688 h 2749550"/>
                    <a:gd name="connsiteX46" fmla="*/ 777875 w 2093119"/>
                    <a:gd name="connsiteY46" fmla="*/ 840581 h 2749550"/>
                    <a:gd name="connsiteX47" fmla="*/ 829469 w 2093119"/>
                    <a:gd name="connsiteY47" fmla="*/ 814387 h 2749550"/>
                    <a:gd name="connsiteX48" fmla="*/ 834232 w 2093119"/>
                    <a:gd name="connsiteY48" fmla="*/ 649287 h 2749550"/>
                    <a:gd name="connsiteX49" fmla="*/ 857250 w 2093119"/>
                    <a:gd name="connsiteY49" fmla="*/ 584993 h 2749550"/>
                    <a:gd name="connsiteX50" fmla="*/ 894557 w 2093119"/>
                    <a:gd name="connsiteY50" fmla="*/ 532606 h 2749550"/>
                    <a:gd name="connsiteX51" fmla="*/ 902494 w 2093119"/>
                    <a:gd name="connsiteY51" fmla="*/ 459581 h 2749550"/>
                    <a:gd name="connsiteX52" fmla="*/ 934244 w 2093119"/>
                    <a:gd name="connsiteY52" fmla="*/ 454819 h 2749550"/>
                    <a:gd name="connsiteX53" fmla="*/ 965201 w 2093119"/>
                    <a:gd name="connsiteY53" fmla="*/ 415925 h 2749550"/>
                    <a:gd name="connsiteX54" fmla="*/ 935038 w 2093119"/>
                    <a:gd name="connsiteY54" fmla="*/ 223043 h 2749550"/>
                    <a:gd name="connsiteX55" fmla="*/ 975519 w 2093119"/>
                    <a:gd name="connsiteY55" fmla="*/ 184150 h 2749550"/>
                    <a:gd name="connsiteX0" fmla="*/ 975519 w 2093119"/>
                    <a:gd name="connsiteY0" fmla="*/ 184150 h 2749550"/>
                    <a:gd name="connsiteX1" fmla="*/ 1108869 w 2093119"/>
                    <a:gd name="connsiteY1" fmla="*/ 38100 h 2749550"/>
                    <a:gd name="connsiteX2" fmla="*/ 1369219 w 2093119"/>
                    <a:gd name="connsiteY2" fmla="*/ 0 h 2749550"/>
                    <a:gd name="connsiteX3" fmla="*/ 1756569 w 2093119"/>
                    <a:gd name="connsiteY3" fmla="*/ 190500 h 2749550"/>
                    <a:gd name="connsiteX4" fmla="*/ 1902619 w 2093119"/>
                    <a:gd name="connsiteY4" fmla="*/ 514350 h 2749550"/>
                    <a:gd name="connsiteX5" fmla="*/ 2093119 w 2093119"/>
                    <a:gd name="connsiteY5" fmla="*/ 730250 h 2749550"/>
                    <a:gd name="connsiteX6" fmla="*/ 2086769 w 2093119"/>
                    <a:gd name="connsiteY6" fmla="*/ 1085850 h 2749550"/>
                    <a:gd name="connsiteX7" fmla="*/ 1953419 w 2093119"/>
                    <a:gd name="connsiteY7" fmla="*/ 1308100 h 2749550"/>
                    <a:gd name="connsiteX8" fmla="*/ 1680369 w 2093119"/>
                    <a:gd name="connsiteY8" fmla="*/ 1485900 h 2749550"/>
                    <a:gd name="connsiteX9" fmla="*/ 1458119 w 2093119"/>
                    <a:gd name="connsiteY9" fmla="*/ 1885950 h 2749550"/>
                    <a:gd name="connsiteX10" fmla="*/ 1293019 w 2093119"/>
                    <a:gd name="connsiteY10" fmla="*/ 2279650 h 2749550"/>
                    <a:gd name="connsiteX11" fmla="*/ 1077119 w 2093119"/>
                    <a:gd name="connsiteY11" fmla="*/ 2552700 h 2749550"/>
                    <a:gd name="connsiteX12" fmla="*/ 785019 w 2093119"/>
                    <a:gd name="connsiteY12" fmla="*/ 2749550 h 2749550"/>
                    <a:gd name="connsiteX13" fmla="*/ 467519 w 2093119"/>
                    <a:gd name="connsiteY13" fmla="*/ 2730500 h 2749550"/>
                    <a:gd name="connsiteX14" fmla="*/ 238919 w 2093119"/>
                    <a:gd name="connsiteY14" fmla="*/ 2616200 h 2749550"/>
                    <a:gd name="connsiteX15" fmla="*/ 156369 w 2093119"/>
                    <a:gd name="connsiteY15" fmla="*/ 2387600 h 2749550"/>
                    <a:gd name="connsiteX16" fmla="*/ 61119 w 2093119"/>
                    <a:gd name="connsiteY16" fmla="*/ 2228850 h 2749550"/>
                    <a:gd name="connsiteX17" fmla="*/ 48419 w 2093119"/>
                    <a:gd name="connsiteY17" fmla="*/ 2076450 h 2749550"/>
                    <a:gd name="connsiteX18" fmla="*/ 36513 w 2093119"/>
                    <a:gd name="connsiteY18" fmla="*/ 1991519 h 2749550"/>
                    <a:gd name="connsiteX19" fmla="*/ 0 w 2093119"/>
                    <a:gd name="connsiteY19" fmla="*/ 1970088 h 2749550"/>
                    <a:gd name="connsiteX20" fmla="*/ 31750 w 2093119"/>
                    <a:gd name="connsiteY20" fmla="*/ 1910556 h 2749550"/>
                    <a:gd name="connsiteX21" fmla="*/ 11112 w 2093119"/>
                    <a:gd name="connsiteY21" fmla="*/ 1900237 h 2749550"/>
                    <a:gd name="connsiteX22" fmla="*/ 30957 w 2093119"/>
                    <a:gd name="connsiteY22" fmla="*/ 1851819 h 2749550"/>
                    <a:gd name="connsiteX23" fmla="*/ 129382 w 2093119"/>
                    <a:gd name="connsiteY23" fmla="*/ 1877219 h 2749550"/>
                    <a:gd name="connsiteX24" fmla="*/ 200026 w 2093119"/>
                    <a:gd name="connsiteY24" fmla="*/ 1883569 h 2749550"/>
                    <a:gd name="connsiteX25" fmla="*/ 259557 w 2093119"/>
                    <a:gd name="connsiteY25" fmla="*/ 1814513 h 2749550"/>
                    <a:gd name="connsiteX26" fmla="*/ 369094 w 2093119"/>
                    <a:gd name="connsiteY26" fmla="*/ 1766093 h 2749550"/>
                    <a:gd name="connsiteX27" fmla="*/ 414339 w 2093119"/>
                    <a:gd name="connsiteY27" fmla="*/ 1657350 h 2749550"/>
                    <a:gd name="connsiteX28" fmla="*/ 523875 w 2093119"/>
                    <a:gd name="connsiteY28" fmla="*/ 1554956 h 2749550"/>
                    <a:gd name="connsiteX29" fmla="*/ 633413 w 2093119"/>
                    <a:gd name="connsiteY29" fmla="*/ 1538288 h 2749550"/>
                    <a:gd name="connsiteX30" fmla="*/ 641350 w 2093119"/>
                    <a:gd name="connsiteY30" fmla="*/ 1470025 h 2749550"/>
                    <a:gd name="connsiteX31" fmla="*/ 737394 w 2093119"/>
                    <a:gd name="connsiteY31" fmla="*/ 1397000 h 2749550"/>
                    <a:gd name="connsiteX32" fmla="*/ 808832 w 2093119"/>
                    <a:gd name="connsiteY32" fmla="*/ 1402556 h 2749550"/>
                    <a:gd name="connsiteX33" fmla="*/ 901700 w 2093119"/>
                    <a:gd name="connsiteY33" fmla="*/ 1426369 h 2749550"/>
                    <a:gd name="connsiteX34" fmla="*/ 935037 w 2093119"/>
                    <a:gd name="connsiteY34" fmla="*/ 1323975 h 2749550"/>
                    <a:gd name="connsiteX35" fmla="*/ 1052512 w 2093119"/>
                    <a:gd name="connsiteY35" fmla="*/ 1235075 h 2749550"/>
                    <a:gd name="connsiteX36" fmla="*/ 992982 w 2093119"/>
                    <a:gd name="connsiteY36" fmla="*/ 1209675 h 2749550"/>
                    <a:gd name="connsiteX37" fmla="*/ 933450 w 2093119"/>
                    <a:gd name="connsiteY37" fmla="*/ 1212056 h 2749550"/>
                    <a:gd name="connsiteX38" fmla="*/ 916782 w 2093119"/>
                    <a:gd name="connsiteY38" fmla="*/ 1176338 h 2749550"/>
                    <a:gd name="connsiteX39" fmla="*/ 866775 w 2093119"/>
                    <a:gd name="connsiteY39" fmla="*/ 1162050 h 2749550"/>
                    <a:gd name="connsiteX40" fmla="*/ 819150 w 2093119"/>
                    <a:gd name="connsiteY40" fmla="*/ 1138238 h 2749550"/>
                    <a:gd name="connsiteX41" fmla="*/ 766763 w 2093119"/>
                    <a:gd name="connsiteY41" fmla="*/ 1133475 h 2749550"/>
                    <a:gd name="connsiteX42" fmla="*/ 749301 w 2093119"/>
                    <a:gd name="connsiteY42" fmla="*/ 1109663 h 2749550"/>
                    <a:gd name="connsiteX43" fmla="*/ 732631 w 2093119"/>
                    <a:gd name="connsiteY43" fmla="*/ 1039813 h 2749550"/>
                    <a:gd name="connsiteX44" fmla="*/ 760412 w 2093119"/>
                    <a:gd name="connsiteY44" fmla="*/ 1008062 h 2749550"/>
                    <a:gd name="connsiteX45" fmla="*/ 742950 w 2093119"/>
                    <a:gd name="connsiteY45" fmla="*/ 928688 h 2749550"/>
                    <a:gd name="connsiteX46" fmla="*/ 777875 w 2093119"/>
                    <a:gd name="connsiteY46" fmla="*/ 840581 h 2749550"/>
                    <a:gd name="connsiteX47" fmla="*/ 829469 w 2093119"/>
                    <a:gd name="connsiteY47" fmla="*/ 814387 h 2749550"/>
                    <a:gd name="connsiteX48" fmla="*/ 834232 w 2093119"/>
                    <a:gd name="connsiteY48" fmla="*/ 649287 h 2749550"/>
                    <a:gd name="connsiteX49" fmla="*/ 857250 w 2093119"/>
                    <a:gd name="connsiteY49" fmla="*/ 584993 h 2749550"/>
                    <a:gd name="connsiteX50" fmla="*/ 894557 w 2093119"/>
                    <a:gd name="connsiteY50" fmla="*/ 532606 h 2749550"/>
                    <a:gd name="connsiteX51" fmla="*/ 902494 w 2093119"/>
                    <a:gd name="connsiteY51" fmla="*/ 459581 h 2749550"/>
                    <a:gd name="connsiteX52" fmla="*/ 934244 w 2093119"/>
                    <a:gd name="connsiteY52" fmla="*/ 454819 h 2749550"/>
                    <a:gd name="connsiteX53" fmla="*/ 965201 w 2093119"/>
                    <a:gd name="connsiteY53" fmla="*/ 415925 h 2749550"/>
                    <a:gd name="connsiteX54" fmla="*/ 935038 w 2093119"/>
                    <a:gd name="connsiteY54" fmla="*/ 223043 h 2749550"/>
                    <a:gd name="connsiteX55" fmla="*/ 975519 w 2093119"/>
                    <a:gd name="connsiteY55" fmla="*/ 184150 h 2749550"/>
                    <a:gd name="connsiteX0" fmla="*/ 975519 w 2093119"/>
                    <a:gd name="connsiteY0" fmla="*/ 184150 h 2749550"/>
                    <a:gd name="connsiteX1" fmla="*/ 1108869 w 2093119"/>
                    <a:gd name="connsiteY1" fmla="*/ 38100 h 2749550"/>
                    <a:gd name="connsiteX2" fmla="*/ 1369219 w 2093119"/>
                    <a:gd name="connsiteY2" fmla="*/ 0 h 2749550"/>
                    <a:gd name="connsiteX3" fmla="*/ 1756569 w 2093119"/>
                    <a:gd name="connsiteY3" fmla="*/ 190500 h 2749550"/>
                    <a:gd name="connsiteX4" fmla="*/ 1902619 w 2093119"/>
                    <a:gd name="connsiteY4" fmla="*/ 514350 h 2749550"/>
                    <a:gd name="connsiteX5" fmla="*/ 2093119 w 2093119"/>
                    <a:gd name="connsiteY5" fmla="*/ 730250 h 2749550"/>
                    <a:gd name="connsiteX6" fmla="*/ 2086769 w 2093119"/>
                    <a:gd name="connsiteY6" fmla="*/ 1085850 h 2749550"/>
                    <a:gd name="connsiteX7" fmla="*/ 1953419 w 2093119"/>
                    <a:gd name="connsiteY7" fmla="*/ 1308100 h 2749550"/>
                    <a:gd name="connsiteX8" fmla="*/ 1680369 w 2093119"/>
                    <a:gd name="connsiteY8" fmla="*/ 1485900 h 2749550"/>
                    <a:gd name="connsiteX9" fmla="*/ 1458119 w 2093119"/>
                    <a:gd name="connsiteY9" fmla="*/ 1885950 h 2749550"/>
                    <a:gd name="connsiteX10" fmla="*/ 1293019 w 2093119"/>
                    <a:gd name="connsiteY10" fmla="*/ 2279650 h 2749550"/>
                    <a:gd name="connsiteX11" fmla="*/ 1077119 w 2093119"/>
                    <a:gd name="connsiteY11" fmla="*/ 2552700 h 2749550"/>
                    <a:gd name="connsiteX12" fmla="*/ 785019 w 2093119"/>
                    <a:gd name="connsiteY12" fmla="*/ 2749550 h 2749550"/>
                    <a:gd name="connsiteX13" fmla="*/ 467519 w 2093119"/>
                    <a:gd name="connsiteY13" fmla="*/ 2730500 h 2749550"/>
                    <a:gd name="connsiteX14" fmla="*/ 238919 w 2093119"/>
                    <a:gd name="connsiteY14" fmla="*/ 2616200 h 2749550"/>
                    <a:gd name="connsiteX15" fmla="*/ 156369 w 2093119"/>
                    <a:gd name="connsiteY15" fmla="*/ 2387600 h 2749550"/>
                    <a:gd name="connsiteX16" fmla="*/ 61119 w 2093119"/>
                    <a:gd name="connsiteY16" fmla="*/ 2228850 h 2749550"/>
                    <a:gd name="connsiteX17" fmla="*/ 48419 w 2093119"/>
                    <a:gd name="connsiteY17" fmla="*/ 2076450 h 2749550"/>
                    <a:gd name="connsiteX18" fmla="*/ 36513 w 2093119"/>
                    <a:gd name="connsiteY18" fmla="*/ 1991519 h 2749550"/>
                    <a:gd name="connsiteX19" fmla="*/ 0 w 2093119"/>
                    <a:gd name="connsiteY19" fmla="*/ 1970088 h 2749550"/>
                    <a:gd name="connsiteX20" fmla="*/ 31750 w 2093119"/>
                    <a:gd name="connsiteY20" fmla="*/ 1910556 h 2749550"/>
                    <a:gd name="connsiteX21" fmla="*/ 11112 w 2093119"/>
                    <a:gd name="connsiteY21" fmla="*/ 1900237 h 2749550"/>
                    <a:gd name="connsiteX22" fmla="*/ 30957 w 2093119"/>
                    <a:gd name="connsiteY22" fmla="*/ 1851819 h 2749550"/>
                    <a:gd name="connsiteX23" fmla="*/ 129382 w 2093119"/>
                    <a:gd name="connsiteY23" fmla="*/ 1877219 h 2749550"/>
                    <a:gd name="connsiteX24" fmla="*/ 200026 w 2093119"/>
                    <a:gd name="connsiteY24" fmla="*/ 1883569 h 2749550"/>
                    <a:gd name="connsiteX25" fmla="*/ 228600 w 2093119"/>
                    <a:gd name="connsiteY25" fmla="*/ 1850231 h 2749550"/>
                    <a:gd name="connsiteX26" fmla="*/ 259557 w 2093119"/>
                    <a:gd name="connsiteY26" fmla="*/ 1814513 h 2749550"/>
                    <a:gd name="connsiteX27" fmla="*/ 369094 w 2093119"/>
                    <a:gd name="connsiteY27" fmla="*/ 1766093 h 2749550"/>
                    <a:gd name="connsiteX28" fmla="*/ 414339 w 2093119"/>
                    <a:gd name="connsiteY28" fmla="*/ 1657350 h 2749550"/>
                    <a:gd name="connsiteX29" fmla="*/ 523875 w 2093119"/>
                    <a:gd name="connsiteY29" fmla="*/ 1554956 h 2749550"/>
                    <a:gd name="connsiteX30" fmla="*/ 633413 w 2093119"/>
                    <a:gd name="connsiteY30" fmla="*/ 1538288 h 2749550"/>
                    <a:gd name="connsiteX31" fmla="*/ 641350 w 2093119"/>
                    <a:gd name="connsiteY31" fmla="*/ 1470025 h 2749550"/>
                    <a:gd name="connsiteX32" fmla="*/ 737394 w 2093119"/>
                    <a:gd name="connsiteY32" fmla="*/ 1397000 h 2749550"/>
                    <a:gd name="connsiteX33" fmla="*/ 808832 w 2093119"/>
                    <a:gd name="connsiteY33" fmla="*/ 1402556 h 2749550"/>
                    <a:gd name="connsiteX34" fmla="*/ 901700 w 2093119"/>
                    <a:gd name="connsiteY34" fmla="*/ 1426369 h 2749550"/>
                    <a:gd name="connsiteX35" fmla="*/ 935037 w 2093119"/>
                    <a:gd name="connsiteY35" fmla="*/ 1323975 h 2749550"/>
                    <a:gd name="connsiteX36" fmla="*/ 1052512 w 2093119"/>
                    <a:gd name="connsiteY36" fmla="*/ 1235075 h 2749550"/>
                    <a:gd name="connsiteX37" fmla="*/ 992982 w 2093119"/>
                    <a:gd name="connsiteY37" fmla="*/ 1209675 h 2749550"/>
                    <a:gd name="connsiteX38" fmla="*/ 933450 w 2093119"/>
                    <a:gd name="connsiteY38" fmla="*/ 1212056 h 2749550"/>
                    <a:gd name="connsiteX39" fmla="*/ 916782 w 2093119"/>
                    <a:gd name="connsiteY39" fmla="*/ 1176338 h 2749550"/>
                    <a:gd name="connsiteX40" fmla="*/ 866775 w 2093119"/>
                    <a:gd name="connsiteY40" fmla="*/ 1162050 h 2749550"/>
                    <a:gd name="connsiteX41" fmla="*/ 819150 w 2093119"/>
                    <a:gd name="connsiteY41" fmla="*/ 1138238 h 2749550"/>
                    <a:gd name="connsiteX42" fmla="*/ 766763 w 2093119"/>
                    <a:gd name="connsiteY42" fmla="*/ 1133475 h 2749550"/>
                    <a:gd name="connsiteX43" fmla="*/ 749301 w 2093119"/>
                    <a:gd name="connsiteY43" fmla="*/ 1109663 h 2749550"/>
                    <a:gd name="connsiteX44" fmla="*/ 732631 w 2093119"/>
                    <a:gd name="connsiteY44" fmla="*/ 1039813 h 2749550"/>
                    <a:gd name="connsiteX45" fmla="*/ 760412 w 2093119"/>
                    <a:gd name="connsiteY45" fmla="*/ 1008062 h 2749550"/>
                    <a:gd name="connsiteX46" fmla="*/ 742950 w 2093119"/>
                    <a:gd name="connsiteY46" fmla="*/ 928688 h 2749550"/>
                    <a:gd name="connsiteX47" fmla="*/ 777875 w 2093119"/>
                    <a:gd name="connsiteY47" fmla="*/ 840581 h 2749550"/>
                    <a:gd name="connsiteX48" fmla="*/ 829469 w 2093119"/>
                    <a:gd name="connsiteY48" fmla="*/ 814387 h 2749550"/>
                    <a:gd name="connsiteX49" fmla="*/ 834232 w 2093119"/>
                    <a:gd name="connsiteY49" fmla="*/ 649287 h 2749550"/>
                    <a:gd name="connsiteX50" fmla="*/ 857250 w 2093119"/>
                    <a:gd name="connsiteY50" fmla="*/ 584993 h 2749550"/>
                    <a:gd name="connsiteX51" fmla="*/ 894557 w 2093119"/>
                    <a:gd name="connsiteY51" fmla="*/ 532606 h 2749550"/>
                    <a:gd name="connsiteX52" fmla="*/ 902494 w 2093119"/>
                    <a:gd name="connsiteY52" fmla="*/ 459581 h 2749550"/>
                    <a:gd name="connsiteX53" fmla="*/ 934244 w 2093119"/>
                    <a:gd name="connsiteY53" fmla="*/ 454819 h 2749550"/>
                    <a:gd name="connsiteX54" fmla="*/ 965201 w 2093119"/>
                    <a:gd name="connsiteY54" fmla="*/ 415925 h 2749550"/>
                    <a:gd name="connsiteX55" fmla="*/ 935038 w 2093119"/>
                    <a:gd name="connsiteY55" fmla="*/ 223043 h 2749550"/>
                    <a:gd name="connsiteX56" fmla="*/ 975519 w 2093119"/>
                    <a:gd name="connsiteY56" fmla="*/ 184150 h 2749550"/>
                    <a:gd name="connsiteX0" fmla="*/ 975519 w 2093119"/>
                    <a:gd name="connsiteY0" fmla="*/ 184150 h 2749550"/>
                    <a:gd name="connsiteX1" fmla="*/ 1108869 w 2093119"/>
                    <a:gd name="connsiteY1" fmla="*/ 38100 h 2749550"/>
                    <a:gd name="connsiteX2" fmla="*/ 1369219 w 2093119"/>
                    <a:gd name="connsiteY2" fmla="*/ 0 h 2749550"/>
                    <a:gd name="connsiteX3" fmla="*/ 1756569 w 2093119"/>
                    <a:gd name="connsiteY3" fmla="*/ 190500 h 2749550"/>
                    <a:gd name="connsiteX4" fmla="*/ 1902619 w 2093119"/>
                    <a:gd name="connsiteY4" fmla="*/ 514350 h 2749550"/>
                    <a:gd name="connsiteX5" fmla="*/ 2093119 w 2093119"/>
                    <a:gd name="connsiteY5" fmla="*/ 730250 h 2749550"/>
                    <a:gd name="connsiteX6" fmla="*/ 2086769 w 2093119"/>
                    <a:gd name="connsiteY6" fmla="*/ 1085850 h 2749550"/>
                    <a:gd name="connsiteX7" fmla="*/ 1953419 w 2093119"/>
                    <a:gd name="connsiteY7" fmla="*/ 1308100 h 2749550"/>
                    <a:gd name="connsiteX8" fmla="*/ 1680369 w 2093119"/>
                    <a:gd name="connsiteY8" fmla="*/ 1485900 h 2749550"/>
                    <a:gd name="connsiteX9" fmla="*/ 1458119 w 2093119"/>
                    <a:gd name="connsiteY9" fmla="*/ 1885950 h 2749550"/>
                    <a:gd name="connsiteX10" fmla="*/ 1293019 w 2093119"/>
                    <a:gd name="connsiteY10" fmla="*/ 2279650 h 2749550"/>
                    <a:gd name="connsiteX11" fmla="*/ 1077119 w 2093119"/>
                    <a:gd name="connsiteY11" fmla="*/ 2552700 h 2749550"/>
                    <a:gd name="connsiteX12" fmla="*/ 785019 w 2093119"/>
                    <a:gd name="connsiteY12" fmla="*/ 2749550 h 2749550"/>
                    <a:gd name="connsiteX13" fmla="*/ 467519 w 2093119"/>
                    <a:gd name="connsiteY13" fmla="*/ 2730500 h 2749550"/>
                    <a:gd name="connsiteX14" fmla="*/ 238919 w 2093119"/>
                    <a:gd name="connsiteY14" fmla="*/ 2616200 h 2749550"/>
                    <a:gd name="connsiteX15" fmla="*/ 156369 w 2093119"/>
                    <a:gd name="connsiteY15" fmla="*/ 2387600 h 2749550"/>
                    <a:gd name="connsiteX16" fmla="*/ 61119 w 2093119"/>
                    <a:gd name="connsiteY16" fmla="*/ 2228850 h 2749550"/>
                    <a:gd name="connsiteX17" fmla="*/ 48419 w 2093119"/>
                    <a:gd name="connsiteY17" fmla="*/ 2076450 h 2749550"/>
                    <a:gd name="connsiteX18" fmla="*/ 36513 w 2093119"/>
                    <a:gd name="connsiteY18" fmla="*/ 1991519 h 2749550"/>
                    <a:gd name="connsiteX19" fmla="*/ 0 w 2093119"/>
                    <a:gd name="connsiteY19" fmla="*/ 1970088 h 2749550"/>
                    <a:gd name="connsiteX20" fmla="*/ 31750 w 2093119"/>
                    <a:gd name="connsiteY20" fmla="*/ 1910556 h 2749550"/>
                    <a:gd name="connsiteX21" fmla="*/ 11112 w 2093119"/>
                    <a:gd name="connsiteY21" fmla="*/ 1900237 h 2749550"/>
                    <a:gd name="connsiteX22" fmla="*/ 30957 w 2093119"/>
                    <a:gd name="connsiteY22" fmla="*/ 1851819 h 2749550"/>
                    <a:gd name="connsiteX23" fmla="*/ 129382 w 2093119"/>
                    <a:gd name="connsiteY23" fmla="*/ 1877219 h 2749550"/>
                    <a:gd name="connsiteX24" fmla="*/ 200026 w 2093119"/>
                    <a:gd name="connsiteY24" fmla="*/ 1883569 h 2749550"/>
                    <a:gd name="connsiteX25" fmla="*/ 221456 w 2093119"/>
                    <a:gd name="connsiteY25" fmla="*/ 1959768 h 2749550"/>
                    <a:gd name="connsiteX26" fmla="*/ 259557 w 2093119"/>
                    <a:gd name="connsiteY26" fmla="*/ 1814513 h 2749550"/>
                    <a:gd name="connsiteX27" fmla="*/ 369094 w 2093119"/>
                    <a:gd name="connsiteY27" fmla="*/ 1766093 h 2749550"/>
                    <a:gd name="connsiteX28" fmla="*/ 414339 w 2093119"/>
                    <a:gd name="connsiteY28" fmla="*/ 1657350 h 2749550"/>
                    <a:gd name="connsiteX29" fmla="*/ 523875 w 2093119"/>
                    <a:gd name="connsiteY29" fmla="*/ 1554956 h 2749550"/>
                    <a:gd name="connsiteX30" fmla="*/ 633413 w 2093119"/>
                    <a:gd name="connsiteY30" fmla="*/ 1538288 h 2749550"/>
                    <a:gd name="connsiteX31" fmla="*/ 641350 w 2093119"/>
                    <a:gd name="connsiteY31" fmla="*/ 1470025 h 2749550"/>
                    <a:gd name="connsiteX32" fmla="*/ 737394 w 2093119"/>
                    <a:gd name="connsiteY32" fmla="*/ 1397000 h 2749550"/>
                    <a:gd name="connsiteX33" fmla="*/ 808832 w 2093119"/>
                    <a:gd name="connsiteY33" fmla="*/ 1402556 h 2749550"/>
                    <a:gd name="connsiteX34" fmla="*/ 901700 w 2093119"/>
                    <a:gd name="connsiteY34" fmla="*/ 1426369 h 2749550"/>
                    <a:gd name="connsiteX35" fmla="*/ 935037 w 2093119"/>
                    <a:gd name="connsiteY35" fmla="*/ 1323975 h 2749550"/>
                    <a:gd name="connsiteX36" fmla="*/ 1052512 w 2093119"/>
                    <a:gd name="connsiteY36" fmla="*/ 1235075 h 2749550"/>
                    <a:gd name="connsiteX37" fmla="*/ 992982 w 2093119"/>
                    <a:gd name="connsiteY37" fmla="*/ 1209675 h 2749550"/>
                    <a:gd name="connsiteX38" fmla="*/ 933450 w 2093119"/>
                    <a:gd name="connsiteY38" fmla="*/ 1212056 h 2749550"/>
                    <a:gd name="connsiteX39" fmla="*/ 916782 w 2093119"/>
                    <a:gd name="connsiteY39" fmla="*/ 1176338 h 2749550"/>
                    <a:gd name="connsiteX40" fmla="*/ 866775 w 2093119"/>
                    <a:gd name="connsiteY40" fmla="*/ 1162050 h 2749550"/>
                    <a:gd name="connsiteX41" fmla="*/ 819150 w 2093119"/>
                    <a:gd name="connsiteY41" fmla="*/ 1138238 h 2749550"/>
                    <a:gd name="connsiteX42" fmla="*/ 766763 w 2093119"/>
                    <a:gd name="connsiteY42" fmla="*/ 1133475 h 2749550"/>
                    <a:gd name="connsiteX43" fmla="*/ 749301 w 2093119"/>
                    <a:gd name="connsiteY43" fmla="*/ 1109663 h 2749550"/>
                    <a:gd name="connsiteX44" fmla="*/ 732631 w 2093119"/>
                    <a:gd name="connsiteY44" fmla="*/ 1039813 h 2749550"/>
                    <a:gd name="connsiteX45" fmla="*/ 760412 w 2093119"/>
                    <a:gd name="connsiteY45" fmla="*/ 1008062 h 2749550"/>
                    <a:gd name="connsiteX46" fmla="*/ 742950 w 2093119"/>
                    <a:gd name="connsiteY46" fmla="*/ 928688 h 2749550"/>
                    <a:gd name="connsiteX47" fmla="*/ 777875 w 2093119"/>
                    <a:gd name="connsiteY47" fmla="*/ 840581 h 2749550"/>
                    <a:gd name="connsiteX48" fmla="*/ 829469 w 2093119"/>
                    <a:gd name="connsiteY48" fmla="*/ 814387 h 2749550"/>
                    <a:gd name="connsiteX49" fmla="*/ 834232 w 2093119"/>
                    <a:gd name="connsiteY49" fmla="*/ 649287 h 2749550"/>
                    <a:gd name="connsiteX50" fmla="*/ 857250 w 2093119"/>
                    <a:gd name="connsiteY50" fmla="*/ 584993 h 2749550"/>
                    <a:gd name="connsiteX51" fmla="*/ 894557 w 2093119"/>
                    <a:gd name="connsiteY51" fmla="*/ 532606 h 2749550"/>
                    <a:gd name="connsiteX52" fmla="*/ 902494 w 2093119"/>
                    <a:gd name="connsiteY52" fmla="*/ 459581 h 2749550"/>
                    <a:gd name="connsiteX53" fmla="*/ 934244 w 2093119"/>
                    <a:gd name="connsiteY53" fmla="*/ 454819 h 2749550"/>
                    <a:gd name="connsiteX54" fmla="*/ 965201 w 2093119"/>
                    <a:gd name="connsiteY54" fmla="*/ 415925 h 2749550"/>
                    <a:gd name="connsiteX55" fmla="*/ 935038 w 2093119"/>
                    <a:gd name="connsiteY55" fmla="*/ 223043 h 2749550"/>
                    <a:gd name="connsiteX56" fmla="*/ 975519 w 2093119"/>
                    <a:gd name="connsiteY56" fmla="*/ 184150 h 2749550"/>
                    <a:gd name="connsiteX0" fmla="*/ 975519 w 2093119"/>
                    <a:gd name="connsiteY0" fmla="*/ 184150 h 2749550"/>
                    <a:gd name="connsiteX1" fmla="*/ 1108869 w 2093119"/>
                    <a:gd name="connsiteY1" fmla="*/ 38100 h 2749550"/>
                    <a:gd name="connsiteX2" fmla="*/ 1369219 w 2093119"/>
                    <a:gd name="connsiteY2" fmla="*/ 0 h 2749550"/>
                    <a:gd name="connsiteX3" fmla="*/ 1756569 w 2093119"/>
                    <a:gd name="connsiteY3" fmla="*/ 190500 h 2749550"/>
                    <a:gd name="connsiteX4" fmla="*/ 1902619 w 2093119"/>
                    <a:gd name="connsiteY4" fmla="*/ 514350 h 2749550"/>
                    <a:gd name="connsiteX5" fmla="*/ 2093119 w 2093119"/>
                    <a:gd name="connsiteY5" fmla="*/ 730250 h 2749550"/>
                    <a:gd name="connsiteX6" fmla="*/ 2086769 w 2093119"/>
                    <a:gd name="connsiteY6" fmla="*/ 1085850 h 2749550"/>
                    <a:gd name="connsiteX7" fmla="*/ 1953419 w 2093119"/>
                    <a:gd name="connsiteY7" fmla="*/ 1308100 h 2749550"/>
                    <a:gd name="connsiteX8" fmla="*/ 1680369 w 2093119"/>
                    <a:gd name="connsiteY8" fmla="*/ 1485900 h 2749550"/>
                    <a:gd name="connsiteX9" fmla="*/ 1458119 w 2093119"/>
                    <a:gd name="connsiteY9" fmla="*/ 1885950 h 2749550"/>
                    <a:gd name="connsiteX10" fmla="*/ 1293019 w 2093119"/>
                    <a:gd name="connsiteY10" fmla="*/ 2279650 h 2749550"/>
                    <a:gd name="connsiteX11" fmla="*/ 1077119 w 2093119"/>
                    <a:gd name="connsiteY11" fmla="*/ 2552700 h 2749550"/>
                    <a:gd name="connsiteX12" fmla="*/ 785019 w 2093119"/>
                    <a:gd name="connsiteY12" fmla="*/ 2749550 h 2749550"/>
                    <a:gd name="connsiteX13" fmla="*/ 467519 w 2093119"/>
                    <a:gd name="connsiteY13" fmla="*/ 2730500 h 2749550"/>
                    <a:gd name="connsiteX14" fmla="*/ 238919 w 2093119"/>
                    <a:gd name="connsiteY14" fmla="*/ 2616200 h 2749550"/>
                    <a:gd name="connsiteX15" fmla="*/ 156369 w 2093119"/>
                    <a:gd name="connsiteY15" fmla="*/ 2387600 h 2749550"/>
                    <a:gd name="connsiteX16" fmla="*/ 61119 w 2093119"/>
                    <a:gd name="connsiteY16" fmla="*/ 2228850 h 2749550"/>
                    <a:gd name="connsiteX17" fmla="*/ 48419 w 2093119"/>
                    <a:gd name="connsiteY17" fmla="*/ 2076450 h 2749550"/>
                    <a:gd name="connsiteX18" fmla="*/ 36513 w 2093119"/>
                    <a:gd name="connsiteY18" fmla="*/ 1991519 h 2749550"/>
                    <a:gd name="connsiteX19" fmla="*/ 0 w 2093119"/>
                    <a:gd name="connsiteY19" fmla="*/ 1970088 h 2749550"/>
                    <a:gd name="connsiteX20" fmla="*/ 31750 w 2093119"/>
                    <a:gd name="connsiteY20" fmla="*/ 1910556 h 2749550"/>
                    <a:gd name="connsiteX21" fmla="*/ 11112 w 2093119"/>
                    <a:gd name="connsiteY21" fmla="*/ 1900237 h 2749550"/>
                    <a:gd name="connsiteX22" fmla="*/ 30957 w 2093119"/>
                    <a:gd name="connsiteY22" fmla="*/ 1851819 h 2749550"/>
                    <a:gd name="connsiteX23" fmla="*/ 129382 w 2093119"/>
                    <a:gd name="connsiteY23" fmla="*/ 1877219 h 2749550"/>
                    <a:gd name="connsiteX24" fmla="*/ 200026 w 2093119"/>
                    <a:gd name="connsiteY24" fmla="*/ 1883569 h 2749550"/>
                    <a:gd name="connsiteX25" fmla="*/ 221456 w 2093119"/>
                    <a:gd name="connsiteY25" fmla="*/ 1959768 h 2749550"/>
                    <a:gd name="connsiteX26" fmla="*/ 240507 w 2093119"/>
                    <a:gd name="connsiteY26" fmla="*/ 1876425 h 2749550"/>
                    <a:gd name="connsiteX27" fmla="*/ 259557 w 2093119"/>
                    <a:gd name="connsiteY27" fmla="*/ 1814513 h 2749550"/>
                    <a:gd name="connsiteX28" fmla="*/ 369094 w 2093119"/>
                    <a:gd name="connsiteY28" fmla="*/ 1766093 h 2749550"/>
                    <a:gd name="connsiteX29" fmla="*/ 414339 w 2093119"/>
                    <a:gd name="connsiteY29" fmla="*/ 1657350 h 2749550"/>
                    <a:gd name="connsiteX30" fmla="*/ 523875 w 2093119"/>
                    <a:gd name="connsiteY30" fmla="*/ 1554956 h 2749550"/>
                    <a:gd name="connsiteX31" fmla="*/ 633413 w 2093119"/>
                    <a:gd name="connsiteY31" fmla="*/ 1538288 h 2749550"/>
                    <a:gd name="connsiteX32" fmla="*/ 641350 w 2093119"/>
                    <a:gd name="connsiteY32" fmla="*/ 1470025 h 2749550"/>
                    <a:gd name="connsiteX33" fmla="*/ 737394 w 2093119"/>
                    <a:gd name="connsiteY33" fmla="*/ 1397000 h 2749550"/>
                    <a:gd name="connsiteX34" fmla="*/ 808832 w 2093119"/>
                    <a:gd name="connsiteY34" fmla="*/ 1402556 h 2749550"/>
                    <a:gd name="connsiteX35" fmla="*/ 901700 w 2093119"/>
                    <a:gd name="connsiteY35" fmla="*/ 1426369 h 2749550"/>
                    <a:gd name="connsiteX36" fmla="*/ 935037 w 2093119"/>
                    <a:gd name="connsiteY36" fmla="*/ 1323975 h 2749550"/>
                    <a:gd name="connsiteX37" fmla="*/ 1052512 w 2093119"/>
                    <a:gd name="connsiteY37" fmla="*/ 1235075 h 2749550"/>
                    <a:gd name="connsiteX38" fmla="*/ 992982 w 2093119"/>
                    <a:gd name="connsiteY38" fmla="*/ 1209675 h 2749550"/>
                    <a:gd name="connsiteX39" fmla="*/ 933450 w 2093119"/>
                    <a:gd name="connsiteY39" fmla="*/ 1212056 h 2749550"/>
                    <a:gd name="connsiteX40" fmla="*/ 916782 w 2093119"/>
                    <a:gd name="connsiteY40" fmla="*/ 1176338 h 2749550"/>
                    <a:gd name="connsiteX41" fmla="*/ 866775 w 2093119"/>
                    <a:gd name="connsiteY41" fmla="*/ 1162050 h 2749550"/>
                    <a:gd name="connsiteX42" fmla="*/ 819150 w 2093119"/>
                    <a:gd name="connsiteY42" fmla="*/ 1138238 h 2749550"/>
                    <a:gd name="connsiteX43" fmla="*/ 766763 w 2093119"/>
                    <a:gd name="connsiteY43" fmla="*/ 1133475 h 2749550"/>
                    <a:gd name="connsiteX44" fmla="*/ 749301 w 2093119"/>
                    <a:gd name="connsiteY44" fmla="*/ 1109663 h 2749550"/>
                    <a:gd name="connsiteX45" fmla="*/ 732631 w 2093119"/>
                    <a:gd name="connsiteY45" fmla="*/ 1039813 h 2749550"/>
                    <a:gd name="connsiteX46" fmla="*/ 760412 w 2093119"/>
                    <a:gd name="connsiteY46" fmla="*/ 1008062 h 2749550"/>
                    <a:gd name="connsiteX47" fmla="*/ 742950 w 2093119"/>
                    <a:gd name="connsiteY47" fmla="*/ 928688 h 2749550"/>
                    <a:gd name="connsiteX48" fmla="*/ 777875 w 2093119"/>
                    <a:gd name="connsiteY48" fmla="*/ 840581 h 2749550"/>
                    <a:gd name="connsiteX49" fmla="*/ 829469 w 2093119"/>
                    <a:gd name="connsiteY49" fmla="*/ 814387 h 2749550"/>
                    <a:gd name="connsiteX50" fmla="*/ 834232 w 2093119"/>
                    <a:gd name="connsiteY50" fmla="*/ 649287 h 2749550"/>
                    <a:gd name="connsiteX51" fmla="*/ 857250 w 2093119"/>
                    <a:gd name="connsiteY51" fmla="*/ 584993 h 2749550"/>
                    <a:gd name="connsiteX52" fmla="*/ 894557 w 2093119"/>
                    <a:gd name="connsiteY52" fmla="*/ 532606 h 2749550"/>
                    <a:gd name="connsiteX53" fmla="*/ 902494 w 2093119"/>
                    <a:gd name="connsiteY53" fmla="*/ 459581 h 2749550"/>
                    <a:gd name="connsiteX54" fmla="*/ 934244 w 2093119"/>
                    <a:gd name="connsiteY54" fmla="*/ 454819 h 2749550"/>
                    <a:gd name="connsiteX55" fmla="*/ 965201 w 2093119"/>
                    <a:gd name="connsiteY55" fmla="*/ 415925 h 2749550"/>
                    <a:gd name="connsiteX56" fmla="*/ 935038 w 2093119"/>
                    <a:gd name="connsiteY56" fmla="*/ 223043 h 2749550"/>
                    <a:gd name="connsiteX57" fmla="*/ 975519 w 2093119"/>
                    <a:gd name="connsiteY57" fmla="*/ 184150 h 27495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2093119" h="2749550">
                      <a:moveTo>
                        <a:pt x="975519" y="184150"/>
                      </a:moveTo>
                      <a:lnTo>
                        <a:pt x="1108869" y="38100"/>
                      </a:lnTo>
                      <a:lnTo>
                        <a:pt x="1369219" y="0"/>
                      </a:lnTo>
                      <a:lnTo>
                        <a:pt x="1756569" y="190500"/>
                      </a:lnTo>
                      <a:lnTo>
                        <a:pt x="1902619" y="514350"/>
                      </a:lnTo>
                      <a:lnTo>
                        <a:pt x="2093119" y="730250"/>
                      </a:lnTo>
                      <a:lnTo>
                        <a:pt x="2086769" y="1085850"/>
                      </a:lnTo>
                      <a:lnTo>
                        <a:pt x="1953419" y="1308100"/>
                      </a:lnTo>
                      <a:lnTo>
                        <a:pt x="1680369" y="1485900"/>
                      </a:lnTo>
                      <a:lnTo>
                        <a:pt x="1458119" y="1885950"/>
                      </a:lnTo>
                      <a:lnTo>
                        <a:pt x="1293019" y="2279650"/>
                      </a:lnTo>
                      <a:lnTo>
                        <a:pt x="1077119" y="2552700"/>
                      </a:lnTo>
                      <a:lnTo>
                        <a:pt x="785019" y="2749550"/>
                      </a:lnTo>
                      <a:lnTo>
                        <a:pt x="467519" y="2730500"/>
                      </a:lnTo>
                      <a:lnTo>
                        <a:pt x="238919" y="2616200"/>
                      </a:lnTo>
                      <a:lnTo>
                        <a:pt x="156369" y="2387600"/>
                      </a:lnTo>
                      <a:lnTo>
                        <a:pt x="61119" y="2228850"/>
                      </a:lnTo>
                      <a:lnTo>
                        <a:pt x="48419" y="2076450"/>
                      </a:lnTo>
                      <a:lnTo>
                        <a:pt x="36513" y="1991519"/>
                      </a:lnTo>
                      <a:lnTo>
                        <a:pt x="0" y="1970088"/>
                      </a:lnTo>
                      <a:lnTo>
                        <a:pt x="31750" y="1910556"/>
                      </a:lnTo>
                      <a:lnTo>
                        <a:pt x="11112" y="1900237"/>
                      </a:lnTo>
                      <a:lnTo>
                        <a:pt x="30957" y="1851819"/>
                      </a:lnTo>
                      <a:lnTo>
                        <a:pt x="129382" y="1877219"/>
                      </a:lnTo>
                      <a:cubicBezTo>
                        <a:pt x="156766" y="1875764"/>
                        <a:pt x="178330" y="1894020"/>
                        <a:pt x="200026" y="1883569"/>
                      </a:cubicBezTo>
                      <a:cubicBezTo>
                        <a:pt x="216562" y="1879071"/>
                        <a:pt x="211534" y="1971277"/>
                        <a:pt x="221456" y="1959768"/>
                      </a:cubicBezTo>
                      <a:cubicBezTo>
                        <a:pt x="228203" y="1958577"/>
                        <a:pt x="234157" y="1900634"/>
                        <a:pt x="240507" y="1876425"/>
                      </a:cubicBezTo>
                      <a:cubicBezTo>
                        <a:pt x="246857" y="1852216"/>
                        <a:pt x="238126" y="1832902"/>
                        <a:pt x="259557" y="1814513"/>
                      </a:cubicBezTo>
                      <a:lnTo>
                        <a:pt x="369094" y="1766093"/>
                      </a:lnTo>
                      <a:lnTo>
                        <a:pt x="414339" y="1657350"/>
                      </a:lnTo>
                      <a:lnTo>
                        <a:pt x="523875" y="1554956"/>
                      </a:lnTo>
                      <a:lnTo>
                        <a:pt x="633413" y="1538288"/>
                      </a:lnTo>
                      <a:lnTo>
                        <a:pt x="641350" y="1470025"/>
                      </a:lnTo>
                      <a:lnTo>
                        <a:pt x="737394" y="1397000"/>
                      </a:lnTo>
                      <a:lnTo>
                        <a:pt x="808832" y="1402556"/>
                      </a:lnTo>
                      <a:lnTo>
                        <a:pt x="901700" y="1426369"/>
                      </a:lnTo>
                      <a:lnTo>
                        <a:pt x="935037" y="1323975"/>
                      </a:lnTo>
                      <a:lnTo>
                        <a:pt x="1052512" y="1235075"/>
                      </a:lnTo>
                      <a:cubicBezTo>
                        <a:pt x="1077647" y="1219200"/>
                        <a:pt x="1012826" y="1213511"/>
                        <a:pt x="992982" y="1209675"/>
                      </a:cubicBezTo>
                      <a:cubicBezTo>
                        <a:pt x="973138" y="1205839"/>
                        <a:pt x="946150" y="1219200"/>
                        <a:pt x="933450" y="1212056"/>
                      </a:cubicBezTo>
                      <a:cubicBezTo>
                        <a:pt x="907256" y="1203457"/>
                        <a:pt x="927895" y="1184672"/>
                        <a:pt x="916782" y="1176338"/>
                      </a:cubicBezTo>
                      <a:cubicBezTo>
                        <a:pt x="905670" y="1168004"/>
                        <a:pt x="879475" y="1169590"/>
                        <a:pt x="866775" y="1162050"/>
                      </a:cubicBezTo>
                      <a:cubicBezTo>
                        <a:pt x="848519" y="1156494"/>
                        <a:pt x="837406" y="1143794"/>
                        <a:pt x="819150" y="1138238"/>
                      </a:cubicBezTo>
                      <a:lnTo>
                        <a:pt x="766763" y="1133475"/>
                      </a:lnTo>
                      <a:lnTo>
                        <a:pt x="749301" y="1109663"/>
                      </a:lnTo>
                      <a:lnTo>
                        <a:pt x="732631" y="1039813"/>
                      </a:lnTo>
                      <a:lnTo>
                        <a:pt x="760412" y="1008062"/>
                      </a:lnTo>
                      <a:lnTo>
                        <a:pt x="742950" y="928688"/>
                      </a:lnTo>
                      <a:cubicBezTo>
                        <a:pt x="745067" y="903288"/>
                        <a:pt x="763455" y="859631"/>
                        <a:pt x="777875" y="840581"/>
                      </a:cubicBezTo>
                      <a:cubicBezTo>
                        <a:pt x="792295" y="821531"/>
                        <a:pt x="776552" y="873125"/>
                        <a:pt x="829469" y="814387"/>
                      </a:cubicBezTo>
                      <a:lnTo>
                        <a:pt x="834232" y="649287"/>
                      </a:lnTo>
                      <a:lnTo>
                        <a:pt x="857250" y="584993"/>
                      </a:lnTo>
                      <a:lnTo>
                        <a:pt x="894557" y="532606"/>
                      </a:lnTo>
                      <a:lnTo>
                        <a:pt x="902494" y="459581"/>
                      </a:lnTo>
                      <a:lnTo>
                        <a:pt x="934244" y="454819"/>
                      </a:lnTo>
                      <a:lnTo>
                        <a:pt x="965201" y="415925"/>
                      </a:lnTo>
                      <a:lnTo>
                        <a:pt x="935038" y="223043"/>
                      </a:lnTo>
                      <a:lnTo>
                        <a:pt x="975519" y="184150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89" name="Freeform 88"/>
                <p:cNvSpPr/>
                <p:nvPr/>
              </p:nvSpPr>
              <p:spPr>
                <a:xfrm>
                  <a:off x="4550568" y="1631156"/>
                  <a:ext cx="1631933" cy="881061"/>
                </a:xfrm>
                <a:custGeom>
                  <a:avLst/>
                  <a:gdLst>
                    <a:gd name="connsiteX0" fmla="*/ 938212 w 938212"/>
                    <a:gd name="connsiteY0" fmla="*/ 450057 h 916782"/>
                    <a:gd name="connsiteX1" fmla="*/ 881062 w 938212"/>
                    <a:gd name="connsiteY1" fmla="*/ 509588 h 916782"/>
                    <a:gd name="connsiteX2" fmla="*/ 785812 w 938212"/>
                    <a:gd name="connsiteY2" fmla="*/ 569119 h 916782"/>
                    <a:gd name="connsiteX3" fmla="*/ 740569 w 938212"/>
                    <a:gd name="connsiteY3" fmla="*/ 607219 h 916782"/>
                    <a:gd name="connsiteX4" fmla="*/ 681037 w 938212"/>
                    <a:gd name="connsiteY4" fmla="*/ 623888 h 916782"/>
                    <a:gd name="connsiteX5" fmla="*/ 661987 w 938212"/>
                    <a:gd name="connsiteY5" fmla="*/ 638175 h 916782"/>
                    <a:gd name="connsiteX6" fmla="*/ 623887 w 938212"/>
                    <a:gd name="connsiteY6" fmla="*/ 669132 h 916782"/>
                    <a:gd name="connsiteX7" fmla="*/ 595312 w 938212"/>
                    <a:gd name="connsiteY7" fmla="*/ 700088 h 916782"/>
                    <a:gd name="connsiteX8" fmla="*/ 590550 w 938212"/>
                    <a:gd name="connsiteY8" fmla="*/ 754857 h 916782"/>
                    <a:gd name="connsiteX9" fmla="*/ 533400 w 938212"/>
                    <a:gd name="connsiteY9" fmla="*/ 835819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85812 w 938212"/>
                    <a:gd name="connsiteY2" fmla="*/ 569119 h 916782"/>
                    <a:gd name="connsiteX3" fmla="*/ 740569 w 938212"/>
                    <a:gd name="connsiteY3" fmla="*/ 607219 h 916782"/>
                    <a:gd name="connsiteX4" fmla="*/ 681037 w 938212"/>
                    <a:gd name="connsiteY4" fmla="*/ 623888 h 916782"/>
                    <a:gd name="connsiteX5" fmla="*/ 661987 w 938212"/>
                    <a:gd name="connsiteY5" fmla="*/ 638175 h 916782"/>
                    <a:gd name="connsiteX6" fmla="*/ 623887 w 938212"/>
                    <a:gd name="connsiteY6" fmla="*/ 669132 h 916782"/>
                    <a:gd name="connsiteX7" fmla="*/ 595312 w 938212"/>
                    <a:gd name="connsiteY7" fmla="*/ 700088 h 916782"/>
                    <a:gd name="connsiteX8" fmla="*/ 590550 w 938212"/>
                    <a:gd name="connsiteY8" fmla="*/ 754857 h 916782"/>
                    <a:gd name="connsiteX9" fmla="*/ 533400 w 938212"/>
                    <a:gd name="connsiteY9" fmla="*/ 835819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0569 w 938212"/>
                    <a:gd name="connsiteY3" fmla="*/ 607219 h 916782"/>
                    <a:gd name="connsiteX4" fmla="*/ 681037 w 938212"/>
                    <a:gd name="connsiteY4" fmla="*/ 623888 h 916782"/>
                    <a:gd name="connsiteX5" fmla="*/ 661987 w 938212"/>
                    <a:gd name="connsiteY5" fmla="*/ 638175 h 916782"/>
                    <a:gd name="connsiteX6" fmla="*/ 623887 w 938212"/>
                    <a:gd name="connsiteY6" fmla="*/ 669132 h 916782"/>
                    <a:gd name="connsiteX7" fmla="*/ 595312 w 938212"/>
                    <a:gd name="connsiteY7" fmla="*/ 700088 h 916782"/>
                    <a:gd name="connsiteX8" fmla="*/ 590550 w 938212"/>
                    <a:gd name="connsiteY8" fmla="*/ 754857 h 916782"/>
                    <a:gd name="connsiteX9" fmla="*/ 533400 w 938212"/>
                    <a:gd name="connsiteY9" fmla="*/ 835819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681037 w 938212"/>
                    <a:gd name="connsiteY4" fmla="*/ 623888 h 916782"/>
                    <a:gd name="connsiteX5" fmla="*/ 661987 w 938212"/>
                    <a:gd name="connsiteY5" fmla="*/ 638175 h 916782"/>
                    <a:gd name="connsiteX6" fmla="*/ 623887 w 938212"/>
                    <a:gd name="connsiteY6" fmla="*/ 669132 h 916782"/>
                    <a:gd name="connsiteX7" fmla="*/ 595312 w 938212"/>
                    <a:gd name="connsiteY7" fmla="*/ 700088 h 916782"/>
                    <a:gd name="connsiteX8" fmla="*/ 590550 w 938212"/>
                    <a:gd name="connsiteY8" fmla="*/ 754857 h 916782"/>
                    <a:gd name="connsiteX9" fmla="*/ 533400 w 938212"/>
                    <a:gd name="connsiteY9" fmla="*/ 835819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61987 w 938212"/>
                    <a:gd name="connsiteY5" fmla="*/ 638175 h 916782"/>
                    <a:gd name="connsiteX6" fmla="*/ 623887 w 938212"/>
                    <a:gd name="connsiteY6" fmla="*/ 669132 h 916782"/>
                    <a:gd name="connsiteX7" fmla="*/ 595312 w 938212"/>
                    <a:gd name="connsiteY7" fmla="*/ 700088 h 916782"/>
                    <a:gd name="connsiteX8" fmla="*/ 590550 w 938212"/>
                    <a:gd name="connsiteY8" fmla="*/ 754857 h 916782"/>
                    <a:gd name="connsiteX9" fmla="*/ 533400 w 938212"/>
                    <a:gd name="connsiteY9" fmla="*/ 835819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23887 w 938212"/>
                    <a:gd name="connsiteY6" fmla="*/ 669132 h 916782"/>
                    <a:gd name="connsiteX7" fmla="*/ 595312 w 938212"/>
                    <a:gd name="connsiteY7" fmla="*/ 700088 h 916782"/>
                    <a:gd name="connsiteX8" fmla="*/ 590550 w 938212"/>
                    <a:gd name="connsiteY8" fmla="*/ 754857 h 916782"/>
                    <a:gd name="connsiteX9" fmla="*/ 533400 w 938212"/>
                    <a:gd name="connsiteY9" fmla="*/ 835819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595312 w 938212"/>
                    <a:gd name="connsiteY7" fmla="*/ 700088 h 916782"/>
                    <a:gd name="connsiteX8" fmla="*/ 590550 w 938212"/>
                    <a:gd name="connsiteY8" fmla="*/ 754857 h 916782"/>
                    <a:gd name="connsiteX9" fmla="*/ 533400 w 938212"/>
                    <a:gd name="connsiteY9" fmla="*/ 835819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90550 w 938212"/>
                    <a:gd name="connsiteY8" fmla="*/ 754857 h 916782"/>
                    <a:gd name="connsiteX9" fmla="*/ 533400 w 938212"/>
                    <a:gd name="connsiteY9" fmla="*/ 835819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78643 w 938212"/>
                    <a:gd name="connsiteY8" fmla="*/ 623889 h 916782"/>
                    <a:gd name="connsiteX9" fmla="*/ 533400 w 938212"/>
                    <a:gd name="connsiteY9" fmla="*/ 835819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78643 w 938212"/>
                    <a:gd name="connsiteY8" fmla="*/ 623889 h 916782"/>
                    <a:gd name="connsiteX9" fmla="*/ 542925 w 938212"/>
                    <a:gd name="connsiteY9" fmla="*/ 628651 h 916782"/>
                    <a:gd name="connsiteX10" fmla="*/ 495300 w 938212"/>
                    <a:gd name="connsiteY10" fmla="*/ 8905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78643 w 938212"/>
                    <a:gd name="connsiteY8" fmla="*/ 623889 h 916782"/>
                    <a:gd name="connsiteX9" fmla="*/ 542925 w 938212"/>
                    <a:gd name="connsiteY9" fmla="*/ 628651 h 916782"/>
                    <a:gd name="connsiteX10" fmla="*/ 545306 w 938212"/>
                    <a:gd name="connsiteY10" fmla="*/ 700088 h 916782"/>
                    <a:gd name="connsiteX11" fmla="*/ 395287 w 938212"/>
                    <a:gd name="connsiteY11" fmla="*/ 914400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78643 w 938212"/>
                    <a:gd name="connsiteY8" fmla="*/ 623889 h 916782"/>
                    <a:gd name="connsiteX9" fmla="*/ 542925 w 938212"/>
                    <a:gd name="connsiteY9" fmla="*/ 628651 h 916782"/>
                    <a:gd name="connsiteX10" fmla="*/ 545306 w 938212"/>
                    <a:gd name="connsiteY10" fmla="*/ 700088 h 916782"/>
                    <a:gd name="connsiteX11" fmla="*/ 450056 w 938212"/>
                    <a:gd name="connsiteY11" fmla="*/ 881062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35719 w 938212"/>
                    <a:gd name="connsiteY28" fmla="*/ 340519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78643 w 938212"/>
                    <a:gd name="connsiteY8" fmla="*/ 623889 h 916782"/>
                    <a:gd name="connsiteX9" fmla="*/ 542925 w 938212"/>
                    <a:gd name="connsiteY9" fmla="*/ 628651 h 916782"/>
                    <a:gd name="connsiteX10" fmla="*/ 545306 w 938212"/>
                    <a:gd name="connsiteY10" fmla="*/ 700088 h 916782"/>
                    <a:gd name="connsiteX11" fmla="*/ 450056 w 938212"/>
                    <a:gd name="connsiteY11" fmla="*/ 881062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50006 w 938212"/>
                    <a:gd name="connsiteY27" fmla="*/ 373857 h 916782"/>
                    <a:gd name="connsiteX28" fmla="*/ 97632 w 938212"/>
                    <a:gd name="connsiteY28" fmla="*/ 342901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78643 w 938212"/>
                    <a:gd name="connsiteY8" fmla="*/ 623889 h 916782"/>
                    <a:gd name="connsiteX9" fmla="*/ 542925 w 938212"/>
                    <a:gd name="connsiteY9" fmla="*/ 628651 h 916782"/>
                    <a:gd name="connsiteX10" fmla="*/ 545306 w 938212"/>
                    <a:gd name="connsiteY10" fmla="*/ 700088 h 916782"/>
                    <a:gd name="connsiteX11" fmla="*/ 450056 w 938212"/>
                    <a:gd name="connsiteY11" fmla="*/ 881062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64294 w 938212"/>
                    <a:gd name="connsiteY26" fmla="*/ 416719 h 916782"/>
                    <a:gd name="connsiteX27" fmla="*/ 123824 w 938212"/>
                    <a:gd name="connsiteY27" fmla="*/ 373857 h 916782"/>
                    <a:gd name="connsiteX28" fmla="*/ 97632 w 938212"/>
                    <a:gd name="connsiteY28" fmla="*/ 342901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78643 w 938212"/>
                    <a:gd name="connsiteY8" fmla="*/ 623889 h 916782"/>
                    <a:gd name="connsiteX9" fmla="*/ 542925 w 938212"/>
                    <a:gd name="connsiteY9" fmla="*/ 628651 h 916782"/>
                    <a:gd name="connsiteX10" fmla="*/ 545306 w 938212"/>
                    <a:gd name="connsiteY10" fmla="*/ 700088 h 916782"/>
                    <a:gd name="connsiteX11" fmla="*/ 450056 w 938212"/>
                    <a:gd name="connsiteY11" fmla="*/ 881062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69056 w 938212"/>
                    <a:gd name="connsiteY25" fmla="*/ 473869 h 916782"/>
                    <a:gd name="connsiteX26" fmla="*/ 145256 w 938212"/>
                    <a:gd name="connsiteY26" fmla="*/ 400050 h 916782"/>
                    <a:gd name="connsiteX27" fmla="*/ 123824 w 938212"/>
                    <a:gd name="connsiteY27" fmla="*/ 373857 h 916782"/>
                    <a:gd name="connsiteX28" fmla="*/ 97632 w 938212"/>
                    <a:gd name="connsiteY28" fmla="*/ 342901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78643 w 938212"/>
                    <a:gd name="connsiteY8" fmla="*/ 623889 h 916782"/>
                    <a:gd name="connsiteX9" fmla="*/ 542925 w 938212"/>
                    <a:gd name="connsiteY9" fmla="*/ 628651 h 916782"/>
                    <a:gd name="connsiteX10" fmla="*/ 545306 w 938212"/>
                    <a:gd name="connsiteY10" fmla="*/ 700088 h 916782"/>
                    <a:gd name="connsiteX11" fmla="*/ 450056 w 938212"/>
                    <a:gd name="connsiteY11" fmla="*/ 881062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21431 w 938212"/>
                    <a:gd name="connsiteY24" fmla="*/ 533400 h 916782"/>
                    <a:gd name="connsiteX25" fmla="*/ 83343 w 938212"/>
                    <a:gd name="connsiteY25" fmla="*/ 473869 h 916782"/>
                    <a:gd name="connsiteX26" fmla="*/ 145256 w 938212"/>
                    <a:gd name="connsiteY26" fmla="*/ 400050 h 916782"/>
                    <a:gd name="connsiteX27" fmla="*/ 123824 w 938212"/>
                    <a:gd name="connsiteY27" fmla="*/ 373857 h 916782"/>
                    <a:gd name="connsiteX28" fmla="*/ 97632 w 938212"/>
                    <a:gd name="connsiteY28" fmla="*/ 342901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38212 w 938212"/>
                    <a:gd name="connsiteY0" fmla="*/ 450057 h 916782"/>
                    <a:gd name="connsiteX1" fmla="*/ 814387 w 938212"/>
                    <a:gd name="connsiteY1" fmla="*/ 495300 h 916782"/>
                    <a:gd name="connsiteX2" fmla="*/ 771524 w 938212"/>
                    <a:gd name="connsiteY2" fmla="*/ 492919 h 916782"/>
                    <a:gd name="connsiteX3" fmla="*/ 742950 w 938212"/>
                    <a:gd name="connsiteY3" fmla="*/ 511969 h 916782"/>
                    <a:gd name="connsiteX4" fmla="*/ 733425 w 938212"/>
                    <a:gd name="connsiteY4" fmla="*/ 566738 h 916782"/>
                    <a:gd name="connsiteX5" fmla="*/ 690562 w 938212"/>
                    <a:gd name="connsiteY5" fmla="*/ 538163 h 916782"/>
                    <a:gd name="connsiteX6" fmla="*/ 652462 w 938212"/>
                    <a:gd name="connsiteY6" fmla="*/ 583407 h 916782"/>
                    <a:gd name="connsiteX7" fmla="*/ 640556 w 938212"/>
                    <a:gd name="connsiteY7" fmla="*/ 550069 h 916782"/>
                    <a:gd name="connsiteX8" fmla="*/ 578643 w 938212"/>
                    <a:gd name="connsiteY8" fmla="*/ 623889 h 916782"/>
                    <a:gd name="connsiteX9" fmla="*/ 542925 w 938212"/>
                    <a:gd name="connsiteY9" fmla="*/ 628651 h 916782"/>
                    <a:gd name="connsiteX10" fmla="*/ 545306 w 938212"/>
                    <a:gd name="connsiteY10" fmla="*/ 700088 h 916782"/>
                    <a:gd name="connsiteX11" fmla="*/ 450056 w 938212"/>
                    <a:gd name="connsiteY11" fmla="*/ 881062 h 916782"/>
                    <a:gd name="connsiteX12" fmla="*/ 350044 w 938212"/>
                    <a:gd name="connsiteY12" fmla="*/ 916782 h 916782"/>
                    <a:gd name="connsiteX13" fmla="*/ 264319 w 938212"/>
                    <a:gd name="connsiteY13" fmla="*/ 907257 h 916782"/>
                    <a:gd name="connsiteX14" fmla="*/ 245269 w 938212"/>
                    <a:gd name="connsiteY14" fmla="*/ 904875 h 916782"/>
                    <a:gd name="connsiteX15" fmla="*/ 183356 w 938212"/>
                    <a:gd name="connsiteY15" fmla="*/ 878682 h 916782"/>
                    <a:gd name="connsiteX16" fmla="*/ 166687 w 938212"/>
                    <a:gd name="connsiteY16" fmla="*/ 864394 h 916782"/>
                    <a:gd name="connsiteX17" fmla="*/ 140494 w 938212"/>
                    <a:gd name="connsiteY17" fmla="*/ 831057 h 916782"/>
                    <a:gd name="connsiteX18" fmla="*/ 123825 w 938212"/>
                    <a:gd name="connsiteY18" fmla="*/ 792957 h 916782"/>
                    <a:gd name="connsiteX19" fmla="*/ 95250 w 938212"/>
                    <a:gd name="connsiteY19" fmla="*/ 757238 h 916782"/>
                    <a:gd name="connsiteX20" fmla="*/ 59531 w 938212"/>
                    <a:gd name="connsiteY20" fmla="*/ 714375 h 916782"/>
                    <a:gd name="connsiteX21" fmla="*/ 50006 w 938212"/>
                    <a:gd name="connsiteY21" fmla="*/ 683419 h 916782"/>
                    <a:gd name="connsiteX22" fmla="*/ 16669 w 938212"/>
                    <a:gd name="connsiteY22" fmla="*/ 642938 h 916782"/>
                    <a:gd name="connsiteX23" fmla="*/ 0 w 938212"/>
                    <a:gd name="connsiteY23" fmla="*/ 588169 h 916782"/>
                    <a:gd name="connsiteX24" fmla="*/ 47624 w 938212"/>
                    <a:gd name="connsiteY24" fmla="*/ 581025 h 916782"/>
                    <a:gd name="connsiteX25" fmla="*/ 83343 w 938212"/>
                    <a:gd name="connsiteY25" fmla="*/ 473869 h 916782"/>
                    <a:gd name="connsiteX26" fmla="*/ 145256 w 938212"/>
                    <a:gd name="connsiteY26" fmla="*/ 400050 h 916782"/>
                    <a:gd name="connsiteX27" fmla="*/ 123824 w 938212"/>
                    <a:gd name="connsiteY27" fmla="*/ 373857 h 916782"/>
                    <a:gd name="connsiteX28" fmla="*/ 97632 w 938212"/>
                    <a:gd name="connsiteY28" fmla="*/ 342901 h 916782"/>
                    <a:gd name="connsiteX29" fmla="*/ 61912 w 938212"/>
                    <a:gd name="connsiteY29" fmla="*/ 264319 h 916782"/>
                    <a:gd name="connsiteX30" fmla="*/ 226219 w 938212"/>
                    <a:gd name="connsiteY30" fmla="*/ 138113 h 916782"/>
                    <a:gd name="connsiteX31" fmla="*/ 383381 w 938212"/>
                    <a:gd name="connsiteY31" fmla="*/ 54769 h 916782"/>
                    <a:gd name="connsiteX32" fmla="*/ 607219 w 938212"/>
                    <a:gd name="connsiteY32" fmla="*/ 7144 h 916782"/>
                    <a:gd name="connsiteX33" fmla="*/ 778669 w 938212"/>
                    <a:gd name="connsiteY33" fmla="*/ 0 h 916782"/>
                    <a:gd name="connsiteX34" fmla="*/ 826294 w 938212"/>
                    <a:gd name="connsiteY34" fmla="*/ 90488 h 916782"/>
                    <a:gd name="connsiteX35" fmla="*/ 850106 w 938212"/>
                    <a:gd name="connsiteY35" fmla="*/ 233363 h 916782"/>
                    <a:gd name="connsiteX36" fmla="*/ 938212 w 938212"/>
                    <a:gd name="connsiteY36" fmla="*/ 450057 h 916782"/>
                    <a:gd name="connsiteX0" fmla="*/ 921543 w 921543"/>
                    <a:gd name="connsiteY0" fmla="*/ 450057 h 916782"/>
                    <a:gd name="connsiteX1" fmla="*/ 797718 w 921543"/>
                    <a:gd name="connsiteY1" fmla="*/ 495300 h 916782"/>
                    <a:gd name="connsiteX2" fmla="*/ 754855 w 921543"/>
                    <a:gd name="connsiteY2" fmla="*/ 492919 h 916782"/>
                    <a:gd name="connsiteX3" fmla="*/ 726281 w 921543"/>
                    <a:gd name="connsiteY3" fmla="*/ 511969 h 916782"/>
                    <a:gd name="connsiteX4" fmla="*/ 716756 w 921543"/>
                    <a:gd name="connsiteY4" fmla="*/ 566738 h 916782"/>
                    <a:gd name="connsiteX5" fmla="*/ 673893 w 921543"/>
                    <a:gd name="connsiteY5" fmla="*/ 538163 h 916782"/>
                    <a:gd name="connsiteX6" fmla="*/ 635793 w 921543"/>
                    <a:gd name="connsiteY6" fmla="*/ 583407 h 916782"/>
                    <a:gd name="connsiteX7" fmla="*/ 623887 w 921543"/>
                    <a:gd name="connsiteY7" fmla="*/ 550069 h 916782"/>
                    <a:gd name="connsiteX8" fmla="*/ 561974 w 921543"/>
                    <a:gd name="connsiteY8" fmla="*/ 623889 h 916782"/>
                    <a:gd name="connsiteX9" fmla="*/ 526256 w 921543"/>
                    <a:gd name="connsiteY9" fmla="*/ 628651 h 916782"/>
                    <a:gd name="connsiteX10" fmla="*/ 528637 w 921543"/>
                    <a:gd name="connsiteY10" fmla="*/ 700088 h 916782"/>
                    <a:gd name="connsiteX11" fmla="*/ 433387 w 921543"/>
                    <a:gd name="connsiteY11" fmla="*/ 881062 h 916782"/>
                    <a:gd name="connsiteX12" fmla="*/ 333375 w 921543"/>
                    <a:gd name="connsiteY12" fmla="*/ 916782 h 916782"/>
                    <a:gd name="connsiteX13" fmla="*/ 247650 w 921543"/>
                    <a:gd name="connsiteY13" fmla="*/ 907257 h 916782"/>
                    <a:gd name="connsiteX14" fmla="*/ 228600 w 921543"/>
                    <a:gd name="connsiteY14" fmla="*/ 904875 h 916782"/>
                    <a:gd name="connsiteX15" fmla="*/ 166687 w 921543"/>
                    <a:gd name="connsiteY15" fmla="*/ 878682 h 916782"/>
                    <a:gd name="connsiteX16" fmla="*/ 150018 w 921543"/>
                    <a:gd name="connsiteY16" fmla="*/ 864394 h 916782"/>
                    <a:gd name="connsiteX17" fmla="*/ 123825 w 921543"/>
                    <a:gd name="connsiteY17" fmla="*/ 831057 h 916782"/>
                    <a:gd name="connsiteX18" fmla="*/ 107156 w 921543"/>
                    <a:gd name="connsiteY18" fmla="*/ 792957 h 916782"/>
                    <a:gd name="connsiteX19" fmla="*/ 78581 w 921543"/>
                    <a:gd name="connsiteY19" fmla="*/ 757238 h 916782"/>
                    <a:gd name="connsiteX20" fmla="*/ 42862 w 921543"/>
                    <a:gd name="connsiteY20" fmla="*/ 714375 h 916782"/>
                    <a:gd name="connsiteX21" fmla="*/ 33337 w 921543"/>
                    <a:gd name="connsiteY21" fmla="*/ 683419 h 916782"/>
                    <a:gd name="connsiteX22" fmla="*/ 0 w 921543"/>
                    <a:gd name="connsiteY22" fmla="*/ 642938 h 916782"/>
                    <a:gd name="connsiteX23" fmla="*/ 76200 w 921543"/>
                    <a:gd name="connsiteY23" fmla="*/ 616744 h 916782"/>
                    <a:gd name="connsiteX24" fmla="*/ 30955 w 921543"/>
                    <a:gd name="connsiteY24" fmla="*/ 581025 h 916782"/>
                    <a:gd name="connsiteX25" fmla="*/ 66674 w 921543"/>
                    <a:gd name="connsiteY25" fmla="*/ 473869 h 916782"/>
                    <a:gd name="connsiteX26" fmla="*/ 128587 w 921543"/>
                    <a:gd name="connsiteY26" fmla="*/ 400050 h 916782"/>
                    <a:gd name="connsiteX27" fmla="*/ 107155 w 921543"/>
                    <a:gd name="connsiteY27" fmla="*/ 373857 h 916782"/>
                    <a:gd name="connsiteX28" fmla="*/ 80963 w 921543"/>
                    <a:gd name="connsiteY28" fmla="*/ 342901 h 916782"/>
                    <a:gd name="connsiteX29" fmla="*/ 45243 w 921543"/>
                    <a:gd name="connsiteY29" fmla="*/ 264319 h 916782"/>
                    <a:gd name="connsiteX30" fmla="*/ 209550 w 921543"/>
                    <a:gd name="connsiteY30" fmla="*/ 138113 h 916782"/>
                    <a:gd name="connsiteX31" fmla="*/ 366712 w 921543"/>
                    <a:gd name="connsiteY31" fmla="*/ 54769 h 916782"/>
                    <a:gd name="connsiteX32" fmla="*/ 590550 w 921543"/>
                    <a:gd name="connsiteY32" fmla="*/ 7144 h 916782"/>
                    <a:gd name="connsiteX33" fmla="*/ 762000 w 921543"/>
                    <a:gd name="connsiteY33" fmla="*/ 0 h 916782"/>
                    <a:gd name="connsiteX34" fmla="*/ 809625 w 921543"/>
                    <a:gd name="connsiteY34" fmla="*/ 90488 h 916782"/>
                    <a:gd name="connsiteX35" fmla="*/ 833437 w 921543"/>
                    <a:gd name="connsiteY35" fmla="*/ 233363 h 916782"/>
                    <a:gd name="connsiteX36" fmla="*/ 921543 w 921543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216695 w 890588"/>
                    <a:gd name="connsiteY13" fmla="*/ 907257 h 916782"/>
                    <a:gd name="connsiteX14" fmla="*/ 197645 w 890588"/>
                    <a:gd name="connsiteY14" fmla="*/ 904875 h 916782"/>
                    <a:gd name="connsiteX15" fmla="*/ 135732 w 890588"/>
                    <a:gd name="connsiteY15" fmla="*/ 878682 h 916782"/>
                    <a:gd name="connsiteX16" fmla="*/ 119063 w 890588"/>
                    <a:gd name="connsiteY16" fmla="*/ 864394 h 916782"/>
                    <a:gd name="connsiteX17" fmla="*/ 92870 w 890588"/>
                    <a:gd name="connsiteY17" fmla="*/ 831057 h 916782"/>
                    <a:gd name="connsiteX18" fmla="*/ 76201 w 890588"/>
                    <a:gd name="connsiteY18" fmla="*/ 792957 h 916782"/>
                    <a:gd name="connsiteX19" fmla="*/ 47626 w 890588"/>
                    <a:gd name="connsiteY19" fmla="*/ 757238 h 916782"/>
                    <a:gd name="connsiteX20" fmla="*/ 11907 w 890588"/>
                    <a:gd name="connsiteY20" fmla="*/ 714375 h 916782"/>
                    <a:gd name="connsiteX21" fmla="*/ 2382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216695 w 890588"/>
                    <a:gd name="connsiteY13" fmla="*/ 907257 h 916782"/>
                    <a:gd name="connsiteX14" fmla="*/ 197645 w 890588"/>
                    <a:gd name="connsiteY14" fmla="*/ 904875 h 916782"/>
                    <a:gd name="connsiteX15" fmla="*/ 135732 w 890588"/>
                    <a:gd name="connsiteY15" fmla="*/ 878682 h 916782"/>
                    <a:gd name="connsiteX16" fmla="*/ 119063 w 890588"/>
                    <a:gd name="connsiteY16" fmla="*/ 864394 h 916782"/>
                    <a:gd name="connsiteX17" fmla="*/ 92870 w 890588"/>
                    <a:gd name="connsiteY17" fmla="*/ 831057 h 916782"/>
                    <a:gd name="connsiteX18" fmla="*/ 76201 w 890588"/>
                    <a:gd name="connsiteY18" fmla="*/ 792957 h 916782"/>
                    <a:gd name="connsiteX19" fmla="*/ 47626 w 890588"/>
                    <a:gd name="connsiteY19" fmla="*/ 757238 h 916782"/>
                    <a:gd name="connsiteX20" fmla="*/ 11907 w 890588"/>
                    <a:gd name="connsiteY20" fmla="*/ 714375 h 916782"/>
                    <a:gd name="connsiteX21" fmla="*/ 121444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216695 w 890588"/>
                    <a:gd name="connsiteY13" fmla="*/ 907257 h 916782"/>
                    <a:gd name="connsiteX14" fmla="*/ 197645 w 890588"/>
                    <a:gd name="connsiteY14" fmla="*/ 904875 h 916782"/>
                    <a:gd name="connsiteX15" fmla="*/ 135732 w 890588"/>
                    <a:gd name="connsiteY15" fmla="*/ 878682 h 916782"/>
                    <a:gd name="connsiteX16" fmla="*/ 119063 w 890588"/>
                    <a:gd name="connsiteY16" fmla="*/ 864394 h 916782"/>
                    <a:gd name="connsiteX17" fmla="*/ 92870 w 890588"/>
                    <a:gd name="connsiteY17" fmla="*/ 831057 h 916782"/>
                    <a:gd name="connsiteX18" fmla="*/ 76201 w 890588"/>
                    <a:gd name="connsiteY18" fmla="*/ 792957 h 916782"/>
                    <a:gd name="connsiteX19" fmla="*/ 47626 w 890588"/>
                    <a:gd name="connsiteY19" fmla="*/ 757238 h 916782"/>
                    <a:gd name="connsiteX20" fmla="*/ 133351 w 890588"/>
                    <a:gd name="connsiteY20" fmla="*/ 721519 h 916782"/>
                    <a:gd name="connsiteX21" fmla="*/ 121444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216695 w 890588"/>
                    <a:gd name="connsiteY13" fmla="*/ 907257 h 916782"/>
                    <a:gd name="connsiteX14" fmla="*/ 197645 w 890588"/>
                    <a:gd name="connsiteY14" fmla="*/ 904875 h 916782"/>
                    <a:gd name="connsiteX15" fmla="*/ 135732 w 890588"/>
                    <a:gd name="connsiteY15" fmla="*/ 878682 h 916782"/>
                    <a:gd name="connsiteX16" fmla="*/ 119063 w 890588"/>
                    <a:gd name="connsiteY16" fmla="*/ 864394 h 916782"/>
                    <a:gd name="connsiteX17" fmla="*/ 92870 w 890588"/>
                    <a:gd name="connsiteY17" fmla="*/ 831057 h 916782"/>
                    <a:gd name="connsiteX18" fmla="*/ 76201 w 890588"/>
                    <a:gd name="connsiteY18" fmla="*/ 792957 h 916782"/>
                    <a:gd name="connsiteX19" fmla="*/ 176213 w 890588"/>
                    <a:gd name="connsiteY19" fmla="*/ 735807 h 916782"/>
                    <a:gd name="connsiteX20" fmla="*/ 133351 w 890588"/>
                    <a:gd name="connsiteY20" fmla="*/ 721519 h 916782"/>
                    <a:gd name="connsiteX21" fmla="*/ 121444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216695 w 890588"/>
                    <a:gd name="connsiteY13" fmla="*/ 907257 h 916782"/>
                    <a:gd name="connsiteX14" fmla="*/ 197645 w 890588"/>
                    <a:gd name="connsiteY14" fmla="*/ 904875 h 916782"/>
                    <a:gd name="connsiteX15" fmla="*/ 135732 w 890588"/>
                    <a:gd name="connsiteY15" fmla="*/ 878682 h 916782"/>
                    <a:gd name="connsiteX16" fmla="*/ 119063 w 890588"/>
                    <a:gd name="connsiteY16" fmla="*/ 864394 h 916782"/>
                    <a:gd name="connsiteX17" fmla="*/ 92870 w 890588"/>
                    <a:gd name="connsiteY17" fmla="*/ 831057 h 916782"/>
                    <a:gd name="connsiteX18" fmla="*/ 164308 w 890588"/>
                    <a:gd name="connsiteY18" fmla="*/ 790576 h 916782"/>
                    <a:gd name="connsiteX19" fmla="*/ 176213 w 890588"/>
                    <a:gd name="connsiteY19" fmla="*/ 735807 h 916782"/>
                    <a:gd name="connsiteX20" fmla="*/ 133351 w 890588"/>
                    <a:gd name="connsiteY20" fmla="*/ 721519 h 916782"/>
                    <a:gd name="connsiteX21" fmla="*/ 121444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216695 w 890588"/>
                    <a:gd name="connsiteY13" fmla="*/ 907257 h 916782"/>
                    <a:gd name="connsiteX14" fmla="*/ 197645 w 890588"/>
                    <a:gd name="connsiteY14" fmla="*/ 904875 h 916782"/>
                    <a:gd name="connsiteX15" fmla="*/ 135732 w 890588"/>
                    <a:gd name="connsiteY15" fmla="*/ 878682 h 916782"/>
                    <a:gd name="connsiteX16" fmla="*/ 119063 w 890588"/>
                    <a:gd name="connsiteY16" fmla="*/ 864394 h 916782"/>
                    <a:gd name="connsiteX17" fmla="*/ 197645 w 890588"/>
                    <a:gd name="connsiteY17" fmla="*/ 809626 h 916782"/>
                    <a:gd name="connsiteX18" fmla="*/ 164308 w 890588"/>
                    <a:gd name="connsiteY18" fmla="*/ 790576 h 916782"/>
                    <a:gd name="connsiteX19" fmla="*/ 176213 w 890588"/>
                    <a:gd name="connsiteY19" fmla="*/ 735807 h 916782"/>
                    <a:gd name="connsiteX20" fmla="*/ 133351 w 890588"/>
                    <a:gd name="connsiteY20" fmla="*/ 721519 h 916782"/>
                    <a:gd name="connsiteX21" fmla="*/ 121444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216695 w 890588"/>
                    <a:gd name="connsiteY13" fmla="*/ 907257 h 916782"/>
                    <a:gd name="connsiteX14" fmla="*/ 197645 w 890588"/>
                    <a:gd name="connsiteY14" fmla="*/ 904875 h 916782"/>
                    <a:gd name="connsiteX15" fmla="*/ 135732 w 890588"/>
                    <a:gd name="connsiteY15" fmla="*/ 878682 h 916782"/>
                    <a:gd name="connsiteX16" fmla="*/ 240507 w 890588"/>
                    <a:gd name="connsiteY16" fmla="*/ 797719 h 916782"/>
                    <a:gd name="connsiteX17" fmla="*/ 197645 w 890588"/>
                    <a:gd name="connsiteY17" fmla="*/ 809626 h 916782"/>
                    <a:gd name="connsiteX18" fmla="*/ 164308 w 890588"/>
                    <a:gd name="connsiteY18" fmla="*/ 790576 h 916782"/>
                    <a:gd name="connsiteX19" fmla="*/ 176213 w 890588"/>
                    <a:gd name="connsiteY19" fmla="*/ 735807 h 916782"/>
                    <a:gd name="connsiteX20" fmla="*/ 133351 w 890588"/>
                    <a:gd name="connsiteY20" fmla="*/ 721519 h 916782"/>
                    <a:gd name="connsiteX21" fmla="*/ 121444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216695 w 890588"/>
                    <a:gd name="connsiteY13" fmla="*/ 907257 h 916782"/>
                    <a:gd name="connsiteX14" fmla="*/ 197645 w 890588"/>
                    <a:gd name="connsiteY14" fmla="*/ 904875 h 916782"/>
                    <a:gd name="connsiteX15" fmla="*/ 250032 w 890588"/>
                    <a:gd name="connsiteY15" fmla="*/ 840582 h 916782"/>
                    <a:gd name="connsiteX16" fmla="*/ 240507 w 890588"/>
                    <a:gd name="connsiteY16" fmla="*/ 797719 h 916782"/>
                    <a:gd name="connsiteX17" fmla="*/ 197645 w 890588"/>
                    <a:gd name="connsiteY17" fmla="*/ 809626 h 916782"/>
                    <a:gd name="connsiteX18" fmla="*/ 164308 w 890588"/>
                    <a:gd name="connsiteY18" fmla="*/ 790576 h 916782"/>
                    <a:gd name="connsiteX19" fmla="*/ 176213 w 890588"/>
                    <a:gd name="connsiteY19" fmla="*/ 735807 h 916782"/>
                    <a:gd name="connsiteX20" fmla="*/ 133351 w 890588"/>
                    <a:gd name="connsiteY20" fmla="*/ 721519 h 916782"/>
                    <a:gd name="connsiteX21" fmla="*/ 121444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216695 w 890588"/>
                    <a:gd name="connsiteY13" fmla="*/ 907257 h 916782"/>
                    <a:gd name="connsiteX14" fmla="*/ 276226 w 890588"/>
                    <a:gd name="connsiteY14" fmla="*/ 873919 h 916782"/>
                    <a:gd name="connsiteX15" fmla="*/ 250032 w 890588"/>
                    <a:gd name="connsiteY15" fmla="*/ 840582 h 916782"/>
                    <a:gd name="connsiteX16" fmla="*/ 240507 w 890588"/>
                    <a:gd name="connsiteY16" fmla="*/ 797719 h 916782"/>
                    <a:gd name="connsiteX17" fmla="*/ 197645 w 890588"/>
                    <a:gd name="connsiteY17" fmla="*/ 809626 h 916782"/>
                    <a:gd name="connsiteX18" fmla="*/ 164308 w 890588"/>
                    <a:gd name="connsiteY18" fmla="*/ 790576 h 916782"/>
                    <a:gd name="connsiteX19" fmla="*/ 176213 w 890588"/>
                    <a:gd name="connsiteY19" fmla="*/ 735807 h 916782"/>
                    <a:gd name="connsiteX20" fmla="*/ 133351 w 890588"/>
                    <a:gd name="connsiteY20" fmla="*/ 721519 h 916782"/>
                    <a:gd name="connsiteX21" fmla="*/ 121444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916782"/>
                    <a:gd name="connsiteX1" fmla="*/ 766763 w 890588"/>
                    <a:gd name="connsiteY1" fmla="*/ 495300 h 916782"/>
                    <a:gd name="connsiteX2" fmla="*/ 723900 w 890588"/>
                    <a:gd name="connsiteY2" fmla="*/ 492919 h 916782"/>
                    <a:gd name="connsiteX3" fmla="*/ 695326 w 890588"/>
                    <a:gd name="connsiteY3" fmla="*/ 511969 h 916782"/>
                    <a:gd name="connsiteX4" fmla="*/ 685801 w 890588"/>
                    <a:gd name="connsiteY4" fmla="*/ 566738 h 916782"/>
                    <a:gd name="connsiteX5" fmla="*/ 642938 w 890588"/>
                    <a:gd name="connsiteY5" fmla="*/ 538163 h 916782"/>
                    <a:gd name="connsiteX6" fmla="*/ 604838 w 890588"/>
                    <a:gd name="connsiteY6" fmla="*/ 583407 h 916782"/>
                    <a:gd name="connsiteX7" fmla="*/ 592932 w 890588"/>
                    <a:gd name="connsiteY7" fmla="*/ 550069 h 916782"/>
                    <a:gd name="connsiteX8" fmla="*/ 531019 w 890588"/>
                    <a:gd name="connsiteY8" fmla="*/ 623889 h 916782"/>
                    <a:gd name="connsiteX9" fmla="*/ 495301 w 890588"/>
                    <a:gd name="connsiteY9" fmla="*/ 628651 h 916782"/>
                    <a:gd name="connsiteX10" fmla="*/ 497682 w 890588"/>
                    <a:gd name="connsiteY10" fmla="*/ 700088 h 916782"/>
                    <a:gd name="connsiteX11" fmla="*/ 402432 w 890588"/>
                    <a:gd name="connsiteY11" fmla="*/ 881062 h 916782"/>
                    <a:gd name="connsiteX12" fmla="*/ 302420 w 890588"/>
                    <a:gd name="connsiteY12" fmla="*/ 916782 h 916782"/>
                    <a:gd name="connsiteX13" fmla="*/ 314326 w 890588"/>
                    <a:gd name="connsiteY13" fmla="*/ 873919 h 916782"/>
                    <a:gd name="connsiteX14" fmla="*/ 276226 w 890588"/>
                    <a:gd name="connsiteY14" fmla="*/ 873919 h 916782"/>
                    <a:gd name="connsiteX15" fmla="*/ 250032 w 890588"/>
                    <a:gd name="connsiteY15" fmla="*/ 840582 h 916782"/>
                    <a:gd name="connsiteX16" fmla="*/ 240507 w 890588"/>
                    <a:gd name="connsiteY16" fmla="*/ 797719 h 916782"/>
                    <a:gd name="connsiteX17" fmla="*/ 197645 w 890588"/>
                    <a:gd name="connsiteY17" fmla="*/ 809626 h 916782"/>
                    <a:gd name="connsiteX18" fmla="*/ 164308 w 890588"/>
                    <a:gd name="connsiteY18" fmla="*/ 790576 h 916782"/>
                    <a:gd name="connsiteX19" fmla="*/ 176213 w 890588"/>
                    <a:gd name="connsiteY19" fmla="*/ 735807 h 916782"/>
                    <a:gd name="connsiteX20" fmla="*/ 133351 w 890588"/>
                    <a:gd name="connsiteY20" fmla="*/ 721519 h 916782"/>
                    <a:gd name="connsiteX21" fmla="*/ 121444 w 890588"/>
                    <a:gd name="connsiteY21" fmla="*/ 683419 h 916782"/>
                    <a:gd name="connsiteX22" fmla="*/ 88108 w 890588"/>
                    <a:gd name="connsiteY22" fmla="*/ 642938 h 916782"/>
                    <a:gd name="connsiteX23" fmla="*/ 45245 w 890588"/>
                    <a:gd name="connsiteY23" fmla="*/ 616744 h 916782"/>
                    <a:gd name="connsiteX24" fmla="*/ 0 w 890588"/>
                    <a:gd name="connsiteY24" fmla="*/ 581025 h 916782"/>
                    <a:gd name="connsiteX25" fmla="*/ 35719 w 890588"/>
                    <a:gd name="connsiteY25" fmla="*/ 473869 h 916782"/>
                    <a:gd name="connsiteX26" fmla="*/ 97632 w 890588"/>
                    <a:gd name="connsiteY26" fmla="*/ 400050 h 916782"/>
                    <a:gd name="connsiteX27" fmla="*/ 76200 w 890588"/>
                    <a:gd name="connsiteY27" fmla="*/ 373857 h 916782"/>
                    <a:gd name="connsiteX28" fmla="*/ 50008 w 890588"/>
                    <a:gd name="connsiteY28" fmla="*/ 342901 h 916782"/>
                    <a:gd name="connsiteX29" fmla="*/ 14288 w 890588"/>
                    <a:gd name="connsiteY29" fmla="*/ 264319 h 916782"/>
                    <a:gd name="connsiteX30" fmla="*/ 178595 w 890588"/>
                    <a:gd name="connsiteY30" fmla="*/ 138113 h 916782"/>
                    <a:gd name="connsiteX31" fmla="*/ 335757 w 890588"/>
                    <a:gd name="connsiteY31" fmla="*/ 54769 h 916782"/>
                    <a:gd name="connsiteX32" fmla="*/ 559595 w 890588"/>
                    <a:gd name="connsiteY32" fmla="*/ 7144 h 916782"/>
                    <a:gd name="connsiteX33" fmla="*/ 731045 w 890588"/>
                    <a:gd name="connsiteY33" fmla="*/ 0 h 916782"/>
                    <a:gd name="connsiteX34" fmla="*/ 778670 w 890588"/>
                    <a:gd name="connsiteY34" fmla="*/ 90488 h 916782"/>
                    <a:gd name="connsiteX35" fmla="*/ 802482 w 890588"/>
                    <a:gd name="connsiteY35" fmla="*/ 233363 h 916782"/>
                    <a:gd name="connsiteX36" fmla="*/ 890588 w 890588"/>
                    <a:gd name="connsiteY36" fmla="*/ 450057 h 916782"/>
                    <a:gd name="connsiteX0" fmla="*/ 890588 w 890588"/>
                    <a:gd name="connsiteY0" fmla="*/ 450057 h 881062"/>
                    <a:gd name="connsiteX1" fmla="*/ 766763 w 890588"/>
                    <a:gd name="connsiteY1" fmla="*/ 495300 h 881062"/>
                    <a:gd name="connsiteX2" fmla="*/ 723900 w 890588"/>
                    <a:gd name="connsiteY2" fmla="*/ 492919 h 881062"/>
                    <a:gd name="connsiteX3" fmla="*/ 695326 w 890588"/>
                    <a:gd name="connsiteY3" fmla="*/ 511969 h 881062"/>
                    <a:gd name="connsiteX4" fmla="*/ 685801 w 890588"/>
                    <a:gd name="connsiteY4" fmla="*/ 566738 h 881062"/>
                    <a:gd name="connsiteX5" fmla="*/ 642938 w 890588"/>
                    <a:gd name="connsiteY5" fmla="*/ 538163 h 881062"/>
                    <a:gd name="connsiteX6" fmla="*/ 604838 w 890588"/>
                    <a:gd name="connsiteY6" fmla="*/ 583407 h 881062"/>
                    <a:gd name="connsiteX7" fmla="*/ 592932 w 890588"/>
                    <a:gd name="connsiteY7" fmla="*/ 550069 h 881062"/>
                    <a:gd name="connsiteX8" fmla="*/ 531019 w 890588"/>
                    <a:gd name="connsiteY8" fmla="*/ 623889 h 881062"/>
                    <a:gd name="connsiteX9" fmla="*/ 495301 w 890588"/>
                    <a:gd name="connsiteY9" fmla="*/ 628651 h 881062"/>
                    <a:gd name="connsiteX10" fmla="*/ 497682 w 890588"/>
                    <a:gd name="connsiteY10" fmla="*/ 700088 h 881062"/>
                    <a:gd name="connsiteX11" fmla="*/ 402432 w 890588"/>
                    <a:gd name="connsiteY11" fmla="*/ 881062 h 881062"/>
                    <a:gd name="connsiteX12" fmla="*/ 352427 w 890588"/>
                    <a:gd name="connsiteY12" fmla="*/ 878682 h 881062"/>
                    <a:gd name="connsiteX13" fmla="*/ 314326 w 890588"/>
                    <a:gd name="connsiteY13" fmla="*/ 873919 h 881062"/>
                    <a:gd name="connsiteX14" fmla="*/ 276226 w 890588"/>
                    <a:gd name="connsiteY14" fmla="*/ 873919 h 881062"/>
                    <a:gd name="connsiteX15" fmla="*/ 250032 w 890588"/>
                    <a:gd name="connsiteY15" fmla="*/ 840582 h 881062"/>
                    <a:gd name="connsiteX16" fmla="*/ 240507 w 890588"/>
                    <a:gd name="connsiteY16" fmla="*/ 797719 h 881062"/>
                    <a:gd name="connsiteX17" fmla="*/ 197645 w 890588"/>
                    <a:gd name="connsiteY17" fmla="*/ 809626 h 881062"/>
                    <a:gd name="connsiteX18" fmla="*/ 164308 w 890588"/>
                    <a:gd name="connsiteY18" fmla="*/ 790576 h 881062"/>
                    <a:gd name="connsiteX19" fmla="*/ 176213 w 890588"/>
                    <a:gd name="connsiteY19" fmla="*/ 735807 h 881062"/>
                    <a:gd name="connsiteX20" fmla="*/ 133351 w 890588"/>
                    <a:gd name="connsiteY20" fmla="*/ 721519 h 881062"/>
                    <a:gd name="connsiteX21" fmla="*/ 121444 w 890588"/>
                    <a:gd name="connsiteY21" fmla="*/ 683419 h 881062"/>
                    <a:gd name="connsiteX22" fmla="*/ 88108 w 890588"/>
                    <a:gd name="connsiteY22" fmla="*/ 642938 h 881062"/>
                    <a:gd name="connsiteX23" fmla="*/ 45245 w 890588"/>
                    <a:gd name="connsiteY23" fmla="*/ 616744 h 881062"/>
                    <a:gd name="connsiteX24" fmla="*/ 0 w 890588"/>
                    <a:gd name="connsiteY24" fmla="*/ 581025 h 881062"/>
                    <a:gd name="connsiteX25" fmla="*/ 35719 w 890588"/>
                    <a:gd name="connsiteY25" fmla="*/ 473869 h 881062"/>
                    <a:gd name="connsiteX26" fmla="*/ 97632 w 890588"/>
                    <a:gd name="connsiteY26" fmla="*/ 400050 h 881062"/>
                    <a:gd name="connsiteX27" fmla="*/ 76200 w 890588"/>
                    <a:gd name="connsiteY27" fmla="*/ 373857 h 881062"/>
                    <a:gd name="connsiteX28" fmla="*/ 50008 w 890588"/>
                    <a:gd name="connsiteY28" fmla="*/ 342901 h 881062"/>
                    <a:gd name="connsiteX29" fmla="*/ 14288 w 890588"/>
                    <a:gd name="connsiteY29" fmla="*/ 264319 h 881062"/>
                    <a:gd name="connsiteX30" fmla="*/ 178595 w 890588"/>
                    <a:gd name="connsiteY30" fmla="*/ 138113 h 881062"/>
                    <a:gd name="connsiteX31" fmla="*/ 335757 w 890588"/>
                    <a:gd name="connsiteY31" fmla="*/ 54769 h 881062"/>
                    <a:gd name="connsiteX32" fmla="*/ 559595 w 890588"/>
                    <a:gd name="connsiteY32" fmla="*/ 7144 h 881062"/>
                    <a:gd name="connsiteX33" fmla="*/ 731045 w 890588"/>
                    <a:gd name="connsiteY33" fmla="*/ 0 h 881062"/>
                    <a:gd name="connsiteX34" fmla="*/ 778670 w 890588"/>
                    <a:gd name="connsiteY34" fmla="*/ 90488 h 881062"/>
                    <a:gd name="connsiteX35" fmla="*/ 802482 w 890588"/>
                    <a:gd name="connsiteY35" fmla="*/ 233363 h 881062"/>
                    <a:gd name="connsiteX36" fmla="*/ 890588 w 890588"/>
                    <a:gd name="connsiteY36" fmla="*/ 450057 h 8810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</a:cxnLst>
                  <a:rect l="l" t="t" r="r" b="b"/>
                  <a:pathLst>
                    <a:path w="890588" h="881062">
                      <a:moveTo>
                        <a:pt x="890588" y="450057"/>
                      </a:moveTo>
                      <a:lnTo>
                        <a:pt x="766763" y="495300"/>
                      </a:lnTo>
                      <a:lnTo>
                        <a:pt x="723900" y="492919"/>
                      </a:lnTo>
                      <a:lnTo>
                        <a:pt x="695326" y="511969"/>
                      </a:lnTo>
                      <a:lnTo>
                        <a:pt x="685801" y="566738"/>
                      </a:lnTo>
                      <a:lnTo>
                        <a:pt x="642938" y="538163"/>
                      </a:lnTo>
                      <a:lnTo>
                        <a:pt x="604838" y="583407"/>
                      </a:lnTo>
                      <a:lnTo>
                        <a:pt x="592932" y="550069"/>
                      </a:lnTo>
                      <a:lnTo>
                        <a:pt x="531019" y="623889"/>
                      </a:lnTo>
                      <a:lnTo>
                        <a:pt x="495301" y="628651"/>
                      </a:lnTo>
                      <a:cubicBezTo>
                        <a:pt x="496095" y="652463"/>
                        <a:pt x="496888" y="676276"/>
                        <a:pt x="497682" y="700088"/>
                      </a:cubicBezTo>
                      <a:lnTo>
                        <a:pt x="402432" y="881062"/>
                      </a:lnTo>
                      <a:lnTo>
                        <a:pt x="352427" y="878682"/>
                      </a:lnTo>
                      <a:lnTo>
                        <a:pt x="314326" y="873919"/>
                      </a:lnTo>
                      <a:lnTo>
                        <a:pt x="276226" y="873919"/>
                      </a:lnTo>
                      <a:lnTo>
                        <a:pt x="250032" y="840582"/>
                      </a:lnTo>
                      <a:lnTo>
                        <a:pt x="240507" y="797719"/>
                      </a:lnTo>
                      <a:lnTo>
                        <a:pt x="197645" y="809626"/>
                      </a:lnTo>
                      <a:lnTo>
                        <a:pt x="164308" y="790576"/>
                      </a:lnTo>
                      <a:lnTo>
                        <a:pt x="176213" y="735807"/>
                      </a:lnTo>
                      <a:lnTo>
                        <a:pt x="133351" y="721519"/>
                      </a:lnTo>
                      <a:lnTo>
                        <a:pt x="121444" y="683419"/>
                      </a:lnTo>
                      <a:lnTo>
                        <a:pt x="88108" y="642938"/>
                      </a:lnTo>
                      <a:lnTo>
                        <a:pt x="45245" y="616744"/>
                      </a:lnTo>
                      <a:lnTo>
                        <a:pt x="0" y="581025"/>
                      </a:lnTo>
                      <a:lnTo>
                        <a:pt x="35719" y="473869"/>
                      </a:lnTo>
                      <a:lnTo>
                        <a:pt x="97632" y="400050"/>
                      </a:lnTo>
                      <a:lnTo>
                        <a:pt x="76200" y="373857"/>
                      </a:lnTo>
                      <a:lnTo>
                        <a:pt x="50008" y="342901"/>
                      </a:lnTo>
                      <a:lnTo>
                        <a:pt x="14288" y="264319"/>
                      </a:lnTo>
                      <a:lnTo>
                        <a:pt x="178595" y="138113"/>
                      </a:lnTo>
                      <a:lnTo>
                        <a:pt x="335757" y="54769"/>
                      </a:lnTo>
                      <a:lnTo>
                        <a:pt x="559595" y="7144"/>
                      </a:lnTo>
                      <a:lnTo>
                        <a:pt x="731045" y="0"/>
                      </a:lnTo>
                      <a:lnTo>
                        <a:pt x="778670" y="90488"/>
                      </a:lnTo>
                      <a:lnTo>
                        <a:pt x="802482" y="233363"/>
                      </a:lnTo>
                      <a:lnTo>
                        <a:pt x="890588" y="450057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0" name="Freeform 89"/>
                <p:cNvSpPr/>
                <p:nvPr/>
              </p:nvSpPr>
              <p:spPr>
                <a:xfrm>
                  <a:off x="5401729" y="1590674"/>
                  <a:ext cx="1199097" cy="1621631"/>
                </a:xfrm>
                <a:custGeom>
                  <a:avLst/>
                  <a:gdLst>
                    <a:gd name="connsiteX0" fmla="*/ 138113 w 1304925"/>
                    <a:gd name="connsiteY0" fmla="*/ 476250 h 1685925"/>
                    <a:gd name="connsiteX1" fmla="*/ 71438 w 1304925"/>
                    <a:gd name="connsiteY1" fmla="*/ 595313 h 1685925"/>
                    <a:gd name="connsiteX2" fmla="*/ 76200 w 1304925"/>
                    <a:gd name="connsiteY2" fmla="*/ 666750 h 1685925"/>
                    <a:gd name="connsiteX3" fmla="*/ 109538 w 1304925"/>
                    <a:gd name="connsiteY3" fmla="*/ 762000 h 1685925"/>
                    <a:gd name="connsiteX4" fmla="*/ 109538 w 1304925"/>
                    <a:gd name="connsiteY4" fmla="*/ 852488 h 1685925"/>
                    <a:gd name="connsiteX5" fmla="*/ 80963 w 1304925"/>
                    <a:gd name="connsiteY5" fmla="*/ 952500 h 1685925"/>
                    <a:gd name="connsiteX6" fmla="*/ 47625 w 1304925"/>
                    <a:gd name="connsiteY6" fmla="*/ 1042988 h 1685925"/>
                    <a:gd name="connsiteX7" fmla="*/ 33338 w 1304925"/>
                    <a:gd name="connsiteY7" fmla="*/ 1162050 h 1685925"/>
                    <a:gd name="connsiteX8" fmla="*/ 0 w 1304925"/>
                    <a:gd name="connsiteY8" fmla="*/ 1262063 h 1685925"/>
                    <a:gd name="connsiteX9" fmla="*/ 66675 w 1304925"/>
                    <a:gd name="connsiteY9" fmla="*/ 1343025 h 1685925"/>
                    <a:gd name="connsiteX10" fmla="*/ 119063 w 1304925"/>
                    <a:gd name="connsiteY10" fmla="*/ 1404938 h 1685925"/>
                    <a:gd name="connsiteX11" fmla="*/ 152400 w 1304925"/>
                    <a:gd name="connsiteY11" fmla="*/ 1452563 h 1685925"/>
                    <a:gd name="connsiteX12" fmla="*/ 171450 w 1304925"/>
                    <a:gd name="connsiteY12" fmla="*/ 1485900 h 1685925"/>
                    <a:gd name="connsiteX13" fmla="*/ 209550 w 1304925"/>
                    <a:gd name="connsiteY13" fmla="*/ 1543050 h 1685925"/>
                    <a:gd name="connsiteX14" fmla="*/ 247650 w 1304925"/>
                    <a:gd name="connsiteY14" fmla="*/ 1585913 h 1685925"/>
                    <a:gd name="connsiteX15" fmla="*/ 276225 w 1304925"/>
                    <a:gd name="connsiteY15" fmla="*/ 1609725 h 1685925"/>
                    <a:gd name="connsiteX16" fmla="*/ 314325 w 1304925"/>
                    <a:gd name="connsiteY16" fmla="*/ 1628775 h 1685925"/>
                    <a:gd name="connsiteX17" fmla="*/ 361950 w 1304925"/>
                    <a:gd name="connsiteY17" fmla="*/ 1657350 h 1685925"/>
                    <a:gd name="connsiteX18" fmla="*/ 481013 w 1304925"/>
                    <a:gd name="connsiteY18" fmla="*/ 1685925 h 1685925"/>
                    <a:gd name="connsiteX19" fmla="*/ 533400 w 1304925"/>
                    <a:gd name="connsiteY19" fmla="*/ 1676400 h 1685925"/>
                    <a:gd name="connsiteX20" fmla="*/ 585788 w 1304925"/>
                    <a:gd name="connsiteY20" fmla="*/ 1643063 h 1685925"/>
                    <a:gd name="connsiteX21" fmla="*/ 661988 w 1304925"/>
                    <a:gd name="connsiteY21" fmla="*/ 1581150 h 1685925"/>
                    <a:gd name="connsiteX22" fmla="*/ 919163 w 1304925"/>
                    <a:gd name="connsiteY22" fmla="*/ 1252538 h 1685925"/>
                    <a:gd name="connsiteX23" fmla="*/ 938213 w 1304925"/>
                    <a:gd name="connsiteY23" fmla="*/ 1100138 h 1685925"/>
                    <a:gd name="connsiteX24" fmla="*/ 1085850 w 1304925"/>
                    <a:gd name="connsiteY24" fmla="*/ 1081088 h 1685925"/>
                    <a:gd name="connsiteX25" fmla="*/ 1304925 w 1304925"/>
                    <a:gd name="connsiteY25" fmla="*/ 1071563 h 1685925"/>
                    <a:gd name="connsiteX26" fmla="*/ 1290638 w 1304925"/>
                    <a:gd name="connsiteY26" fmla="*/ 900113 h 1685925"/>
                    <a:gd name="connsiteX27" fmla="*/ 1252538 w 1304925"/>
                    <a:gd name="connsiteY27" fmla="*/ 719138 h 1685925"/>
                    <a:gd name="connsiteX28" fmla="*/ 1095375 w 1304925"/>
                    <a:gd name="connsiteY28" fmla="*/ 647700 h 1685925"/>
                    <a:gd name="connsiteX29" fmla="*/ 995363 w 1304925"/>
                    <a:gd name="connsiteY29" fmla="*/ 481013 h 1685925"/>
                    <a:gd name="connsiteX30" fmla="*/ 942975 w 1304925"/>
                    <a:gd name="connsiteY30" fmla="*/ 319088 h 1685925"/>
                    <a:gd name="connsiteX31" fmla="*/ 866775 w 1304925"/>
                    <a:gd name="connsiteY31" fmla="*/ 133350 h 1685925"/>
                    <a:gd name="connsiteX32" fmla="*/ 809625 w 1304925"/>
                    <a:gd name="connsiteY32" fmla="*/ 0 h 1685925"/>
                    <a:gd name="connsiteX33" fmla="*/ 528638 w 1304925"/>
                    <a:gd name="connsiteY33" fmla="*/ 4763 h 1685925"/>
                    <a:gd name="connsiteX34" fmla="*/ 357188 w 1304925"/>
                    <a:gd name="connsiteY34" fmla="*/ 38100 h 1685925"/>
                    <a:gd name="connsiteX35" fmla="*/ 204788 w 1304925"/>
                    <a:gd name="connsiteY35" fmla="*/ 147638 h 1685925"/>
                    <a:gd name="connsiteX36" fmla="*/ 85725 w 1304925"/>
                    <a:gd name="connsiteY36" fmla="*/ 271463 h 1685925"/>
                    <a:gd name="connsiteX37" fmla="*/ 138113 w 1304925"/>
                    <a:gd name="connsiteY37" fmla="*/ 476250 h 1685925"/>
                    <a:gd name="connsiteX0" fmla="*/ 138113 w 1304925"/>
                    <a:gd name="connsiteY0" fmla="*/ 476250 h 1685925"/>
                    <a:gd name="connsiteX1" fmla="*/ 150019 w 1304925"/>
                    <a:gd name="connsiteY1" fmla="*/ 673894 h 1685925"/>
                    <a:gd name="connsiteX2" fmla="*/ 76200 w 1304925"/>
                    <a:gd name="connsiteY2" fmla="*/ 666750 h 1685925"/>
                    <a:gd name="connsiteX3" fmla="*/ 109538 w 1304925"/>
                    <a:gd name="connsiteY3" fmla="*/ 762000 h 1685925"/>
                    <a:gd name="connsiteX4" fmla="*/ 109538 w 1304925"/>
                    <a:gd name="connsiteY4" fmla="*/ 852488 h 1685925"/>
                    <a:gd name="connsiteX5" fmla="*/ 80963 w 1304925"/>
                    <a:gd name="connsiteY5" fmla="*/ 952500 h 1685925"/>
                    <a:gd name="connsiteX6" fmla="*/ 47625 w 1304925"/>
                    <a:gd name="connsiteY6" fmla="*/ 1042988 h 1685925"/>
                    <a:gd name="connsiteX7" fmla="*/ 33338 w 1304925"/>
                    <a:gd name="connsiteY7" fmla="*/ 1162050 h 1685925"/>
                    <a:gd name="connsiteX8" fmla="*/ 0 w 1304925"/>
                    <a:gd name="connsiteY8" fmla="*/ 1262063 h 1685925"/>
                    <a:gd name="connsiteX9" fmla="*/ 66675 w 1304925"/>
                    <a:gd name="connsiteY9" fmla="*/ 1343025 h 1685925"/>
                    <a:gd name="connsiteX10" fmla="*/ 119063 w 1304925"/>
                    <a:gd name="connsiteY10" fmla="*/ 1404938 h 1685925"/>
                    <a:gd name="connsiteX11" fmla="*/ 152400 w 1304925"/>
                    <a:gd name="connsiteY11" fmla="*/ 1452563 h 1685925"/>
                    <a:gd name="connsiteX12" fmla="*/ 171450 w 1304925"/>
                    <a:gd name="connsiteY12" fmla="*/ 1485900 h 1685925"/>
                    <a:gd name="connsiteX13" fmla="*/ 209550 w 1304925"/>
                    <a:gd name="connsiteY13" fmla="*/ 1543050 h 1685925"/>
                    <a:gd name="connsiteX14" fmla="*/ 247650 w 1304925"/>
                    <a:gd name="connsiteY14" fmla="*/ 1585913 h 1685925"/>
                    <a:gd name="connsiteX15" fmla="*/ 276225 w 1304925"/>
                    <a:gd name="connsiteY15" fmla="*/ 1609725 h 1685925"/>
                    <a:gd name="connsiteX16" fmla="*/ 314325 w 1304925"/>
                    <a:gd name="connsiteY16" fmla="*/ 1628775 h 1685925"/>
                    <a:gd name="connsiteX17" fmla="*/ 361950 w 1304925"/>
                    <a:gd name="connsiteY17" fmla="*/ 1657350 h 1685925"/>
                    <a:gd name="connsiteX18" fmla="*/ 481013 w 1304925"/>
                    <a:gd name="connsiteY18" fmla="*/ 1685925 h 1685925"/>
                    <a:gd name="connsiteX19" fmla="*/ 533400 w 1304925"/>
                    <a:gd name="connsiteY19" fmla="*/ 1676400 h 1685925"/>
                    <a:gd name="connsiteX20" fmla="*/ 585788 w 1304925"/>
                    <a:gd name="connsiteY20" fmla="*/ 1643063 h 1685925"/>
                    <a:gd name="connsiteX21" fmla="*/ 661988 w 1304925"/>
                    <a:gd name="connsiteY21" fmla="*/ 1581150 h 1685925"/>
                    <a:gd name="connsiteX22" fmla="*/ 919163 w 1304925"/>
                    <a:gd name="connsiteY22" fmla="*/ 1252538 h 1685925"/>
                    <a:gd name="connsiteX23" fmla="*/ 938213 w 1304925"/>
                    <a:gd name="connsiteY23" fmla="*/ 1100138 h 1685925"/>
                    <a:gd name="connsiteX24" fmla="*/ 1085850 w 1304925"/>
                    <a:gd name="connsiteY24" fmla="*/ 1081088 h 1685925"/>
                    <a:gd name="connsiteX25" fmla="*/ 1304925 w 1304925"/>
                    <a:gd name="connsiteY25" fmla="*/ 1071563 h 1685925"/>
                    <a:gd name="connsiteX26" fmla="*/ 1290638 w 1304925"/>
                    <a:gd name="connsiteY26" fmla="*/ 900113 h 1685925"/>
                    <a:gd name="connsiteX27" fmla="*/ 1252538 w 1304925"/>
                    <a:gd name="connsiteY27" fmla="*/ 719138 h 1685925"/>
                    <a:gd name="connsiteX28" fmla="*/ 1095375 w 1304925"/>
                    <a:gd name="connsiteY28" fmla="*/ 647700 h 1685925"/>
                    <a:gd name="connsiteX29" fmla="*/ 995363 w 1304925"/>
                    <a:gd name="connsiteY29" fmla="*/ 481013 h 1685925"/>
                    <a:gd name="connsiteX30" fmla="*/ 942975 w 1304925"/>
                    <a:gd name="connsiteY30" fmla="*/ 319088 h 1685925"/>
                    <a:gd name="connsiteX31" fmla="*/ 866775 w 1304925"/>
                    <a:gd name="connsiteY31" fmla="*/ 133350 h 1685925"/>
                    <a:gd name="connsiteX32" fmla="*/ 809625 w 1304925"/>
                    <a:gd name="connsiteY32" fmla="*/ 0 h 1685925"/>
                    <a:gd name="connsiteX33" fmla="*/ 528638 w 1304925"/>
                    <a:gd name="connsiteY33" fmla="*/ 4763 h 1685925"/>
                    <a:gd name="connsiteX34" fmla="*/ 357188 w 1304925"/>
                    <a:gd name="connsiteY34" fmla="*/ 38100 h 1685925"/>
                    <a:gd name="connsiteX35" fmla="*/ 204788 w 1304925"/>
                    <a:gd name="connsiteY35" fmla="*/ 147638 h 1685925"/>
                    <a:gd name="connsiteX36" fmla="*/ 85725 w 1304925"/>
                    <a:gd name="connsiteY36" fmla="*/ 271463 h 1685925"/>
                    <a:gd name="connsiteX37" fmla="*/ 138113 w 1304925"/>
                    <a:gd name="connsiteY37" fmla="*/ 476250 h 1685925"/>
                    <a:gd name="connsiteX0" fmla="*/ 138113 w 1304925"/>
                    <a:gd name="connsiteY0" fmla="*/ 476250 h 1685925"/>
                    <a:gd name="connsiteX1" fmla="*/ 150019 w 1304925"/>
                    <a:gd name="connsiteY1" fmla="*/ 673894 h 1685925"/>
                    <a:gd name="connsiteX2" fmla="*/ 152400 w 1304925"/>
                    <a:gd name="connsiteY2" fmla="*/ 731044 h 1685925"/>
                    <a:gd name="connsiteX3" fmla="*/ 109538 w 1304925"/>
                    <a:gd name="connsiteY3" fmla="*/ 762000 h 1685925"/>
                    <a:gd name="connsiteX4" fmla="*/ 109538 w 1304925"/>
                    <a:gd name="connsiteY4" fmla="*/ 852488 h 1685925"/>
                    <a:gd name="connsiteX5" fmla="*/ 80963 w 1304925"/>
                    <a:gd name="connsiteY5" fmla="*/ 952500 h 1685925"/>
                    <a:gd name="connsiteX6" fmla="*/ 47625 w 1304925"/>
                    <a:gd name="connsiteY6" fmla="*/ 1042988 h 1685925"/>
                    <a:gd name="connsiteX7" fmla="*/ 33338 w 1304925"/>
                    <a:gd name="connsiteY7" fmla="*/ 1162050 h 1685925"/>
                    <a:gd name="connsiteX8" fmla="*/ 0 w 1304925"/>
                    <a:gd name="connsiteY8" fmla="*/ 1262063 h 1685925"/>
                    <a:gd name="connsiteX9" fmla="*/ 66675 w 1304925"/>
                    <a:gd name="connsiteY9" fmla="*/ 1343025 h 1685925"/>
                    <a:gd name="connsiteX10" fmla="*/ 119063 w 1304925"/>
                    <a:gd name="connsiteY10" fmla="*/ 1404938 h 1685925"/>
                    <a:gd name="connsiteX11" fmla="*/ 152400 w 1304925"/>
                    <a:gd name="connsiteY11" fmla="*/ 1452563 h 1685925"/>
                    <a:gd name="connsiteX12" fmla="*/ 171450 w 1304925"/>
                    <a:gd name="connsiteY12" fmla="*/ 1485900 h 1685925"/>
                    <a:gd name="connsiteX13" fmla="*/ 209550 w 1304925"/>
                    <a:gd name="connsiteY13" fmla="*/ 1543050 h 1685925"/>
                    <a:gd name="connsiteX14" fmla="*/ 247650 w 1304925"/>
                    <a:gd name="connsiteY14" fmla="*/ 1585913 h 1685925"/>
                    <a:gd name="connsiteX15" fmla="*/ 276225 w 1304925"/>
                    <a:gd name="connsiteY15" fmla="*/ 1609725 h 1685925"/>
                    <a:gd name="connsiteX16" fmla="*/ 314325 w 1304925"/>
                    <a:gd name="connsiteY16" fmla="*/ 1628775 h 1685925"/>
                    <a:gd name="connsiteX17" fmla="*/ 361950 w 1304925"/>
                    <a:gd name="connsiteY17" fmla="*/ 1657350 h 1685925"/>
                    <a:gd name="connsiteX18" fmla="*/ 481013 w 1304925"/>
                    <a:gd name="connsiteY18" fmla="*/ 1685925 h 1685925"/>
                    <a:gd name="connsiteX19" fmla="*/ 533400 w 1304925"/>
                    <a:gd name="connsiteY19" fmla="*/ 1676400 h 1685925"/>
                    <a:gd name="connsiteX20" fmla="*/ 585788 w 1304925"/>
                    <a:gd name="connsiteY20" fmla="*/ 1643063 h 1685925"/>
                    <a:gd name="connsiteX21" fmla="*/ 661988 w 1304925"/>
                    <a:gd name="connsiteY21" fmla="*/ 1581150 h 1685925"/>
                    <a:gd name="connsiteX22" fmla="*/ 919163 w 1304925"/>
                    <a:gd name="connsiteY22" fmla="*/ 1252538 h 1685925"/>
                    <a:gd name="connsiteX23" fmla="*/ 938213 w 1304925"/>
                    <a:gd name="connsiteY23" fmla="*/ 1100138 h 1685925"/>
                    <a:gd name="connsiteX24" fmla="*/ 1085850 w 1304925"/>
                    <a:gd name="connsiteY24" fmla="*/ 1081088 h 1685925"/>
                    <a:gd name="connsiteX25" fmla="*/ 1304925 w 1304925"/>
                    <a:gd name="connsiteY25" fmla="*/ 1071563 h 1685925"/>
                    <a:gd name="connsiteX26" fmla="*/ 1290638 w 1304925"/>
                    <a:gd name="connsiteY26" fmla="*/ 900113 h 1685925"/>
                    <a:gd name="connsiteX27" fmla="*/ 1252538 w 1304925"/>
                    <a:gd name="connsiteY27" fmla="*/ 719138 h 1685925"/>
                    <a:gd name="connsiteX28" fmla="*/ 1095375 w 1304925"/>
                    <a:gd name="connsiteY28" fmla="*/ 647700 h 1685925"/>
                    <a:gd name="connsiteX29" fmla="*/ 995363 w 1304925"/>
                    <a:gd name="connsiteY29" fmla="*/ 481013 h 1685925"/>
                    <a:gd name="connsiteX30" fmla="*/ 942975 w 1304925"/>
                    <a:gd name="connsiteY30" fmla="*/ 319088 h 1685925"/>
                    <a:gd name="connsiteX31" fmla="*/ 866775 w 1304925"/>
                    <a:gd name="connsiteY31" fmla="*/ 133350 h 1685925"/>
                    <a:gd name="connsiteX32" fmla="*/ 809625 w 1304925"/>
                    <a:gd name="connsiteY32" fmla="*/ 0 h 1685925"/>
                    <a:gd name="connsiteX33" fmla="*/ 528638 w 1304925"/>
                    <a:gd name="connsiteY33" fmla="*/ 4763 h 1685925"/>
                    <a:gd name="connsiteX34" fmla="*/ 357188 w 1304925"/>
                    <a:gd name="connsiteY34" fmla="*/ 38100 h 1685925"/>
                    <a:gd name="connsiteX35" fmla="*/ 204788 w 1304925"/>
                    <a:gd name="connsiteY35" fmla="*/ 147638 h 1685925"/>
                    <a:gd name="connsiteX36" fmla="*/ 85725 w 1304925"/>
                    <a:gd name="connsiteY36" fmla="*/ 271463 h 1685925"/>
                    <a:gd name="connsiteX37" fmla="*/ 138113 w 1304925"/>
                    <a:gd name="connsiteY37" fmla="*/ 476250 h 1685925"/>
                    <a:gd name="connsiteX0" fmla="*/ 138113 w 1304925"/>
                    <a:gd name="connsiteY0" fmla="*/ 476250 h 1685925"/>
                    <a:gd name="connsiteX1" fmla="*/ 150019 w 1304925"/>
                    <a:gd name="connsiteY1" fmla="*/ 673894 h 1685925"/>
                    <a:gd name="connsiteX2" fmla="*/ 152400 w 1304925"/>
                    <a:gd name="connsiteY2" fmla="*/ 731044 h 1685925"/>
                    <a:gd name="connsiteX3" fmla="*/ 183357 w 1304925"/>
                    <a:gd name="connsiteY3" fmla="*/ 800100 h 1685925"/>
                    <a:gd name="connsiteX4" fmla="*/ 109538 w 1304925"/>
                    <a:gd name="connsiteY4" fmla="*/ 852488 h 1685925"/>
                    <a:gd name="connsiteX5" fmla="*/ 80963 w 1304925"/>
                    <a:gd name="connsiteY5" fmla="*/ 952500 h 1685925"/>
                    <a:gd name="connsiteX6" fmla="*/ 47625 w 1304925"/>
                    <a:gd name="connsiteY6" fmla="*/ 1042988 h 1685925"/>
                    <a:gd name="connsiteX7" fmla="*/ 33338 w 1304925"/>
                    <a:gd name="connsiteY7" fmla="*/ 1162050 h 1685925"/>
                    <a:gd name="connsiteX8" fmla="*/ 0 w 1304925"/>
                    <a:gd name="connsiteY8" fmla="*/ 1262063 h 1685925"/>
                    <a:gd name="connsiteX9" fmla="*/ 66675 w 1304925"/>
                    <a:gd name="connsiteY9" fmla="*/ 1343025 h 1685925"/>
                    <a:gd name="connsiteX10" fmla="*/ 119063 w 1304925"/>
                    <a:gd name="connsiteY10" fmla="*/ 1404938 h 1685925"/>
                    <a:gd name="connsiteX11" fmla="*/ 152400 w 1304925"/>
                    <a:gd name="connsiteY11" fmla="*/ 1452563 h 1685925"/>
                    <a:gd name="connsiteX12" fmla="*/ 171450 w 1304925"/>
                    <a:gd name="connsiteY12" fmla="*/ 1485900 h 1685925"/>
                    <a:gd name="connsiteX13" fmla="*/ 209550 w 1304925"/>
                    <a:gd name="connsiteY13" fmla="*/ 1543050 h 1685925"/>
                    <a:gd name="connsiteX14" fmla="*/ 247650 w 1304925"/>
                    <a:gd name="connsiteY14" fmla="*/ 1585913 h 1685925"/>
                    <a:gd name="connsiteX15" fmla="*/ 276225 w 1304925"/>
                    <a:gd name="connsiteY15" fmla="*/ 1609725 h 1685925"/>
                    <a:gd name="connsiteX16" fmla="*/ 314325 w 1304925"/>
                    <a:gd name="connsiteY16" fmla="*/ 1628775 h 1685925"/>
                    <a:gd name="connsiteX17" fmla="*/ 361950 w 1304925"/>
                    <a:gd name="connsiteY17" fmla="*/ 1657350 h 1685925"/>
                    <a:gd name="connsiteX18" fmla="*/ 481013 w 1304925"/>
                    <a:gd name="connsiteY18" fmla="*/ 1685925 h 1685925"/>
                    <a:gd name="connsiteX19" fmla="*/ 533400 w 1304925"/>
                    <a:gd name="connsiteY19" fmla="*/ 1676400 h 1685925"/>
                    <a:gd name="connsiteX20" fmla="*/ 585788 w 1304925"/>
                    <a:gd name="connsiteY20" fmla="*/ 1643063 h 1685925"/>
                    <a:gd name="connsiteX21" fmla="*/ 661988 w 1304925"/>
                    <a:gd name="connsiteY21" fmla="*/ 1581150 h 1685925"/>
                    <a:gd name="connsiteX22" fmla="*/ 919163 w 1304925"/>
                    <a:gd name="connsiteY22" fmla="*/ 1252538 h 1685925"/>
                    <a:gd name="connsiteX23" fmla="*/ 938213 w 1304925"/>
                    <a:gd name="connsiteY23" fmla="*/ 1100138 h 1685925"/>
                    <a:gd name="connsiteX24" fmla="*/ 1085850 w 1304925"/>
                    <a:gd name="connsiteY24" fmla="*/ 1081088 h 1685925"/>
                    <a:gd name="connsiteX25" fmla="*/ 1304925 w 1304925"/>
                    <a:gd name="connsiteY25" fmla="*/ 1071563 h 1685925"/>
                    <a:gd name="connsiteX26" fmla="*/ 1290638 w 1304925"/>
                    <a:gd name="connsiteY26" fmla="*/ 900113 h 1685925"/>
                    <a:gd name="connsiteX27" fmla="*/ 1252538 w 1304925"/>
                    <a:gd name="connsiteY27" fmla="*/ 719138 h 1685925"/>
                    <a:gd name="connsiteX28" fmla="*/ 1095375 w 1304925"/>
                    <a:gd name="connsiteY28" fmla="*/ 647700 h 1685925"/>
                    <a:gd name="connsiteX29" fmla="*/ 995363 w 1304925"/>
                    <a:gd name="connsiteY29" fmla="*/ 481013 h 1685925"/>
                    <a:gd name="connsiteX30" fmla="*/ 942975 w 1304925"/>
                    <a:gd name="connsiteY30" fmla="*/ 319088 h 1685925"/>
                    <a:gd name="connsiteX31" fmla="*/ 866775 w 1304925"/>
                    <a:gd name="connsiteY31" fmla="*/ 133350 h 1685925"/>
                    <a:gd name="connsiteX32" fmla="*/ 809625 w 1304925"/>
                    <a:gd name="connsiteY32" fmla="*/ 0 h 1685925"/>
                    <a:gd name="connsiteX33" fmla="*/ 528638 w 1304925"/>
                    <a:gd name="connsiteY33" fmla="*/ 4763 h 1685925"/>
                    <a:gd name="connsiteX34" fmla="*/ 357188 w 1304925"/>
                    <a:gd name="connsiteY34" fmla="*/ 38100 h 1685925"/>
                    <a:gd name="connsiteX35" fmla="*/ 204788 w 1304925"/>
                    <a:gd name="connsiteY35" fmla="*/ 147638 h 1685925"/>
                    <a:gd name="connsiteX36" fmla="*/ 85725 w 1304925"/>
                    <a:gd name="connsiteY36" fmla="*/ 271463 h 1685925"/>
                    <a:gd name="connsiteX37" fmla="*/ 138113 w 1304925"/>
                    <a:gd name="connsiteY37" fmla="*/ 476250 h 1685925"/>
                    <a:gd name="connsiteX0" fmla="*/ 138113 w 1304925"/>
                    <a:gd name="connsiteY0" fmla="*/ 476250 h 1685925"/>
                    <a:gd name="connsiteX1" fmla="*/ 150019 w 1304925"/>
                    <a:gd name="connsiteY1" fmla="*/ 673894 h 1685925"/>
                    <a:gd name="connsiteX2" fmla="*/ 152400 w 1304925"/>
                    <a:gd name="connsiteY2" fmla="*/ 731044 h 1685925"/>
                    <a:gd name="connsiteX3" fmla="*/ 183357 w 1304925"/>
                    <a:gd name="connsiteY3" fmla="*/ 800100 h 1685925"/>
                    <a:gd name="connsiteX4" fmla="*/ 183356 w 1304925"/>
                    <a:gd name="connsiteY4" fmla="*/ 864394 h 1685925"/>
                    <a:gd name="connsiteX5" fmla="*/ 80963 w 1304925"/>
                    <a:gd name="connsiteY5" fmla="*/ 952500 h 1685925"/>
                    <a:gd name="connsiteX6" fmla="*/ 47625 w 1304925"/>
                    <a:gd name="connsiteY6" fmla="*/ 1042988 h 1685925"/>
                    <a:gd name="connsiteX7" fmla="*/ 33338 w 1304925"/>
                    <a:gd name="connsiteY7" fmla="*/ 1162050 h 1685925"/>
                    <a:gd name="connsiteX8" fmla="*/ 0 w 1304925"/>
                    <a:gd name="connsiteY8" fmla="*/ 1262063 h 1685925"/>
                    <a:gd name="connsiteX9" fmla="*/ 66675 w 1304925"/>
                    <a:gd name="connsiteY9" fmla="*/ 1343025 h 1685925"/>
                    <a:gd name="connsiteX10" fmla="*/ 119063 w 1304925"/>
                    <a:gd name="connsiteY10" fmla="*/ 1404938 h 1685925"/>
                    <a:gd name="connsiteX11" fmla="*/ 152400 w 1304925"/>
                    <a:gd name="connsiteY11" fmla="*/ 1452563 h 1685925"/>
                    <a:gd name="connsiteX12" fmla="*/ 171450 w 1304925"/>
                    <a:gd name="connsiteY12" fmla="*/ 1485900 h 1685925"/>
                    <a:gd name="connsiteX13" fmla="*/ 209550 w 1304925"/>
                    <a:gd name="connsiteY13" fmla="*/ 1543050 h 1685925"/>
                    <a:gd name="connsiteX14" fmla="*/ 247650 w 1304925"/>
                    <a:gd name="connsiteY14" fmla="*/ 1585913 h 1685925"/>
                    <a:gd name="connsiteX15" fmla="*/ 276225 w 1304925"/>
                    <a:gd name="connsiteY15" fmla="*/ 1609725 h 1685925"/>
                    <a:gd name="connsiteX16" fmla="*/ 314325 w 1304925"/>
                    <a:gd name="connsiteY16" fmla="*/ 1628775 h 1685925"/>
                    <a:gd name="connsiteX17" fmla="*/ 361950 w 1304925"/>
                    <a:gd name="connsiteY17" fmla="*/ 1657350 h 1685925"/>
                    <a:gd name="connsiteX18" fmla="*/ 481013 w 1304925"/>
                    <a:gd name="connsiteY18" fmla="*/ 1685925 h 1685925"/>
                    <a:gd name="connsiteX19" fmla="*/ 533400 w 1304925"/>
                    <a:gd name="connsiteY19" fmla="*/ 1676400 h 1685925"/>
                    <a:gd name="connsiteX20" fmla="*/ 585788 w 1304925"/>
                    <a:gd name="connsiteY20" fmla="*/ 1643063 h 1685925"/>
                    <a:gd name="connsiteX21" fmla="*/ 661988 w 1304925"/>
                    <a:gd name="connsiteY21" fmla="*/ 1581150 h 1685925"/>
                    <a:gd name="connsiteX22" fmla="*/ 919163 w 1304925"/>
                    <a:gd name="connsiteY22" fmla="*/ 1252538 h 1685925"/>
                    <a:gd name="connsiteX23" fmla="*/ 938213 w 1304925"/>
                    <a:gd name="connsiteY23" fmla="*/ 1100138 h 1685925"/>
                    <a:gd name="connsiteX24" fmla="*/ 1085850 w 1304925"/>
                    <a:gd name="connsiteY24" fmla="*/ 1081088 h 1685925"/>
                    <a:gd name="connsiteX25" fmla="*/ 1304925 w 1304925"/>
                    <a:gd name="connsiteY25" fmla="*/ 1071563 h 1685925"/>
                    <a:gd name="connsiteX26" fmla="*/ 1290638 w 1304925"/>
                    <a:gd name="connsiteY26" fmla="*/ 900113 h 1685925"/>
                    <a:gd name="connsiteX27" fmla="*/ 1252538 w 1304925"/>
                    <a:gd name="connsiteY27" fmla="*/ 719138 h 1685925"/>
                    <a:gd name="connsiteX28" fmla="*/ 1095375 w 1304925"/>
                    <a:gd name="connsiteY28" fmla="*/ 647700 h 1685925"/>
                    <a:gd name="connsiteX29" fmla="*/ 995363 w 1304925"/>
                    <a:gd name="connsiteY29" fmla="*/ 481013 h 1685925"/>
                    <a:gd name="connsiteX30" fmla="*/ 942975 w 1304925"/>
                    <a:gd name="connsiteY30" fmla="*/ 319088 h 1685925"/>
                    <a:gd name="connsiteX31" fmla="*/ 866775 w 1304925"/>
                    <a:gd name="connsiteY31" fmla="*/ 133350 h 1685925"/>
                    <a:gd name="connsiteX32" fmla="*/ 809625 w 1304925"/>
                    <a:gd name="connsiteY32" fmla="*/ 0 h 1685925"/>
                    <a:gd name="connsiteX33" fmla="*/ 528638 w 1304925"/>
                    <a:gd name="connsiteY33" fmla="*/ 4763 h 1685925"/>
                    <a:gd name="connsiteX34" fmla="*/ 357188 w 1304925"/>
                    <a:gd name="connsiteY34" fmla="*/ 38100 h 1685925"/>
                    <a:gd name="connsiteX35" fmla="*/ 204788 w 1304925"/>
                    <a:gd name="connsiteY35" fmla="*/ 147638 h 1685925"/>
                    <a:gd name="connsiteX36" fmla="*/ 85725 w 1304925"/>
                    <a:gd name="connsiteY36" fmla="*/ 271463 h 1685925"/>
                    <a:gd name="connsiteX37" fmla="*/ 138113 w 1304925"/>
                    <a:gd name="connsiteY37" fmla="*/ 476250 h 1685925"/>
                    <a:gd name="connsiteX0" fmla="*/ 138113 w 1304925"/>
                    <a:gd name="connsiteY0" fmla="*/ 476250 h 1685925"/>
                    <a:gd name="connsiteX1" fmla="*/ 150019 w 1304925"/>
                    <a:gd name="connsiteY1" fmla="*/ 673894 h 1685925"/>
                    <a:gd name="connsiteX2" fmla="*/ 152400 w 1304925"/>
                    <a:gd name="connsiteY2" fmla="*/ 731044 h 1685925"/>
                    <a:gd name="connsiteX3" fmla="*/ 183357 w 1304925"/>
                    <a:gd name="connsiteY3" fmla="*/ 800100 h 1685925"/>
                    <a:gd name="connsiteX4" fmla="*/ 183356 w 1304925"/>
                    <a:gd name="connsiteY4" fmla="*/ 864394 h 1685925"/>
                    <a:gd name="connsiteX5" fmla="*/ 166688 w 1304925"/>
                    <a:gd name="connsiteY5" fmla="*/ 1026319 h 1685925"/>
                    <a:gd name="connsiteX6" fmla="*/ 47625 w 1304925"/>
                    <a:gd name="connsiteY6" fmla="*/ 1042988 h 1685925"/>
                    <a:gd name="connsiteX7" fmla="*/ 33338 w 1304925"/>
                    <a:gd name="connsiteY7" fmla="*/ 1162050 h 1685925"/>
                    <a:gd name="connsiteX8" fmla="*/ 0 w 1304925"/>
                    <a:gd name="connsiteY8" fmla="*/ 1262063 h 1685925"/>
                    <a:gd name="connsiteX9" fmla="*/ 66675 w 1304925"/>
                    <a:gd name="connsiteY9" fmla="*/ 1343025 h 1685925"/>
                    <a:gd name="connsiteX10" fmla="*/ 119063 w 1304925"/>
                    <a:gd name="connsiteY10" fmla="*/ 1404938 h 1685925"/>
                    <a:gd name="connsiteX11" fmla="*/ 152400 w 1304925"/>
                    <a:gd name="connsiteY11" fmla="*/ 1452563 h 1685925"/>
                    <a:gd name="connsiteX12" fmla="*/ 171450 w 1304925"/>
                    <a:gd name="connsiteY12" fmla="*/ 1485900 h 1685925"/>
                    <a:gd name="connsiteX13" fmla="*/ 209550 w 1304925"/>
                    <a:gd name="connsiteY13" fmla="*/ 1543050 h 1685925"/>
                    <a:gd name="connsiteX14" fmla="*/ 247650 w 1304925"/>
                    <a:gd name="connsiteY14" fmla="*/ 1585913 h 1685925"/>
                    <a:gd name="connsiteX15" fmla="*/ 276225 w 1304925"/>
                    <a:gd name="connsiteY15" fmla="*/ 1609725 h 1685925"/>
                    <a:gd name="connsiteX16" fmla="*/ 314325 w 1304925"/>
                    <a:gd name="connsiteY16" fmla="*/ 1628775 h 1685925"/>
                    <a:gd name="connsiteX17" fmla="*/ 361950 w 1304925"/>
                    <a:gd name="connsiteY17" fmla="*/ 1657350 h 1685925"/>
                    <a:gd name="connsiteX18" fmla="*/ 481013 w 1304925"/>
                    <a:gd name="connsiteY18" fmla="*/ 1685925 h 1685925"/>
                    <a:gd name="connsiteX19" fmla="*/ 533400 w 1304925"/>
                    <a:gd name="connsiteY19" fmla="*/ 1676400 h 1685925"/>
                    <a:gd name="connsiteX20" fmla="*/ 585788 w 1304925"/>
                    <a:gd name="connsiteY20" fmla="*/ 1643063 h 1685925"/>
                    <a:gd name="connsiteX21" fmla="*/ 661988 w 1304925"/>
                    <a:gd name="connsiteY21" fmla="*/ 1581150 h 1685925"/>
                    <a:gd name="connsiteX22" fmla="*/ 919163 w 1304925"/>
                    <a:gd name="connsiteY22" fmla="*/ 1252538 h 1685925"/>
                    <a:gd name="connsiteX23" fmla="*/ 938213 w 1304925"/>
                    <a:gd name="connsiteY23" fmla="*/ 1100138 h 1685925"/>
                    <a:gd name="connsiteX24" fmla="*/ 1085850 w 1304925"/>
                    <a:gd name="connsiteY24" fmla="*/ 1081088 h 1685925"/>
                    <a:gd name="connsiteX25" fmla="*/ 1304925 w 1304925"/>
                    <a:gd name="connsiteY25" fmla="*/ 1071563 h 1685925"/>
                    <a:gd name="connsiteX26" fmla="*/ 1290638 w 1304925"/>
                    <a:gd name="connsiteY26" fmla="*/ 900113 h 1685925"/>
                    <a:gd name="connsiteX27" fmla="*/ 1252538 w 1304925"/>
                    <a:gd name="connsiteY27" fmla="*/ 719138 h 1685925"/>
                    <a:gd name="connsiteX28" fmla="*/ 1095375 w 1304925"/>
                    <a:gd name="connsiteY28" fmla="*/ 647700 h 1685925"/>
                    <a:gd name="connsiteX29" fmla="*/ 995363 w 1304925"/>
                    <a:gd name="connsiteY29" fmla="*/ 481013 h 1685925"/>
                    <a:gd name="connsiteX30" fmla="*/ 942975 w 1304925"/>
                    <a:gd name="connsiteY30" fmla="*/ 319088 h 1685925"/>
                    <a:gd name="connsiteX31" fmla="*/ 866775 w 1304925"/>
                    <a:gd name="connsiteY31" fmla="*/ 133350 h 1685925"/>
                    <a:gd name="connsiteX32" fmla="*/ 809625 w 1304925"/>
                    <a:gd name="connsiteY32" fmla="*/ 0 h 1685925"/>
                    <a:gd name="connsiteX33" fmla="*/ 528638 w 1304925"/>
                    <a:gd name="connsiteY33" fmla="*/ 4763 h 1685925"/>
                    <a:gd name="connsiteX34" fmla="*/ 357188 w 1304925"/>
                    <a:gd name="connsiteY34" fmla="*/ 38100 h 1685925"/>
                    <a:gd name="connsiteX35" fmla="*/ 204788 w 1304925"/>
                    <a:gd name="connsiteY35" fmla="*/ 147638 h 1685925"/>
                    <a:gd name="connsiteX36" fmla="*/ 85725 w 1304925"/>
                    <a:gd name="connsiteY36" fmla="*/ 271463 h 1685925"/>
                    <a:gd name="connsiteX37" fmla="*/ 138113 w 1304925"/>
                    <a:gd name="connsiteY37" fmla="*/ 476250 h 1685925"/>
                    <a:gd name="connsiteX0" fmla="*/ 138113 w 1304925"/>
                    <a:gd name="connsiteY0" fmla="*/ 476250 h 1685925"/>
                    <a:gd name="connsiteX1" fmla="*/ 150019 w 1304925"/>
                    <a:gd name="connsiteY1" fmla="*/ 673894 h 1685925"/>
                    <a:gd name="connsiteX2" fmla="*/ 152400 w 1304925"/>
                    <a:gd name="connsiteY2" fmla="*/ 731044 h 1685925"/>
                    <a:gd name="connsiteX3" fmla="*/ 183357 w 1304925"/>
                    <a:gd name="connsiteY3" fmla="*/ 800100 h 1685925"/>
                    <a:gd name="connsiteX4" fmla="*/ 183356 w 1304925"/>
                    <a:gd name="connsiteY4" fmla="*/ 864394 h 1685925"/>
                    <a:gd name="connsiteX5" fmla="*/ 166688 w 1304925"/>
                    <a:gd name="connsiteY5" fmla="*/ 1026319 h 1685925"/>
                    <a:gd name="connsiteX6" fmla="*/ 133350 w 1304925"/>
                    <a:gd name="connsiteY6" fmla="*/ 1143001 h 1685925"/>
                    <a:gd name="connsiteX7" fmla="*/ 33338 w 1304925"/>
                    <a:gd name="connsiteY7" fmla="*/ 1162050 h 1685925"/>
                    <a:gd name="connsiteX8" fmla="*/ 0 w 1304925"/>
                    <a:gd name="connsiteY8" fmla="*/ 1262063 h 1685925"/>
                    <a:gd name="connsiteX9" fmla="*/ 66675 w 1304925"/>
                    <a:gd name="connsiteY9" fmla="*/ 1343025 h 1685925"/>
                    <a:gd name="connsiteX10" fmla="*/ 119063 w 1304925"/>
                    <a:gd name="connsiteY10" fmla="*/ 1404938 h 1685925"/>
                    <a:gd name="connsiteX11" fmla="*/ 152400 w 1304925"/>
                    <a:gd name="connsiteY11" fmla="*/ 1452563 h 1685925"/>
                    <a:gd name="connsiteX12" fmla="*/ 171450 w 1304925"/>
                    <a:gd name="connsiteY12" fmla="*/ 1485900 h 1685925"/>
                    <a:gd name="connsiteX13" fmla="*/ 209550 w 1304925"/>
                    <a:gd name="connsiteY13" fmla="*/ 1543050 h 1685925"/>
                    <a:gd name="connsiteX14" fmla="*/ 247650 w 1304925"/>
                    <a:gd name="connsiteY14" fmla="*/ 1585913 h 1685925"/>
                    <a:gd name="connsiteX15" fmla="*/ 276225 w 1304925"/>
                    <a:gd name="connsiteY15" fmla="*/ 1609725 h 1685925"/>
                    <a:gd name="connsiteX16" fmla="*/ 314325 w 1304925"/>
                    <a:gd name="connsiteY16" fmla="*/ 1628775 h 1685925"/>
                    <a:gd name="connsiteX17" fmla="*/ 361950 w 1304925"/>
                    <a:gd name="connsiteY17" fmla="*/ 1657350 h 1685925"/>
                    <a:gd name="connsiteX18" fmla="*/ 481013 w 1304925"/>
                    <a:gd name="connsiteY18" fmla="*/ 1685925 h 1685925"/>
                    <a:gd name="connsiteX19" fmla="*/ 533400 w 1304925"/>
                    <a:gd name="connsiteY19" fmla="*/ 1676400 h 1685925"/>
                    <a:gd name="connsiteX20" fmla="*/ 585788 w 1304925"/>
                    <a:gd name="connsiteY20" fmla="*/ 1643063 h 1685925"/>
                    <a:gd name="connsiteX21" fmla="*/ 661988 w 1304925"/>
                    <a:gd name="connsiteY21" fmla="*/ 1581150 h 1685925"/>
                    <a:gd name="connsiteX22" fmla="*/ 919163 w 1304925"/>
                    <a:gd name="connsiteY22" fmla="*/ 1252538 h 1685925"/>
                    <a:gd name="connsiteX23" fmla="*/ 938213 w 1304925"/>
                    <a:gd name="connsiteY23" fmla="*/ 1100138 h 1685925"/>
                    <a:gd name="connsiteX24" fmla="*/ 1085850 w 1304925"/>
                    <a:gd name="connsiteY24" fmla="*/ 1081088 h 1685925"/>
                    <a:gd name="connsiteX25" fmla="*/ 1304925 w 1304925"/>
                    <a:gd name="connsiteY25" fmla="*/ 1071563 h 1685925"/>
                    <a:gd name="connsiteX26" fmla="*/ 1290638 w 1304925"/>
                    <a:gd name="connsiteY26" fmla="*/ 900113 h 1685925"/>
                    <a:gd name="connsiteX27" fmla="*/ 1252538 w 1304925"/>
                    <a:gd name="connsiteY27" fmla="*/ 719138 h 1685925"/>
                    <a:gd name="connsiteX28" fmla="*/ 1095375 w 1304925"/>
                    <a:gd name="connsiteY28" fmla="*/ 647700 h 1685925"/>
                    <a:gd name="connsiteX29" fmla="*/ 995363 w 1304925"/>
                    <a:gd name="connsiteY29" fmla="*/ 481013 h 1685925"/>
                    <a:gd name="connsiteX30" fmla="*/ 942975 w 1304925"/>
                    <a:gd name="connsiteY30" fmla="*/ 319088 h 1685925"/>
                    <a:gd name="connsiteX31" fmla="*/ 866775 w 1304925"/>
                    <a:gd name="connsiteY31" fmla="*/ 133350 h 1685925"/>
                    <a:gd name="connsiteX32" fmla="*/ 809625 w 1304925"/>
                    <a:gd name="connsiteY32" fmla="*/ 0 h 1685925"/>
                    <a:gd name="connsiteX33" fmla="*/ 528638 w 1304925"/>
                    <a:gd name="connsiteY33" fmla="*/ 4763 h 1685925"/>
                    <a:gd name="connsiteX34" fmla="*/ 357188 w 1304925"/>
                    <a:gd name="connsiteY34" fmla="*/ 38100 h 1685925"/>
                    <a:gd name="connsiteX35" fmla="*/ 204788 w 1304925"/>
                    <a:gd name="connsiteY35" fmla="*/ 147638 h 1685925"/>
                    <a:gd name="connsiteX36" fmla="*/ 85725 w 1304925"/>
                    <a:gd name="connsiteY36" fmla="*/ 271463 h 1685925"/>
                    <a:gd name="connsiteX37" fmla="*/ 138113 w 1304925"/>
                    <a:gd name="connsiteY37" fmla="*/ 476250 h 1685925"/>
                    <a:gd name="connsiteX0" fmla="*/ 138113 w 1304925"/>
                    <a:gd name="connsiteY0" fmla="*/ 476250 h 1685925"/>
                    <a:gd name="connsiteX1" fmla="*/ 150019 w 1304925"/>
                    <a:gd name="connsiteY1" fmla="*/ 673894 h 1685925"/>
                    <a:gd name="connsiteX2" fmla="*/ 152400 w 1304925"/>
                    <a:gd name="connsiteY2" fmla="*/ 731044 h 1685925"/>
                    <a:gd name="connsiteX3" fmla="*/ 183357 w 1304925"/>
                    <a:gd name="connsiteY3" fmla="*/ 800100 h 1685925"/>
                    <a:gd name="connsiteX4" fmla="*/ 183356 w 1304925"/>
                    <a:gd name="connsiteY4" fmla="*/ 864394 h 1685925"/>
                    <a:gd name="connsiteX5" fmla="*/ 166688 w 1304925"/>
                    <a:gd name="connsiteY5" fmla="*/ 1026319 h 1685925"/>
                    <a:gd name="connsiteX6" fmla="*/ 133350 w 1304925"/>
                    <a:gd name="connsiteY6" fmla="*/ 1143001 h 1685925"/>
                    <a:gd name="connsiteX7" fmla="*/ 102394 w 1304925"/>
                    <a:gd name="connsiteY7" fmla="*/ 1178718 h 1685925"/>
                    <a:gd name="connsiteX8" fmla="*/ 0 w 1304925"/>
                    <a:gd name="connsiteY8" fmla="*/ 1262063 h 1685925"/>
                    <a:gd name="connsiteX9" fmla="*/ 66675 w 1304925"/>
                    <a:gd name="connsiteY9" fmla="*/ 1343025 h 1685925"/>
                    <a:gd name="connsiteX10" fmla="*/ 119063 w 1304925"/>
                    <a:gd name="connsiteY10" fmla="*/ 1404938 h 1685925"/>
                    <a:gd name="connsiteX11" fmla="*/ 152400 w 1304925"/>
                    <a:gd name="connsiteY11" fmla="*/ 1452563 h 1685925"/>
                    <a:gd name="connsiteX12" fmla="*/ 171450 w 1304925"/>
                    <a:gd name="connsiteY12" fmla="*/ 1485900 h 1685925"/>
                    <a:gd name="connsiteX13" fmla="*/ 209550 w 1304925"/>
                    <a:gd name="connsiteY13" fmla="*/ 1543050 h 1685925"/>
                    <a:gd name="connsiteX14" fmla="*/ 247650 w 1304925"/>
                    <a:gd name="connsiteY14" fmla="*/ 1585913 h 1685925"/>
                    <a:gd name="connsiteX15" fmla="*/ 276225 w 1304925"/>
                    <a:gd name="connsiteY15" fmla="*/ 1609725 h 1685925"/>
                    <a:gd name="connsiteX16" fmla="*/ 314325 w 1304925"/>
                    <a:gd name="connsiteY16" fmla="*/ 1628775 h 1685925"/>
                    <a:gd name="connsiteX17" fmla="*/ 361950 w 1304925"/>
                    <a:gd name="connsiteY17" fmla="*/ 1657350 h 1685925"/>
                    <a:gd name="connsiteX18" fmla="*/ 481013 w 1304925"/>
                    <a:gd name="connsiteY18" fmla="*/ 1685925 h 1685925"/>
                    <a:gd name="connsiteX19" fmla="*/ 533400 w 1304925"/>
                    <a:gd name="connsiteY19" fmla="*/ 1676400 h 1685925"/>
                    <a:gd name="connsiteX20" fmla="*/ 585788 w 1304925"/>
                    <a:gd name="connsiteY20" fmla="*/ 1643063 h 1685925"/>
                    <a:gd name="connsiteX21" fmla="*/ 661988 w 1304925"/>
                    <a:gd name="connsiteY21" fmla="*/ 1581150 h 1685925"/>
                    <a:gd name="connsiteX22" fmla="*/ 919163 w 1304925"/>
                    <a:gd name="connsiteY22" fmla="*/ 1252538 h 1685925"/>
                    <a:gd name="connsiteX23" fmla="*/ 938213 w 1304925"/>
                    <a:gd name="connsiteY23" fmla="*/ 1100138 h 1685925"/>
                    <a:gd name="connsiteX24" fmla="*/ 1085850 w 1304925"/>
                    <a:gd name="connsiteY24" fmla="*/ 1081088 h 1685925"/>
                    <a:gd name="connsiteX25" fmla="*/ 1304925 w 1304925"/>
                    <a:gd name="connsiteY25" fmla="*/ 1071563 h 1685925"/>
                    <a:gd name="connsiteX26" fmla="*/ 1290638 w 1304925"/>
                    <a:gd name="connsiteY26" fmla="*/ 900113 h 1685925"/>
                    <a:gd name="connsiteX27" fmla="*/ 1252538 w 1304925"/>
                    <a:gd name="connsiteY27" fmla="*/ 719138 h 1685925"/>
                    <a:gd name="connsiteX28" fmla="*/ 1095375 w 1304925"/>
                    <a:gd name="connsiteY28" fmla="*/ 647700 h 1685925"/>
                    <a:gd name="connsiteX29" fmla="*/ 995363 w 1304925"/>
                    <a:gd name="connsiteY29" fmla="*/ 481013 h 1685925"/>
                    <a:gd name="connsiteX30" fmla="*/ 942975 w 1304925"/>
                    <a:gd name="connsiteY30" fmla="*/ 319088 h 1685925"/>
                    <a:gd name="connsiteX31" fmla="*/ 866775 w 1304925"/>
                    <a:gd name="connsiteY31" fmla="*/ 133350 h 1685925"/>
                    <a:gd name="connsiteX32" fmla="*/ 809625 w 1304925"/>
                    <a:gd name="connsiteY32" fmla="*/ 0 h 1685925"/>
                    <a:gd name="connsiteX33" fmla="*/ 528638 w 1304925"/>
                    <a:gd name="connsiteY33" fmla="*/ 4763 h 1685925"/>
                    <a:gd name="connsiteX34" fmla="*/ 357188 w 1304925"/>
                    <a:gd name="connsiteY34" fmla="*/ 38100 h 1685925"/>
                    <a:gd name="connsiteX35" fmla="*/ 204788 w 1304925"/>
                    <a:gd name="connsiteY35" fmla="*/ 147638 h 1685925"/>
                    <a:gd name="connsiteX36" fmla="*/ 85725 w 1304925"/>
                    <a:gd name="connsiteY36" fmla="*/ 271463 h 1685925"/>
                    <a:gd name="connsiteX37" fmla="*/ 138113 w 1304925"/>
                    <a:gd name="connsiteY37" fmla="*/ 476250 h 1685925"/>
                    <a:gd name="connsiteX0" fmla="*/ 71438 w 1238250"/>
                    <a:gd name="connsiteY0" fmla="*/ 476250 h 1685925"/>
                    <a:gd name="connsiteX1" fmla="*/ 83344 w 1238250"/>
                    <a:gd name="connsiteY1" fmla="*/ 673894 h 1685925"/>
                    <a:gd name="connsiteX2" fmla="*/ 85725 w 1238250"/>
                    <a:gd name="connsiteY2" fmla="*/ 731044 h 1685925"/>
                    <a:gd name="connsiteX3" fmla="*/ 116682 w 1238250"/>
                    <a:gd name="connsiteY3" fmla="*/ 800100 h 1685925"/>
                    <a:gd name="connsiteX4" fmla="*/ 116681 w 1238250"/>
                    <a:gd name="connsiteY4" fmla="*/ 864394 h 1685925"/>
                    <a:gd name="connsiteX5" fmla="*/ 100013 w 1238250"/>
                    <a:gd name="connsiteY5" fmla="*/ 1026319 h 1685925"/>
                    <a:gd name="connsiteX6" fmla="*/ 66675 w 1238250"/>
                    <a:gd name="connsiteY6" fmla="*/ 1143001 h 1685925"/>
                    <a:gd name="connsiteX7" fmla="*/ 35719 w 1238250"/>
                    <a:gd name="connsiteY7" fmla="*/ 1178718 h 1685925"/>
                    <a:gd name="connsiteX8" fmla="*/ 50006 w 1238250"/>
                    <a:gd name="connsiteY8" fmla="*/ 1228726 h 1685925"/>
                    <a:gd name="connsiteX9" fmla="*/ 0 w 1238250"/>
                    <a:gd name="connsiteY9" fmla="*/ 1343025 h 1685925"/>
                    <a:gd name="connsiteX10" fmla="*/ 52388 w 1238250"/>
                    <a:gd name="connsiteY10" fmla="*/ 1404938 h 1685925"/>
                    <a:gd name="connsiteX11" fmla="*/ 85725 w 1238250"/>
                    <a:gd name="connsiteY11" fmla="*/ 1452563 h 1685925"/>
                    <a:gd name="connsiteX12" fmla="*/ 104775 w 1238250"/>
                    <a:gd name="connsiteY12" fmla="*/ 1485900 h 1685925"/>
                    <a:gd name="connsiteX13" fmla="*/ 142875 w 1238250"/>
                    <a:gd name="connsiteY13" fmla="*/ 1543050 h 1685925"/>
                    <a:gd name="connsiteX14" fmla="*/ 180975 w 1238250"/>
                    <a:gd name="connsiteY14" fmla="*/ 1585913 h 1685925"/>
                    <a:gd name="connsiteX15" fmla="*/ 209550 w 1238250"/>
                    <a:gd name="connsiteY15" fmla="*/ 1609725 h 1685925"/>
                    <a:gd name="connsiteX16" fmla="*/ 247650 w 1238250"/>
                    <a:gd name="connsiteY16" fmla="*/ 1628775 h 1685925"/>
                    <a:gd name="connsiteX17" fmla="*/ 295275 w 1238250"/>
                    <a:gd name="connsiteY17" fmla="*/ 1657350 h 1685925"/>
                    <a:gd name="connsiteX18" fmla="*/ 414338 w 1238250"/>
                    <a:gd name="connsiteY18" fmla="*/ 1685925 h 1685925"/>
                    <a:gd name="connsiteX19" fmla="*/ 466725 w 1238250"/>
                    <a:gd name="connsiteY19" fmla="*/ 1676400 h 1685925"/>
                    <a:gd name="connsiteX20" fmla="*/ 519113 w 1238250"/>
                    <a:gd name="connsiteY20" fmla="*/ 1643063 h 1685925"/>
                    <a:gd name="connsiteX21" fmla="*/ 595313 w 1238250"/>
                    <a:gd name="connsiteY21" fmla="*/ 1581150 h 1685925"/>
                    <a:gd name="connsiteX22" fmla="*/ 852488 w 1238250"/>
                    <a:gd name="connsiteY22" fmla="*/ 1252538 h 1685925"/>
                    <a:gd name="connsiteX23" fmla="*/ 871538 w 1238250"/>
                    <a:gd name="connsiteY23" fmla="*/ 1100138 h 1685925"/>
                    <a:gd name="connsiteX24" fmla="*/ 1019175 w 1238250"/>
                    <a:gd name="connsiteY24" fmla="*/ 1081088 h 1685925"/>
                    <a:gd name="connsiteX25" fmla="*/ 1238250 w 1238250"/>
                    <a:gd name="connsiteY25" fmla="*/ 1071563 h 1685925"/>
                    <a:gd name="connsiteX26" fmla="*/ 1223963 w 1238250"/>
                    <a:gd name="connsiteY26" fmla="*/ 900113 h 1685925"/>
                    <a:gd name="connsiteX27" fmla="*/ 1185863 w 1238250"/>
                    <a:gd name="connsiteY27" fmla="*/ 719138 h 1685925"/>
                    <a:gd name="connsiteX28" fmla="*/ 1028700 w 1238250"/>
                    <a:gd name="connsiteY28" fmla="*/ 647700 h 1685925"/>
                    <a:gd name="connsiteX29" fmla="*/ 928688 w 1238250"/>
                    <a:gd name="connsiteY29" fmla="*/ 481013 h 1685925"/>
                    <a:gd name="connsiteX30" fmla="*/ 876300 w 1238250"/>
                    <a:gd name="connsiteY30" fmla="*/ 319088 h 1685925"/>
                    <a:gd name="connsiteX31" fmla="*/ 800100 w 1238250"/>
                    <a:gd name="connsiteY31" fmla="*/ 133350 h 1685925"/>
                    <a:gd name="connsiteX32" fmla="*/ 742950 w 1238250"/>
                    <a:gd name="connsiteY32" fmla="*/ 0 h 1685925"/>
                    <a:gd name="connsiteX33" fmla="*/ 461963 w 1238250"/>
                    <a:gd name="connsiteY33" fmla="*/ 4763 h 1685925"/>
                    <a:gd name="connsiteX34" fmla="*/ 290513 w 1238250"/>
                    <a:gd name="connsiteY34" fmla="*/ 38100 h 1685925"/>
                    <a:gd name="connsiteX35" fmla="*/ 138113 w 1238250"/>
                    <a:gd name="connsiteY35" fmla="*/ 147638 h 1685925"/>
                    <a:gd name="connsiteX36" fmla="*/ 19050 w 1238250"/>
                    <a:gd name="connsiteY36" fmla="*/ 271463 h 1685925"/>
                    <a:gd name="connsiteX37" fmla="*/ 71438 w 1238250"/>
                    <a:gd name="connsiteY37" fmla="*/ 476250 h 1685925"/>
                    <a:gd name="connsiteX0" fmla="*/ 52388 w 1219200"/>
                    <a:gd name="connsiteY0" fmla="*/ 476250 h 1685925"/>
                    <a:gd name="connsiteX1" fmla="*/ 64294 w 1219200"/>
                    <a:gd name="connsiteY1" fmla="*/ 673894 h 1685925"/>
                    <a:gd name="connsiteX2" fmla="*/ 66675 w 1219200"/>
                    <a:gd name="connsiteY2" fmla="*/ 731044 h 1685925"/>
                    <a:gd name="connsiteX3" fmla="*/ 97632 w 1219200"/>
                    <a:gd name="connsiteY3" fmla="*/ 800100 h 1685925"/>
                    <a:gd name="connsiteX4" fmla="*/ 97631 w 1219200"/>
                    <a:gd name="connsiteY4" fmla="*/ 864394 h 1685925"/>
                    <a:gd name="connsiteX5" fmla="*/ 80963 w 1219200"/>
                    <a:gd name="connsiteY5" fmla="*/ 1026319 h 1685925"/>
                    <a:gd name="connsiteX6" fmla="*/ 47625 w 1219200"/>
                    <a:gd name="connsiteY6" fmla="*/ 1143001 h 1685925"/>
                    <a:gd name="connsiteX7" fmla="*/ 16669 w 1219200"/>
                    <a:gd name="connsiteY7" fmla="*/ 1178718 h 1685925"/>
                    <a:gd name="connsiteX8" fmla="*/ 30956 w 1219200"/>
                    <a:gd name="connsiteY8" fmla="*/ 1228726 h 1685925"/>
                    <a:gd name="connsiteX9" fmla="*/ 2382 w 1219200"/>
                    <a:gd name="connsiteY9" fmla="*/ 1264444 h 1685925"/>
                    <a:gd name="connsiteX10" fmla="*/ 33338 w 1219200"/>
                    <a:gd name="connsiteY10" fmla="*/ 1404938 h 1685925"/>
                    <a:gd name="connsiteX11" fmla="*/ 66675 w 1219200"/>
                    <a:gd name="connsiteY11" fmla="*/ 1452563 h 1685925"/>
                    <a:gd name="connsiteX12" fmla="*/ 85725 w 1219200"/>
                    <a:gd name="connsiteY12" fmla="*/ 1485900 h 1685925"/>
                    <a:gd name="connsiteX13" fmla="*/ 123825 w 1219200"/>
                    <a:gd name="connsiteY13" fmla="*/ 1543050 h 1685925"/>
                    <a:gd name="connsiteX14" fmla="*/ 161925 w 1219200"/>
                    <a:gd name="connsiteY14" fmla="*/ 1585913 h 1685925"/>
                    <a:gd name="connsiteX15" fmla="*/ 190500 w 1219200"/>
                    <a:gd name="connsiteY15" fmla="*/ 1609725 h 1685925"/>
                    <a:gd name="connsiteX16" fmla="*/ 228600 w 1219200"/>
                    <a:gd name="connsiteY16" fmla="*/ 1628775 h 1685925"/>
                    <a:gd name="connsiteX17" fmla="*/ 276225 w 1219200"/>
                    <a:gd name="connsiteY17" fmla="*/ 1657350 h 1685925"/>
                    <a:gd name="connsiteX18" fmla="*/ 395288 w 1219200"/>
                    <a:gd name="connsiteY18" fmla="*/ 1685925 h 1685925"/>
                    <a:gd name="connsiteX19" fmla="*/ 447675 w 1219200"/>
                    <a:gd name="connsiteY19" fmla="*/ 1676400 h 1685925"/>
                    <a:gd name="connsiteX20" fmla="*/ 500063 w 1219200"/>
                    <a:gd name="connsiteY20" fmla="*/ 1643063 h 1685925"/>
                    <a:gd name="connsiteX21" fmla="*/ 576263 w 1219200"/>
                    <a:gd name="connsiteY21" fmla="*/ 1581150 h 1685925"/>
                    <a:gd name="connsiteX22" fmla="*/ 833438 w 1219200"/>
                    <a:gd name="connsiteY22" fmla="*/ 1252538 h 1685925"/>
                    <a:gd name="connsiteX23" fmla="*/ 852488 w 1219200"/>
                    <a:gd name="connsiteY23" fmla="*/ 1100138 h 1685925"/>
                    <a:gd name="connsiteX24" fmla="*/ 1000125 w 1219200"/>
                    <a:gd name="connsiteY24" fmla="*/ 1081088 h 1685925"/>
                    <a:gd name="connsiteX25" fmla="*/ 1219200 w 1219200"/>
                    <a:gd name="connsiteY25" fmla="*/ 1071563 h 1685925"/>
                    <a:gd name="connsiteX26" fmla="*/ 1204913 w 1219200"/>
                    <a:gd name="connsiteY26" fmla="*/ 900113 h 1685925"/>
                    <a:gd name="connsiteX27" fmla="*/ 1166813 w 1219200"/>
                    <a:gd name="connsiteY27" fmla="*/ 719138 h 1685925"/>
                    <a:gd name="connsiteX28" fmla="*/ 1009650 w 1219200"/>
                    <a:gd name="connsiteY28" fmla="*/ 647700 h 1685925"/>
                    <a:gd name="connsiteX29" fmla="*/ 909638 w 1219200"/>
                    <a:gd name="connsiteY29" fmla="*/ 481013 h 1685925"/>
                    <a:gd name="connsiteX30" fmla="*/ 857250 w 1219200"/>
                    <a:gd name="connsiteY30" fmla="*/ 319088 h 1685925"/>
                    <a:gd name="connsiteX31" fmla="*/ 781050 w 1219200"/>
                    <a:gd name="connsiteY31" fmla="*/ 133350 h 1685925"/>
                    <a:gd name="connsiteX32" fmla="*/ 723900 w 1219200"/>
                    <a:gd name="connsiteY32" fmla="*/ 0 h 1685925"/>
                    <a:gd name="connsiteX33" fmla="*/ 442913 w 1219200"/>
                    <a:gd name="connsiteY33" fmla="*/ 4763 h 1685925"/>
                    <a:gd name="connsiteX34" fmla="*/ 271463 w 1219200"/>
                    <a:gd name="connsiteY34" fmla="*/ 38100 h 1685925"/>
                    <a:gd name="connsiteX35" fmla="*/ 119063 w 1219200"/>
                    <a:gd name="connsiteY35" fmla="*/ 147638 h 1685925"/>
                    <a:gd name="connsiteX36" fmla="*/ 0 w 1219200"/>
                    <a:gd name="connsiteY36" fmla="*/ 271463 h 1685925"/>
                    <a:gd name="connsiteX37" fmla="*/ 52388 w 1219200"/>
                    <a:gd name="connsiteY37" fmla="*/ 476250 h 1685925"/>
                    <a:gd name="connsiteX0" fmla="*/ 52388 w 1219200"/>
                    <a:gd name="connsiteY0" fmla="*/ 476250 h 1685925"/>
                    <a:gd name="connsiteX1" fmla="*/ 64294 w 1219200"/>
                    <a:gd name="connsiteY1" fmla="*/ 673894 h 1685925"/>
                    <a:gd name="connsiteX2" fmla="*/ 66675 w 1219200"/>
                    <a:gd name="connsiteY2" fmla="*/ 731044 h 1685925"/>
                    <a:gd name="connsiteX3" fmla="*/ 97632 w 1219200"/>
                    <a:gd name="connsiteY3" fmla="*/ 800100 h 1685925"/>
                    <a:gd name="connsiteX4" fmla="*/ 97631 w 1219200"/>
                    <a:gd name="connsiteY4" fmla="*/ 864394 h 1685925"/>
                    <a:gd name="connsiteX5" fmla="*/ 80963 w 1219200"/>
                    <a:gd name="connsiteY5" fmla="*/ 1026319 h 1685925"/>
                    <a:gd name="connsiteX6" fmla="*/ 47625 w 1219200"/>
                    <a:gd name="connsiteY6" fmla="*/ 1143001 h 1685925"/>
                    <a:gd name="connsiteX7" fmla="*/ 16669 w 1219200"/>
                    <a:gd name="connsiteY7" fmla="*/ 1178718 h 1685925"/>
                    <a:gd name="connsiteX8" fmla="*/ 30956 w 1219200"/>
                    <a:gd name="connsiteY8" fmla="*/ 1228726 h 1685925"/>
                    <a:gd name="connsiteX9" fmla="*/ 2382 w 1219200"/>
                    <a:gd name="connsiteY9" fmla="*/ 1264444 h 1685925"/>
                    <a:gd name="connsiteX10" fmla="*/ 73819 w 1219200"/>
                    <a:gd name="connsiteY10" fmla="*/ 1333501 h 1685925"/>
                    <a:gd name="connsiteX11" fmla="*/ 66675 w 1219200"/>
                    <a:gd name="connsiteY11" fmla="*/ 1452563 h 1685925"/>
                    <a:gd name="connsiteX12" fmla="*/ 85725 w 1219200"/>
                    <a:gd name="connsiteY12" fmla="*/ 1485900 h 1685925"/>
                    <a:gd name="connsiteX13" fmla="*/ 123825 w 1219200"/>
                    <a:gd name="connsiteY13" fmla="*/ 1543050 h 1685925"/>
                    <a:gd name="connsiteX14" fmla="*/ 161925 w 1219200"/>
                    <a:gd name="connsiteY14" fmla="*/ 1585913 h 1685925"/>
                    <a:gd name="connsiteX15" fmla="*/ 190500 w 1219200"/>
                    <a:gd name="connsiteY15" fmla="*/ 1609725 h 1685925"/>
                    <a:gd name="connsiteX16" fmla="*/ 228600 w 1219200"/>
                    <a:gd name="connsiteY16" fmla="*/ 1628775 h 1685925"/>
                    <a:gd name="connsiteX17" fmla="*/ 276225 w 1219200"/>
                    <a:gd name="connsiteY17" fmla="*/ 1657350 h 1685925"/>
                    <a:gd name="connsiteX18" fmla="*/ 395288 w 1219200"/>
                    <a:gd name="connsiteY18" fmla="*/ 1685925 h 1685925"/>
                    <a:gd name="connsiteX19" fmla="*/ 447675 w 1219200"/>
                    <a:gd name="connsiteY19" fmla="*/ 1676400 h 1685925"/>
                    <a:gd name="connsiteX20" fmla="*/ 500063 w 1219200"/>
                    <a:gd name="connsiteY20" fmla="*/ 1643063 h 1685925"/>
                    <a:gd name="connsiteX21" fmla="*/ 576263 w 1219200"/>
                    <a:gd name="connsiteY21" fmla="*/ 1581150 h 1685925"/>
                    <a:gd name="connsiteX22" fmla="*/ 833438 w 1219200"/>
                    <a:gd name="connsiteY22" fmla="*/ 1252538 h 1685925"/>
                    <a:gd name="connsiteX23" fmla="*/ 852488 w 1219200"/>
                    <a:gd name="connsiteY23" fmla="*/ 1100138 h 1685925"/>
                    <a:gd name="connsiteX24" fmla="*/ 1000125 w 1219200"/>
                    <a:gd name="connsiteY24" fmla="*/ 1081088 h 1685925"/>
                    <a:gd name="connsiteX25" fmla="*/ 1219200 w 1219200"/>
                    <a:gd name="connsiteY25" fmla="*/ 1071563 h 1685925"/>
                    <a:gd name="connsiteX26" fmla="*/ 1204913 w 1219200"/>
                    <a:gd name="connsiteY26" fmla="*/ 900113 h 1685925"/>
                    <a:gd name="connsiteX27" fmla="*/ 1166813 w 1219200"/>
                    <a:gd name="connsiteY27" fmla="*/ 719138 h 1685925"/>
                    <a:gd name="connsiteX28" fmla="*/ 1009650 w 1219200"/>
                    <a:gd name="connsiteY28" fmla="*/ 647700 h 1685925"/>
                    <a:gd name="connsiteX29" fmla="*/ 909638 w 1219200"/>
                    <a:gd name="connsiteY29" fmla="*/ 481013 h 1685925"/>
                    <a:gd name="connsiteX30" fmla="*/ 857250 w 1219200"/>
                    <a:gd name="connsiteY30" fmla="*/ 319088 h 1685925"/>
                    <a:gd name="connsiteX31" fmla="*/ 781050 w 1219200"/>
                    <a:gd name="connsiteY31" fmla="*/ 133350 h 1685925"/>
                    <a:gd name="connsiteX32" fmla="*/ 723900 w 1219200"/>
                    <a:gd name="connsiteY32" fmla="*/ 0 h 1685925"/>
                    <a:gd name="connsiteX33" fmla="*/ 442913 w 1219200"/>
                    <a:gd name="connsiteY33" fmla="*/ 4763 h 1685925"/>
                    <a:gd name="connsiteX34" fmla="*/ 271463 w 1219200"/>
                    <a:gd name="connsiteY34" fmla="*/ 38100 h 1685925"/>
                    <a:gd name="connsiteX35" fmla="*/ 119063 w 1219200"/>
                    <a:gd name="connsiteY35" fmla="*/ 147638 h 1685925"/>
                    <a:gd name="connsiteX36" fmla="*/ 0 w 1219200"/>
                    <a:gd name="connsiteY36" fmla="*/ 271463 h 1685925"/>
                    <a:gd name="connsiteX37" fmla="*/ 52388 w 1219200"/>
                    <a:gd name="connsiteY37" fmla="*/ 476250 h 1685925"/>
                    <a:gd name="connsiteX0" fmla="*/ 52388 w 1219200"/>
                    <a:gd name="connsiteY0" fmla="*/ 476250 h 1685925"/>
                    <a:gd name="connsiteX1" fmla="*/ 64294 w 1219200"/>
                    <a:gd name="connsiteY1" fmla="*/ 673894 h 1685925"/>
                    <a:gd name="connsiteX2" fmla="*/ 66675 w 1219200"/>
                    <a:gd name="connsiteY2" fmla="*/ 731044 h 1685925"/>
                    <a:gd name="connsiteX3" fmla="*/ 97632 w 1219200"/>
                    <a:gd name="connsiteY3" fmla="*/ 800100 h 1685925"/>
                    <a:gd name="connsiteX4" fmla="*/ 97631 w 1219200"/>
                    <a:gd name="connsiteY4" fmla="*/ 864394 h 1685925"/>
                    <a:gd name="connsiteX5" fmla="*/ 80963 w 1219200"/>
                    <a:gd name="connsiteY5" fmla="*/ 1026319 h 1685925"/>
                    <a:gd name="connsiteX6" fmla="*/ 47625 w 1219200"/>
                    <a:gd name="connsiteY6" fmla="*/ 1143001 h 1685925"/>
                    <a:gd name="connsiteX7" fmla="*/ 16669 w 1219200"/>
                    <a:gd name="connsiteY7" fmla="*/ 1178718 h 1685925"/>
                    <a:gd name="connsiteX8" fmla="*/ 30956 w 1219200"/>
                    <a:gd name="connsiteY8" fmla="*/ 1228726 h 1685925"/>
                    <a:gd name="connsiteX9" fmla="*/ 2382 w 1219200"/>
                    <a:gd name="connsiteY9" fmla="*/ 1264444 h 1685925"/>
                    <a:gd name="connsiteX10" fmla="*/ 73819 w 1219200"/>
                    <a:gd name="connsiteY10" fmla="*/ 1333501 h 1685925"/>
                    <a:gd name="connsiteX11" fmla="*/ 130969 w 1219200"/>
                    <a:gd name="connsiteY11" fmla="*/ 1371600 h 1685925"/>
                    <a:gd name="connsiteX12" fmla="*/ 85725 w 1219200"/>
                    <a:gd name="connsiteY12" fmla="*/ 1485900 h 1685925"/>
                    <a:gd name="connsiteX13" fmla="*/ 123825 w 1219200"/>
                    <a:gd name="connsiteY13" fmla="*/ 1543050 h 1685925"/>
                    <a:gd name="connsiteX14" fmla="*/ 161925 w 1219200"/>
                    <a:gd name="connsiteY14" fmla="*/ 1585913 h 1685925"/>
                    <a:gd name="connsiteX15" fmla="*/ 190500 w 1219200"/>
                    <a:gd name="connsiteY15" fmla="*/ 1609725 h 1685925"/>
                    <a:gd name="connsiteX16" fmla="*/ 228600 w 1219200"/>
                    <a:gd name="connsiteY16" fmla="*/ 1628775 h 1685925"/>
                    <a:gd name="connsiteX17" fmla="*/ 276225 w 1219200"/>
                    <a:gd name="connsiteY17" fmla="*/ 1657350 h 1685925"/>
                    <a:gd name="connsiteX18" fmla="*/ 395288 w 1219200"/>
                    <a:gd name="connsiteY18" fmla="*/ 1685925 h 1685925"/>
                    <a:gd name="connsiteX19" fmla="*/ 447675 w 1219200"/>
                    <a:gd name="connsiteY19" fmla="*/ 1676400 h 1685925"/>
                    <a:gd name="connsiteX20" fmla="*/ 500063 w 1219200"/>
                    <a:gd name="connsiteY20" fmla="*/ 1643063 h 1685925"/>
                    <a:gd name="connsiteX21" fmla="*/ 576263 w 1219200"/>
                    <a:gd name="connsiteY21" fmla="*/ 1581150 h 1685925"/>
                    <a:gd name="connsiteX22" fmla="*/ 833438 w 1219200"/>
                    <a:gd name="connsiteY22" fmla="*/ 1252538 h 1685925"/>
                    <a:gd name="connsiteX23" fmla="*/ 852488 w 1219200"/>
                    <a:gd name="connsiteY23" fmla="*/ 1100138 h 1685925"/>
                    <a:gd name="connsiteX24" fmla="*/ 1000125 w 1219200"/>
                    <a:gd name="connsiteY24" fmla="*/ 1081088 h 1685925"/>
                    <a:gd name="connsiteX25" fmla="*/ 1219200 w 1219200"/>
                    <a:gd name="connsiteY25" fmla="*/ 1071563 h 1685925"/>
                    <a:gd name="connsiteX26" fmla="*/ 1204913 w 1219200"/>
                    <a:gd name="connsiteY26" fmla="*/ 900113 h 1685925"/>
                    <a:gd name="connsiteX27" fmla="*/ 1166813 w 1219200"/>
                    <a:gd name="connsiteY27" fmla="*/ 719138 h 1685925"/>
                    <a:gd name="connsiteX28" fmla="*/ 1009650 w 1219200"/>
                    <a:gd name="connsiteY28" fmla="*/ 647700 h 1685925"/>
                    <a:gd name="connsiteX29" fmla="*/ 909638 w 1219200"/>
                    <a:gd name="connsiteY29" fmla="*/ 481013 h 1685925"/>
                    <a:gd name="connsiteX30" fmla="*/ 857250 w 1219200"/>
                    <a:gd name="connsiteY30" fmla="*/ 319088 h 1685925"/>
                    <a:gd name="connsiteX31" fmla="*/ 781050 w 1219200"/>
                    <a:gd name="connsiteY31" fmla="*/ 133350 h 1685925"/>
                    <a:gd name="connsiteX32" fmla="*/ 723900 w 1219200"/>
                    <a:gd name="connsiteY32" fmla="*/ 0 h 1685925"/>
                    <a:gd name="connsiteX33" fmla="*/ 442913 w 1219200"/>
                    <a:gd name="connsiteY33" fmla="*/ 4763 h 1685925"/>
                    <a:gd name="connsiteX34" fmla="*/ 271463 w 1219200"/>
                    <a:gd name="connsiteY34" fmla="*/ 38100 h 1685925"/>
                    <a:gd name="connsiteX35" fmla="*/ 119063 w 1219200"/>
                    <a:gd name="connsiteY35" fmla="*/ 147638 h 1685925"/>
                    <a:gd name="connsiteX36" fmla="*/ 0 w 1219200"/>
                    <a:gd name="connsiteY36" fmla="*/ 271463 h 1685925"/>
                    <a:gd name="connsiteX37" fmla="*/ 52388 w 1219200"/>
                    <a:gd name="connsiteY37" fmla="*/ 476250 h 1685925"/>
                    <a:gd name="connsiteX0" fmla="*/ 52388 w 1219200"/>
                    <a:gd name="connsiteY0" fmla="*/ 476250 h 1685925"/>
                    <a:gd name="connsiteX1" fmla="*/ 64294 w 1219200"/>
                    <a:gd name="connsiteY1" fmla="*/ 673894 h 1685925"/>
                    <a:gd name="connsiteX2" fmla="*/ 66675 w 1219200"/>
                    <a:gd name="connsiteY2" fmla="*/ 731044 h 1685925"/>
                    <a:gd name="connsiteX3" fmla="*/ 97632 w 1219200"/>
                    <a:gd name="connsiteY3" fmla="*/ 800100 h 1685925"/>
                    <a:gd name="connsiteX4" fmla="*/ 97631 w 1219200"/>
                    <a:gd name="connsiteY4" fmla="*/ 864394 h 1685925"/>
                    <a:gd name="connsiteX5" fmla="*/ 80963 w 1219200"/>
                    <a:gd name="connsiteY5" fmla="*/ 1026319 h 1685925"/>
                    <a:gd name="connsiteX6" fmla="*/ 47625 w 1219200"/>
                    <a:gd name="connsiteY6" fmla="*/ 1143001 h 1685925"/>
                    <a:gd name="connsiteX7" fmla="*/ 16669 w 1219200"/>
                    <a:gd name="connsiteY7" fmla="*/ 1178718 h 1685925"/>
                    <a:gd name="connsiteX8" fmla="*/ 30956 w 1219200"/>
                    <a:gd name="connsiteY8" fmla="*/ 1228726 h 1685925"/>
                    <a:gd name="connsiteX9" fmla="*/ 2382 w 1219200"/>
                    <a:gd name="connsiteY9" fmla="*/ 1264444 h 1685925"/>
                    <a:gd name="connsiteX10" fmla="*/ 73819 w 1219200"/>
                    <a:gd name="connsiteY10" fmla="*/ 1333501 h 1685925"/>
                    <a:gd name="connsiteX11" fmla="*/ 130969 w 1219200"/>
                    <a:gd name="connsiteY11" fmla="*/ 1371600 h 1685925"/>
                    <a:gd name="connsiteX12" fmla="*/ 173831 w 1219200"/>
                    <a:gd name="connsiteY12" fmla="*/ 1452562 h 1685925"/>
                    <a:gd name="connsiteX13" fmla="*/ 123825 w 1219200"/>
                    <a:gd name="connsiteY13" fmla="*/ 1543050 h 1685925"/>
                    <a:gd name="connsiteX14" fmla="*/ 161925 w 1219200"/>
                    <a:gd name="connsiteY14" fmla="*/ 1585913 h 1685925"/>
                    <a:gd name="connsiteX15" fmla="*/ 190500 w 1219200"/>
                    <a:gd name="connsiteY15" fmla="*/ 1609725 h 1685925"/>
                    <a:gd name="connsiteX16" fmla="*/ 228600 w 1219200"/>
                    <a:gd name="connsiteY16" fmla="*/ 1628775 h 1685925"/>
                    <a:gd name="connsiteX17" fmla="*/ 276225 w 1219200"/>
                    <a:gd name="connsiteY17" fmla="*/ 1657350 h 1685925"/>
                    <a:gd name="connsiteX18" fmla="*/ 395288 w 1219200"/>
                    <a:gd name="connsiteY18" fmla="*/ 1685925 h 1685925"/>
                    <a:gd name="connsiteX19" fmla="*/ 447675 w 1219200"/>
                    <a:gd name="connsiteY19" fmla="*/ 1676400 h 1685925"/>
                    <a:gd name="connsiteX20" fmla="*/ 500063 w 1219200"/>
                    <a:gd name="connsiteY20" fmla="*/ 1643063 h 1685925"/>
                    <a:gd name="connsiteX21" fmla="*/ 576263 w 1219200"/>
                    <a:gd name="connsiteY21" fmla="*/ 1581150 h 1685925"/>
                    <a:gd name="connsiteX22" fmla="*/ 833438 w 1219200"/>
                    <a:gd name="connsiteY22" fmla="*/ 1252538 h 1685925"/>
                    <a:gd name="connsiteX23" fmla="*/ 852488 w 1219200"/>
                    <a:gd name="connsiteY23" fmla="*/ 1100138 h 1685925"/>
                    <a:gd name="connsiteX24" fmla="*/ 1000125 w 1219200"/>
                    <a:gd name="connsiteY24" fmla="*/ 1081088 h 1685925"/>
                    <a:gd name="connsiteX25" fmla="*/ 1219200 w 1219200"/>
                    <a:gd name="connsiteY25" fmla="*/ 1071563 h 1685925"/>
                    <a:gd name="connsiteX26" fmla="*/ 1204913 w 1219200"/>
                    <a:gd name="connsiteY26" fmla="*/ 900113 h 1685925"/>
                    <a:gd name="connsiteX27" fmla="*/ 1166813 w 1219200"/>
                    <a:gd name="connsiteY27" fmla="*/ 719138 h 1685925"/>
                    <a:gd name="connsiteX28" fmla="*/ 1009650 w 1219200"/>
                    <a:gd name="connsiteY28" fmla="*/ 647700 h 1685925"/>
                    <a:gd name="connsiteX29" fmla="*/ 909638 w 1219200"/>
                    <a:gd name="connsiteY29" fmla="*/ 481013 h 1685925"/>
                    <a:gd name="connsiteX30" fmla="*/ 857250 w 1219200"/>
                    <a:gd name="connsiteY30" fmla="*/ 319088 h 1685925"/>
                    <a:gd name="connsiteX31" fmla="*/ 781050 w 1219200"/>
                    <a:gd name="connsiteY31" fmla="*/ 133350 h 1685925"/>
                    <a:gd name="connsiteX32" fmla="*/ 723900 w 1219200"/>
                    <a:gd name="connsiteY32" fmla="*/ 0 h 1685925"/>
                    <a:gd name="connsiteX33" fmla="*/ 442913 w 1219200"/>
                    <a:gd name="connsiteY33" fmla="*/ 4763 h 1685925"/>
                    <a:gd name="connsiteX34" fmla="*/ 271463 w 1219200"/>
                    <a:gd name="connsiteY34" fmla="*/ 38100 h 1685925"/>
                    <a:gd name="connsiteX35" fmla="*/ 119063 w 1219200"/>
                    <a:gd name="connsiteY35" fmla="*/ 147638 h 1685925"/>
                    <a:gd name="connsiteX36" fmla="*/ 0 w 1219200"/>
                    <a:gd name="connsiteY36" fmla="*/ 271463 h 1685925"/>
                    <a:gd name="connsiteX37" fmla="*/ 52388 w 1219200"/>
                    <a:gd name="connsiteY37" fmla="*/ 476250 h 1685925"/>
                    <a:gd name="connsiteX0" fmla="*/ 52388 w 1219200"/>
                    <a:gd name="connsiteY0" fmla="*/ 476250 h 1685925"/>
                    <a:gd name="connsiteX1" fmla="*/ 64294 w 1219200"/>
                    <a:gd name="connsiteY1" fmla="*/ 673894 h 1685925"/>
                    <a:gd name="connsiteX2" fmla="*/ 66675 w 1219200"/>
                    <a:gd name="connsiteY2" fmla="*/ 731044 h 1685925"/>
                    <a:gd name="connsiteX3" fmla="*/ 97632 w 1219200"/>
                    <a:gd name="connsiteY3" fmla="*/ 800100 h 1685925"/>
                    <a:gd name="connsiteX4" fmla="*/ 97631 w 1219200"/>
                    <a:gd name="connsiteY4" fmla="*/ 864394 h 1685925"/>
                    <a:gd name="connsiteX5" fmla="*/ 80963 w 1219200"/>
                    <a:gd name="connsiteY5" fmla="*/ 1026319 h 1685925"/>
                    <a:gd name="connsiteX6" fmla="*/ 47625 w 1219200"/>
                    <a:gd name="connsiteY6" fmla="*/ 1143001 h 1685925"/>
                    <a:gd name="connsiteX7" fmla="*/ 16669 w 1219200"/>
                    <a:gd name="connsiteY7" fmla="*/ 1178718 h 1685925"/>
                    <a:gd name="connsiteX8" fmla="*/ 30956 w 1219200"/>
                    <a:gd name="connsiteY8" fmla="*/ 1228726 h 1685925"/>
                    <a:gd name="connsiteX9" fmla="*/ 2382 w 1219200"/>
                    <a:gd name="connsiteY9" fmla="*/ 1264444 h 1685925"/>
                    <a:gd name="connsiteX10" fmla="*/ 73819 w 1219200"/>
                    <a:gd name="connsiteY10" fmla="*/ 1333501 h 1685925"/>
                    <a:gd name="connsiteX11" fmla="*/ 130969 w 1219200"/>
                    <a:gd name="connsiteY11" fmla="*/ 1371600 h 1685925"/>
                    <a:gd name="connsiteX12" fmla="*/ 173831 w 1219200"/>
                    <a:gd name="connsiteY12" fmla="*/ 1452562 h 1685925"/>
                    <a:gd name="connsiteX13" fmla="*/ 252412 w 1219200"/>
                    <a:gd name="connsiteY13" fmla="*/ 1471612 h 1685925"/>
                    <a:gd name="connsiteX14" fmla="*/ 161925 w 1219200"/>
                    <a:gd name="connsiteY14" fmla="*/ 1585913 h 1685925"/>
                    <a:gd name="connsiteX15" fmla="*/ 190500 w 1219200"/>
                    <a:gd name="connsiteY15" fmla="*/ 1609725 h 1685925"/>
                    <a:gd name="connsiteX16" fmla="*/ 228600 w 1219200"/>
                    <a:gd name="connsiteY16" fmla="*/ 1628775 h 1685925"/>
                    <a:gd name="connsiteX17" fmla="*/ 276225 w 1219200"/>
                    <a:gd name="connsiteY17" fmla="*/ 1657350 h 1685925"/>
                    <a:gd name="connsiteX18" fmla="*/ 395288 w 1219200"/>
                    <a:gd name="connsiteY18" fmla="*/ 1685925 h 1685925"/>
                    <a:gd name="connsiteX19" fmla="*/ 447675 w 1219200"/>
                    <a:gd name="connsiteY19" fmla="*/ 1676400 h 1685925"/>
                    <a:gd name="connsiteX20" fmla="*/ 500063 w 1219200"/>
                    <a:gd name="connsiteY20" fmla="*/ 1643063 h 1685925"/>
                    <a:gd name="connsiteX21" fmla="*/ 576263 w 1219200"/>
                    <a:gd name="connsiteY21" fmla="*/ 1581150 h 1685925"/>
                    <a:gd name="connsiteX22" fmla="*/ 833438 w 1219200"/>
                    <a:gd name="connsiteY22" fmla="*/ 1252538 h 1685925"/>
                    <a:gd name="connsiteX23" fmla="*/ 852488 w 1219200"/>
                    <a:gd name="connsiteY23" fmla="*/ 1100138 h 1685925"/>
                    <a:gd name="connsiteX24" fmla="*/ 1000125 w 1219200"/>
                    <a:gd name="connsiteY24" fmla="*/ 1081088 h 1685925"/>
                    <a:gd name="connsiteX25" fmla="*/ 1219200 w 1219200"/>
                    <a:gd name="connsiteY25" fmla="*/ 1071563 h 1685925"/>
                    <a:gd name="connsiteX26" fmla="*/ 1204913 w 1219200"/>
                    <a:gd name="connsiteY26" fmla="*/ 900113 h 1685925"/>
                    <a:gd name="connsiteX27" fmla="*/ 1166813 w 1219200"/>
                    <a:gd name="connsiteY27" fmla="*/ 719138 h 1685925"/>
                    <a:gd name="connsiteX28" fmla="*/ 1009650 w 1219200"/>
                    <a:gd name="connsiteY28" fmla="*/ 647700 h 1685925"/>
                    <a:gd name="connsiteX29" fmla="*/ 909638 w 1219200"/>
                    <a:gd name="connsiteY29" fmla="*/ 481013 h 1685925"/>
                    <a:gd name="connsiteX30" fmla="*/ 857250 w 1219200"/>
                    <a:gd name="connsiteY30" fmla="*/ 319088 h 1685925"/>
                    <a:gd name="connsiteX31" fmla="*/ 781050 w 1219200"/>
                    <a:gd name="connsiteY31" fmla="*/ 133350 h 1685925"/>
                    <a:gd name="connsiteX32" fmla="*/ 723900 w 1219200"/>
                    <a:gd name="connsiteY32" fmla="*/ 0 h 1685925"/>
                    <a:gd name="connsiteX33" fmla="*/ 442913 w 1219200"/>
                    <a:gd name="connsiteY33" fmla="*/ 4763 h 1685925"/>
                    <a:gd name="connsiteX34" fmla="*/ 271463 w 1219200"/>
                    <a:gd name="connsiteY34" fmla="*/ 38100 h 1685925"/>
                    <a:gd name="connsiteX35" fmla="*/ 119063 w 1219200"/>
                    <a:gd name="connsiteY35" fmla="*/ 147638 h 1685925"/>
                    <a:gd name="connsiteX36" fmla="*/ 0 w 1219200"/>
                    <a:gd name="connsiteY36" fmla="*/ 271463 h 1685925"/>
                    <a:gd name="connsiteX37" fmla="*/ 52388 w 1219200"/>
                    <a:gd name="connsiteY37" fmla="*/ 476250 h 1685925"/>
                    <a:gd name="connsiteX0" fmla="*/ 52388 w 1219200"/>
                    <a:gd name="connsiteY0" fmla="*/ 476250 h 1685925"/>
                    <a:gd name="connsiteX1" fmla="*/ 64294 w 1219200"/>
                    <a:gd name="connsiteY1" fmla="*/ 673894 h 1685925"/>
                    <a:gd name="connsiteX2" fmla="*/ 66675 w 1219200"/>
                    <a:gd name="connsiteY2" fmla="*/ 731044 h 1685925"/>
                    <a:gd name="connsiteX3" fmla="*/ 97632 w 1219200"/>
                    <a:gd name="connsiteY3" fmla="*/ 800100 h 1685925"/>
                    <a:gd name="connsiteX4" fmla="*/ 97631 w 1219200"/>
                    <a:gd name="connsiteY4" fmla="*/ 864394 h 1685925"/>
                    <a:gd name="connsiteX5" fmla="*/ 80963 w 1219200"/>
                    <a:gd name="connsiteY5" fmla="*/ 1026319 h 1685925"/>
                    <a:gd name="connsiteX6" fmla="*/ 47625 w 1219200"/>
                    <a:gd name="connsiteY6" fmla="*/ 1143001 h 1685925"/>
                    <a:gd name="connsiteX7" fmla="*/ 16669 w 1219200"/>
                    <a:gd name="connsiteY7" fmla="*/ 1178718 h 1685925"/>
                    <a:gd name="connsiteX8" fmla="*/ 30956 w 1219200"/>
                    <a:gd name="connsiteY8" fmla="*/ 1228726 h 1685925"/>
                    <a:gd name="connsiteX9" fmla="*/ 2382 w 1219200"/>
                    <a:gd name="connsiteY9" fmla="*/ 1264444 h 1685925"/>
                    <a:gd name="connsiteX10" fmla="*/ 73819 w 1219200"/>
                    <a:gd name="connsiteY10" fmla="*/ 1333501 h 1685925"/>
                    <a:gd name="connsiteX11" fmla="*/ 130969 w 1219200"/>
                    <a:gd name="connsiteY11" fmla="*/ 1371600 h 1685925"/>
                    <a:gd name="connsiteX12" fmla="*/ 173831 w 1219200"/>
                    <a:gd name="connsiteY12" fmla="*/ 1452562 h 1685925"/>
                    <a:gd name="connsiteX13" fmla="*/ 252412 w 1219200"/>
                    <a:gd name="connsiteY13" fmla="*/ 1471612 h 1685925"/>
                    <a:gd name="connsiteX14" fmla="*/ 276225 w 1219200"/>
                    <a:gd name="connsiteY14" fmla="*/ 1540670 h 1685925"/>
                    <a:gd name="connsiteX15" fmla="*/ 190500 w 1219200"/>
                    <a:gd name="connsiteY15" fmla="*/ 1609725 h 1685925"/>
                    <a:gd name="connsiteX16" fmla="*/ 228600 w 1219200"/>
                    <a:gd name="connsiteY16" fmla="*/ 1628775 h 1685925"/>
                    <a:gd name="connsiteX17" fmla="*/ 276225 w 1219200"/>
                    <a:gd name="connsiteY17" fmla="*/ 1657350 h 1685925"/>
                    <a:gd name="connsiteX18" fmla="*/ 395288 w 1219200"/>
                    <a:gd name="connsiteY18" fmla="*/ 1685925 h 1685925"/>
                    <a:gd name="connsiteX19" fmla="*/ 447675 w 1219200"/>
                    <a:gd name="connsiteY19" fmla="*/ 1676400 h 1685925"/>
                    <a:gd name="connsiteX20" fmla="*/ 500063 w 1219200"/>
                    <a:gd name="connsiteY20" fmla="*/ 1643063 h 1685925"/>
                    <a:gd name="connsiteX21" fmla="*/ 576263 w 1219200"/>
                    <a:gd name="connsiteY21" fmla="*/ 1581150 h 1685925"/>
                    <a:gd name="connsiteX22" fmla="*/ 833438 w 1219200"/>
                    <a:gd name="connsiteY22" fmla="*/ 1252538 h 1685925"/>
                    <a:gd name="connsiteX23" fmla="*/ 852488 w 1219200"/>
                    <a:gd name="connsiteY23" fmla="*/ 1100138 h 1685925"/>
                    <a:gd name="connsiteX24" fmla="*/ 1000125 w 1219200"/>
                    <a:gd name="connsiteY24" fmla="*/ 1081088 h 1685925"/>
                    <a:gd name="connsiteX25" fmla="*/ 1219200 w 1219200"/>
                    <a:gd name="connsiteY25" fmla="*/ 1071563 h 1685925"/>
                    <a:gd name="connsiteX26" fmla="*/ 1204913 w 1219200"/>
                    <a:gd name="connsiteY26" fmla="*/ 900113 h 1685925"/>
                    <a:gd name="connsiteX27" fmla="*/ 1166813 w 1219200"/>
                    <a:gd name="connsiteY27" fmla="*/ 719138 h 1685925"/>
                    <a:gd name="connsiteX28" fmla="*/ 1009650 w 1219200"/>
                    <a:gd name="connsiteY28" fmla="*/ 647700 h 1685925"/>
                    <a:gd name="connsiteX29" fmla="*/ 909638 w 1219200"/>
                    <a:gd name="connsiteY29" fmla="*/ 481013 h 1685925"/>
                    <a:gd name="connsiteX30" fmla="*/ 857250 w 1219200"/>
                    <a:gd name="connsiteY30" fmla="*/ 319088 h 1685925"/>
                    <a:gd name="connsiteX31" fmla="*/ 781050 w 1219200"/>
                    <a:gd name="connsiteY31" fmla="*/ 133350 h 1685925"/>
                    <a:gd name="connsiteX32" fmla="*/ 723900 w 1219200"/>
                    <a:gd name="connsiteY32" fmla="*/ 0 h 1685925"/>
                    <a:gd name="connsiteX33" fmla="*/ 442913 w 1219200"/>
                    <a:gd name="connsiteY33" fmla="*/ 4763 h 1685925"/>
                    <a:gd name="connsiteX34" fmla="*/ 271463 w 1219200"/>
                    <a:gd name="connsiteY34" fmla="*/ 38100 h 1685925"/>
                    <a:gd name="connsiteX35" fmla="*/ 119063 w 1219200"/>
                    <a:gd name="connsiteY35" fmla="*/ 147638 h 1685925"/>
                    <a:gd name="connsiteX36" fmla="*/ 0 w 1219200"/>
                    <a:gd name="connsiteY36" fmla="*/ 271463 h 1685925"/>
                    <a:gd name="connsiteX37" fmla="*/ 52388 w 1219200"/>
                    <a:gd name="connsiteY37" fmla="*/ 476250 h 1685925"/>
                    <a:gd name="connsiteX0" fmla="*/ 52388 w 1219200"/>
                    <a:gd name="connsiteY0" fmla="*/ 476250 h 1685925"/>
                    <a:gd name="connsiteX1" fmla="*/ 64294 w 1219200"/>
                    <a:gd name="connsiteY1" fmla="*/ 673894 h 1685925"/>
                    <a:gd name="connsiteX2" fmla="*/ 66675 w 1219200"/>
                    <a:gd name="connsiteY2" fmla="*/ 731044 h 1685925"/>
                    <a:gd name="connsiteX3" fmla="*/ 97632 w 1219200"/>
                    <a:gd name="connsiteY3" fmla="*/ 800100 h 1685925"/>
                    <a:gd name="connsiteX4" fmla="*/ 97631 w 1219200"/>
                    <a:gd name="connsiteY4" fmla="*/ 864394 h 1685925"/>
                    <a:gd name="connsiteX5" fmla="*/ 80963 w 1219200"/>
                    <a:gd name="connsiteY5" fmla="*/ 1026319 h 1685925"/>
                    <a:gd name="connsiteX6" fmla="*/ 47625 w 1219200"/>
                    <a:gd name="connsiteY6" fmla="*/ 1143001 h 1685925"/>
                    <a:gd name="connsiteX7" fmla="*/ 16669 w 1219200"/>
                    <a:gd name="connsiteY7" fmla="*/ 1178718 h 1685925"/>
                    <a:gd name="connsiteX8" fmla="*/ 30956 w 1219200"/>
                    <a:gd name="connsiteY8" fmla="*/ 1228726 h 1685925"/>
                    <a:gd name="connsiteX9" fmla="*/ 2382 w 1219200"/>
                    <a:gd name="connsiteY9" fmla="*/ 1264444 h 1685925"/>
                    <a:gd name="connsiteX10" fmla="*/ 73819 w 1219200"/>
                    <a:gd name="connsiteY10" fmla="*/ 1333501 h 1685925"/>
                    <a:gd name="connsiteX11" fmla="*/ 130969 w 1219200"/>
                    <a:gd name="connsiteY11" fmla="*/ 1371600 h 1685925"/>
                    <a:gd name="connsiteX12" fmla="*/ 173831 w 1219200"/>
                    <a:gd name="connsiteY12" fmla="*/ 1452562 h 1685925"/>
                    <a:gd name="connsiteX13" fmla="*/ 252412 w 1219200"/>
                    <a:gd name="connsiteY13" fmla="*/ 1471612 h 1685925"/>
                    <a:gd name="connsiteX14" fmla="*/ 276225 w 1219200"/>
                    <a:gd name="connsiteY14" fmla="*/ 1540670 h 1685925"/>
                    <a:gd name="connsiteX15" fmla="*/ 321468 w 1219200"/>
                    <a:gd name="connsiteY15" fmla="*/ 1588294 h 1685925"/>
                    <a:gd name="connsiteX16" fmla="*/ 228600 w 1219200"/>
                    <a:gd name="connsiteY16" fmla="*/ 1628775 h 1685925"/>
                    <a:gd name="connsiteX17" fmla="*/ 276225 w 1219200"/>
                    <a:gd name="connsiteY17" fmla="*/ 1657350 h 1685925"/>
                    <a:gd name="connsiteX18" fmla="*/ 395288 w 1219200"/>
                    <a:gd name="connsiteY18" fmla="*/ 1685925 h 1685925"/>
                    <a:gd name="connsiteX19" fmla="*/ 447675 w 1219200"/>
                    <a:gd name="connsiteY19" fmla="*/ 1676400 h 1685925"/>
                    <a:gd name="connsiteX20" fmla="*/ 500063 w 1219200"/>
                    <a:gd name="connsiteY20" fmla="*/ 1643063 h 1685925"/>
                    <a:gd name="connsiteX21" fmla="*/ 576263 w 1219200"/>
                    <a:gd name="connsiteY21" fmla="*/ 1581150 h 1685925"/>
                    <a:gd name="connsiteX22" fmla="*/ 833438 w 1219200"/>
                    <a:gd name="connsiteY22" fmla="*/ 1252538 h 1685925"/>
                    <a:gd name="connsiteX23" fmla="*/ 852488 w 1219200"/>
                    <a:gd name="connsiteY23" fmla="*/ 1100138 h 1685925"/>
                    <a:gd name="connsiteX24" fmla="*/ 1000125 w 1219200"/>
                    <a:gd name="connsiteY24" fmla="*/ 1081088 h 1685925"/>
                    <a:gd name="connsiteX25" fmla="*/ 1219200 w 1219200"/>
                    <a:gd name="connsiteY25" fmla="*/ 1071563 h 1685925"/>
                    <a:gd name="connsiteX26" fmla="*/ 1204913 w 1219200"/>
                    <a:gd name="connsiteY26" fmla="*/ 900113 h 1685925"/>
                    <a:gd name="connsiteX27" fmla="*/ 1166813 w 1219200"/>
                    <a:gd name="connsiteY27" fmla="*/ 719138 h 1685925"/>
                    <a:gd name="connsiteX28" fmla="*/ 1009650 w 1219200"/>
                    <a:gd name="connsiteY28" fmla="*/ 647700 h 1685925"/>
                    <a:gd name="connsiteX29" fmla="*/ 909638 w 1219200"/>
                    <a:gd name="connsiteY29" fmla="*/ 481013 h 1685925"/>
                    <a:gd name="connsiteX30" fmla="*/ 857250 w 1219200"/>
                    <a:gd name="connsiteY30" fmla="*/ 319088 h 1685925"/>
                    <a:gd name="connsiteX31" fmla="*/ 781050 w 1219200"/>
                    <a:gd name="connsiteY31" fmla="*/ 133350 h 1685925"/>
                    <a:gd name="connsiteX32" fmla="*/ 723900 w 1219200"/>
                    <a:gd name="connsiteY32" fmla="*/ 0 h 1685925"/>
                    <a:gd name="connsiteX33" fmla="*/ 442913 w 1219200"/>
                    <a:gd name="connsiteY33" fmla="*/ 4763 h 1685925"/>
                    <a:gd name="connsiteX34" fmla="*/ 271463 w 1219200"/>
                    <a:gd name="connsiteY34" fmla="*/ 38100 h 1685925"/>
                    <a:gd name="connsiteX35" fmla="*/ 119063 w 1219200"/>
                    <a:gd name="connsiteY35" fmla="*/ 147638 h 1685925"/>
                    <a:gd name="connsiteX36" fmla="*/ 0 w 1219200"/>
                    <a:gd name="connsiteY36" fmla="*/ 271463 h 1685925"/>
                    <a:gd name="connsiteX37" fmla="*/ 52388 w 1219200"/>
                    <a:gd name="connsiteY37" fmla="*/ 476250 h 1685925"/>
                    <a:gd name="connsiteX0" fmla="*/ 52388 w 1219200"/>
                    <a:gd name="connsiteY0" fmla="*/ 476250 h 1685925"/>
                    <a:gd name="connsiteX1" fmla="*/ 64294 w 1219200"/>
                    <a:gd name="connsiteY1" fmla="*/ 673894 h 1685925"/>
                    <a:gd name="connsiteX2" fmla="*/ 66675 w 1219200"/>
                    <a:gd name="connsiteY2" fmla="*/ 731044 h 1685925"/>
                    <a:gd name="connsiteX3" fmla="*/ 97632 w 1219200"/>
                    <a:gd name="connsiteY3" fmla="*/ 800100 h 1685925"/>
                    <a:gd name="connsiteX4" fmla="*/ 97631 w 1219200"/>
                    <a:gd name="connsiteY4" fmla="*/ 864394 h 1685925"/>
                    <a:gd name="connsiteX5" fmla="*/ 80963 w 1219200"/>
                    <a:gd name="connsiteY5" fmla="*/ 1026319 h 1685925"/>
                    <a:gd name="connsiteX6" fmla="*/ 47625 w 1219200"/>
                    <a:gd name="connsiteY6" fmla="*/ 1143001 h 1685925"/>
                    <a:gd name="connsiteX7" fmla="*/ 16669 w 1219200"/>
                    <a:gd name="connsiteY7" fmla="*/ 1178718 h 1685925"/>
                    <a:gd name="connsiteX8" fmla="*/ 30956 w 1219200"/>
                    <a:gd name="connsiteY8" fmla="*/ 1228726 h 1685925"/>
                    <a:gd name="connsiteX9" fmla="*/ 2382 w 1219200"/>
                    <a:gd name="connsiteY9" fmla="*/ 1264444 h 1685925"/>
                    <a:gd name="connsiteX10" fmla="*/ 73819 w 1219200"/>
                    <a:gd name="connsiteY10" fmla="*/ 1333501 h 1685925"/>
                    <a:gd name="connsiteX11" fmla="*/ 130969 w 1219200"/>
                    <a:gd name="connsiteY11" fmla="*/ 1371600 h 1685925"/>
                    <a:gd name="connsiteX12" fmla="*/ 173831 w 1219200"/>
                    <a:gd name="connsiteY12" fmla="*/ 1452562 h 1685925"/>
                    <a:gd name="connsiteX13" fmla="*/ 252412 w 1219200"/>
                    <a:gd name="connsiteY13" fmla="*/ 1471612 h 1685925"/>
                    <a:gd name="connsiteX14" fmla="*/ 276225 w 1219200"/>
                    <a:gd name="connsiteY14" fmla="*/ 1540670 h 1685925"/>
                    <a:gd name="connsiteX15" fmla="*/ 321468 w 1219200"/>
                    <a:gd name="connsiteY15" fmla="*/ 1588294 h 1685925"/>
                    <a:gd name="connsiteX16" fmla="*/ 366713 w 1219200"/>
                    <a:gd name="connsiteY16" fmla="*/ 1612107 h 1685925"/>
                    <a:gd name="connsiteX17" fmla="*/ 276225 w 1219200"/>
                    <a:gd name="connsiteY17" fmla="*/ 1657350 h 1685925"/>
                    <a:gd name="connsiteX18" fmla="*/ 395288 w 1219200"/>
                    <a:gd name="connsiteY18" fmla="*/ 1685925 h 1685925"/>
                    <a:gd name="connsiteX19" fmla="*/ 447675 w 1219200"/>
                    <a:gd name="connsiteY19" fmla="*/ 1676400 h 1685925"/>
                    <a:gd name="connsiteX20" fmla="*/ 500063 w 1219200"/>
                    <a:gd name="connsiteY20" fmla="*/ 1643063 h 1685925"/>
                    <a:gd name="connsiteX21" fmla="*/ 576263 w 1219200"/>
                    <a:gd name="connsiteY21" fmla="*/ 1581150 h 1685925"/>
                    <a:gd name="connsiteX22" fmla="*/ 833438 w 1219200"/>
                    <a:gd name="connsiteY22" fmla="*/ 1252538 h 1685925"/>
                    <a:gd name="connsiteX23" fmla="*/ 852488 w 1219200"/>
                    <a:gd name="connsiteY23" fmla="*/ 1100138 h 1685925"/>
                    <a:gd name="connsiteX24" fmla="*/ 1000125 w 1219200"/>
                    <a:gd name="connsiteY24" fmla="*/ 1081088 h 1685925"/>
                    <a:gd name="connsiteX25" fmla="*/ 1219200 w 1219200"/>
                    <a:gd name="connsiteY25" fmla="*/ 1071563 h 1685925"/>
                    <a:gd name="connsiteX26" fmla="*/ 1204913 w 1219200"/>
                    <a:gd name="connsiteY26" fmla="*/ 900113 h 1685925"/>
                    <a:gd name="connsiteX27" fmla="*/ 1166813 w 1219200"/>
                    <a:gd name="connsiteY27" fmla="*/ 719138 h 1685925"/>
                    <a:gd name="connsiteX28" fmla="*/ 1009650 w 1219200"/>
                    <a:gd name="connsiteY28" fmla="*/ 647700 h 1685925"/>
                    <a:gd name="connsiteX29" fmla="*/ 909638 w 1219200"/>
                    <a:gd name="connsiteY29" fmla="*/ 481013 h 1685925"/>
                    <a:gd name="connsiteX30" fmla="*/ 857250 w 1219200"/>
                    <a:gd name="connsiteY30" fmla="*/ 319088 h 1685925"/>
                    <a:gd name="connsiteX31" fmla="*/ 781050 w 1219200"/>
                    <a:gd name="connsiteY31" fmla="*/ 133350 h 1685925"/>
                    <a:gd name="connsiteX32" fmla="*/ 723900 w 1219200"/>
                    <a:gd name="connsiteY32" fmla="*/ 0 h 1685925"/>
                    <a:gd name="connsiteX33" fmla="*/ 442913 w 1219200"/>
                    <a:gd name="connsiteY33" fmla="*/ 4763 h 1685925"/>
                    <a:gd name="connsiteX34" fmla="*/ 271463 w 1219200"/>
                    <a:gd name="connsiteY34" fmla="*/ 38100 h 1685925"/>
                    <a:gd name="connsiteX35" fmla="*/ 119063 w 1219200"/>
                    <a:gd name="connsiteY35" fmla="*/ 147638 h 1685925"/>
                    <a:gd name="connsiteX36" fmla="*/ 0 w 1219200"/>
                    <a:gd name="connsiteY36" fmla="*/ 271463 h 1685925"/>
                    <a:gd name="connsiteX37" fmla="*/ 52388 w 1219200"/>
                    <a:gd name="connsiteY37" fmla="*/ 476250 h 1685925"/>
                    <a:gd name="connsiteX0" fmla="*/ 52388 w 1219200"/>
                    <a:gd name="connsiteY0" fmla="*/ 476250 h 1685925"/>
                    <a:gd name="connsiteX1" fmla="*/ 64294 w 1219200"/>
                    <a:gd name="connsiteY1" fmla="*/ 673894 h 1685925"/>
                    <a:gd name="connsiteX2" fmla="*/ 66675 w 1219200"/>
                    <a:gd name="connsiteY2" fmla="*/ 731044 h 1685925"/>
                    <a:gd name="connsiteX3" fmla="*/ 97632 w 1219200"/>
                    <a:gd name="connsiteY3" fmla="*/ 800100 h 1685925"/>
                    <a:gd name="connsiteX4" fmla="*/ 97631 w 1219200"/>
                    <a:gd name="connsiteY4" fmla="*/ 864394 h 1685925"/>
                    <a:gd name="connsiteX5" fmla="*/ 80963 w 1219200"/>
                    <a:gd name="connsiteY5" fmla="*/ 1026319 h 1685925"/>
                    <a:gd name="connsiteX6" fmla="*/ 47625 w 1219200"/>
                    <a:gd name="connsiteY6" fmla="*/ 1143001 h 1685925"/>
                    <a:gd name="connsiteX7" fmla="*/ 16669 w 1219200"/>
                    <a:gd name="connsiteY7" fmla="*/ 1178718 h 1685925"/>
                    <a:gd name="connsiteX8" fmla="*/ 30956 w 1219200"/>
                    <a:gd name="connsiteY8" fmla="*/ 1228726 h 1685925"/>
                    <a:gd name="connsiteX9" fmla="*/ 2382 w 1219200"/>
                    <a:gd name="connsiteY9" fmla="*/ 1264444 h 1685925"/>
                    <a:gd name="connsiteX10" fmla="*/ 73819 w 1219200"/>
                    <a:gd name="connsiteY10" fmla="*/ 1333501 h 1685925"/>
                    <a:gd name="connsiteX11" fmla="*/ 130969 w 1219200"/>
                    <a:gd name="connsiteY11" fmla="*/ 1371600 h 1685925"/>
                    <a:gd name="connsiteX12" fmla="*/ 173831 w 1219200"/>
                    <a:gd name="connsiteY12" fmla="*/ 1452562 h 1685925"/>
                    <a:gd name="connsiteX13" fmla="*/ 252412 w 1219200"/>
                    <a:gd name="connsiteY13" fmla="*/ 1471612 h 1685925"/>
                    <a:gd name="connsiteX14" fmla="*/ 276225 w 1219200"/>
                    <a:gd name="connsiteY14" fmla="*/ 1540670 h 1685925"/>
                    <a:gd name="connsiteX15" fmla="*/ 321468 w 1219200"/>
                    <a:gd name="connsiteY15" fmla="*/ 1588294 h 1685925"/>
                    <a:gd name="connsiteX16" fmla="*/ 366713 w 1219200"/>
                    <a:gd name="connsiteY16" fmla="*/ 1612107 h 1685925"/>
                    <a:gd name="connsiteX17" fmla="*/ 419100 w 1219200"/>
                    <a:gd name="connsiteY17" fmla="*/ 1621631 h 1685925"/>
                    <a:gd name="connsiteX18" fmla="*/ 395288 w 1219200"/>
                    <a:gd name="connsiteY18" fmla="*/ 1685925 h 1685925"/>
                    <a:gd name="connsiteX19" fmla="*/ 447675 w 1219200"/>
                    <a:gd name="connsiteY19" fmla="*/ 1676400 h 1685925"/>
                    <a:gd name="connsiteX20" fmla="*/ 500063 w 1219200"/>
                    <a:gd name="connsiteY20" fmla="*/ 1643063 h 1685925"/>
                    <a:gd name="connsiteX21" fmla="*/ 576263 w 1219200"/>
                    <a:gd name="connsiteY21" fmla="*/ 1581150 h 1685925"/>
                    <a:gd name="connsiteX22" fmla="*/ 833438 w 1219200"/>
                    <a:gd name="connsiteY22" fmla="*/ 1252538 h 1685925"/>
                    <a:gd name="connsiteX23" fmla="*/ 852488 w 1219200"/>
                    <a:gd name="connsiteY23" fmla="*/ 1100138 h 1685925"/>
                    <a:gd name="connsiteX24" fmla="*/ 1000125 w 1219200"/>
                    <a:gd name="connsiteY24" fmla="*/ 1081088 h 1685925"/>
                    <a:gd name="connsiteX25" fmla="*/ 1219200 w 1219200"/>
                    <a:gd name="connsiteY25" fmla="*/ 1071563 h 1685925"/>
                    <a:gd name="connsiteX26" fmla="*/ 1204913 w 1219200"/>
                    <a:gd name="connsiteY26" fmla="*/ 900113 h 1685925"/>
                    <a:gd name="connsiteX27" fmla="*/ 1166813 w 1219200"/>
                    <a:gd name="connsiteY27" fmla="*/ 719138 h 1685925"/>
                    <a:gd name="connsiteX28" fmla="*/ 1009650 w 1219200"/>
                    <a:gd name="connsiteY28" fmla="*/ 647700 h 1685925"/>
                    <a:gd name="connsiteX29" fmla="*/ 909638 w 1219200"/>
                    <a:gd name="connsiteY29" fmla="*/ 481013 h 1685925"/>
                    <a:gd name="connsiteX30" fmla="*/ 857250 w 1219200"/>
                    <a:gd name="connsiteY30" fmla="*/ 319088 h 1685925"/>
                    <a:gd name="connsiteX31" fmla="*/ 781050 w 1219200"/>
                    <a:gd name="connsiteY31" fmla="*/ 133350 h 1685925"/>
                    <a:gd name="connsiteX32" fmla="*/ 723900 w 1219200"/>
                    <a:gd name="connsiteY32" fmla="*/ 0 h 1685925"/>
                    <a:gd name="connsiteX33" fmla="*/ 442913 w 1219200"/>
                    <a:gd name="connsiteY33" fmla="*/ 4763 h 1685925"/>
                    <a:gd name="connsiteX34" fmla="*/ 271463 w 1219200"/>
                    <a:gd name="connsiteY34" fmla="*/ 38100 h 1685925"/>
                    <a:gd name="connsiteX35" fmla="*/ 119063 w 1219200"/>
                    <a:gd name="connsiteY35" fmla="*/ 147638 h 1685925"/>
                    <a:gd name="connsiteX36" fmla="*/ 0 w 1219200"/>
                    <a:gd name="connsiteY36" fmla="*/ 271463 h 1685925"/>
                    <a:gd name="connsiteX37" fmla="*/ 52388 w 1219200"/>
                    <a:gd name="connsiteY37" fmla="*/ 476250 h 1685925"/>
                    <a:gd name="connsiteX0" fmla="*/ 52388 w 1219200"/>
                    <a:gd name="connsiteY0" fmla="*/ 476250 h 1676400"/>
                    <a:gd name="connsiteX1" fmla="*/ 64294 w 1219200"/>
                    <a:gd name="connsiteY1" fmla="*/ 673894 h 1676400"/>
                    <a:gd name="connsiteX2" fmla="*/ 66675 w 1219200"/>
                    <a:gd name="connsiteY2" fmla="*/ 731044 h 1676400"/>
                    <a:gd name="connsiteX3" fmla="*/ 97632 w 1219200"/>
                    <a:gd name="connsiteY3" fmla="*/ 800100 h 1676400"/>
                    <a:gd name="connsiteX4" fmla="*/ 97631 w 1219200"/>
                    <a:gd name="connsiteY4" fmla="*/ 864394 h 1676400"/>
                    <a:gd name="connsiteX5" fmla="*/ 80963 w 1219200"/>
                    <a:gd name="connsiteY5" fmla="*/ 1026319 h 1676400"/>
                    <a:gd name="connsiteX6" fmla="*/ 47625 w 1219200"/>
                    <a:gd name="connsiteY6" fmla="*/ 1143001 h 1676400"/>
                    <a:gd name="connsiteX7" fmla="*/ 16669 w 1219200"/>
                    <a:gd name="connsiteY7" fmla="*/ 1178718 h 1676400"/>
                    <a:gd name="connsiteX8" fmla="*/ 30956 w 1219200"/>
                    <a:gd name="connsiteY8" fmla="*/ 1228726 h 1676400"/>
                    <a:gd name="connsiteX9" fmla="*/ 2382 w 1219200"/>
                    <a:gd name="connsiteY9" fmla="*/ 1264444 h 1676400"/>
                    <a:gd name="connsiteX10" fmla="*/ 73819 w 1219200"/>
                    <a:gd name="connsiteY10" fmla="*/ 1333501 h 1676400"/>
                    <a:gd name="connsiteX11" fmla="*/ 130969 w 1219200"/>
                    <a:gd name="connsiteY11" fmla="*/ 1371600 h 1676400"/>
                    <a:gd name="connsiteX12" fmla="*/ 173831 w 1219200"/>
                    <a:gd name="connsiteY12" fmla="*/ 1452562 h 1676400"/>
                    <a:gd name="connsiteX13" fmla="*/ 252412 w 1219200"/>
                    <a:gd name="connsiteY13" fmla="*/ 1471612 h 1676400"/>
                    <a:gd name="connsiteX14" fmla="*/ 276225 w 1219200"/>
                    <a:gd name="connsiteY14" fmla="*/ 1540670 h 1676400"/>
                    <a:gd name="connsiteX15" fmla="*/ 321468 w 1219200"/>
                    <a:gd name="connsiteY15" fmla="*/ 1588294 h 1676400"/>
                    <a:gd name="connsiteX16" fmla="*/ 366713 w 1219200"/>
                    <a:gd name="connsiteY16" fmla="*/ 1612107 h 1676400"/>
                    <a:gd name="connsiteX17" fmla="*/ 419100 w 1219200"/>
                    <a:gd name="connsiteY17" fmla="*/ 1621631 h 1676400"/>
                    <a:gd name="connsiteX18" fmla="*/ 473870 w 1219200"/>
                    <a:gd name="connsiteY18" fmla="*/ 1585913 h 1676400"/>
                    <a:gd name="connsiteX19" fmla="*/ 447675 w 1219200"/>
                    <a:gd name="connsiteY19" fmla="*/ 1676400 h 1676400"/>
                    <a:gd name="connsiteX20" fmla="*/ 500063 w 1219200"/>
                    <a:gd name="connsiteY20" fmla="*/ 1643063 h 1676400"/>
                    <a:gd name="connsiteX21" fmla="*/ 576263 w 1219200"/>
                    <a:gd name="connsiteY21" fmla="*/ 1581150 h 1676400"/>
                    <a:gd name="connsiteX22" fmla="*/ 833438 w 1219200"/>
                    <a:gd name="connsiteY22" fmla="*/ 1252538 h 1676400"/>
                    <a:gd name="connsiteX23" fmla="*/ 852488 w 1219200"/>
                    <a:gd name="connsiteY23" fmla="*/ 1100138 h 1676400"/>
                    <a:gd name="connsiteX24" fmla="*/ 1000125 w 1219200"/>
                    <a:gd name="connsiteY24" fmla="*/ 1081088 h 1676400"/>
                    <a:gd name="connsiteX25" fmla="*/ 1219200 w 1219200"/>
                    <a:gd name="connsiteY25" fmla="*/ 1071563 h 1676400"/>
                    <a:gd name="connsiteX26" fmla="*/ 1204913 w 1219200"/>
                    <a:gd name="connsiteY26" fmla="*/ 900113 h 1676400"/>
                    <a:gd name="connsiteX27" fmla="*/ 1166813 w 1219200"/>
                    <a:gd name="connsiteY27" fmla="*/ 719138 h 1676400"/>
                    <a:gd name="connsiteX28" fmla="*/ 1009650 w 1219200"/>
                    <a:gd name="connsiteY28" fmla="*/ 647700 h 1676400"/>
                    <a:gd name="connsiteX29" fmla="*/ 909638 w 1219200"/>
                    <a:gd name="connsiteY29" fmla="*/ 481013 h 1676400"/>
                    <a:gd name="connsiteX30" fmla="*/ 857250 w 1219200"/>
                    <a:gd name="connsiteY30" fmla="*/ 319088 h 1676400"/>
                    <a:gd name="connsiteX31" fmla="*/ 781050 w 1219200"/>
                    <a:gd name="connsiteY31" fmla="*/ 133350 h 1676400"/>
                    <a:gd name="connsiteX32" fmla="*/ 723900 w 1219200"/>
                    <a:gd name="connsiteY32" fmla="*/ 0 h 1676400"/>
                    <a:gd name="connsiteX33" fmla="*/ 442913 w 1219200"/>
                    <a:gd name="connsiteY33" fmla="*/ 4763 h 1676400"/>
                    <a:gd name="connsiteX34" fmla="*/ 271463 w 1219200"/>
                    <a:gd name="connsiteY34" fmla="*/ 38100 h 1676400"/>
                    <a:gd name="connsiteX35" fmla="*/ 119063 w 1219200"/>
                    <a:gd name="connsiteY35" fmla="*/ 147638 h 1676400"/>
                    <a:gd name="connsiteX36" fmla="*/ 0 w 1219200"/>
                    <a:gd name="connsiteY36" fmla="*/ 271463 h 1676400"/>
                    <a:gd name="connsiteX37" fmla="*/ 52388 w 1219200"/>
                    <a:gd name="connsiteY37" fmla="*/ 476250 h 1676400"/>
                    <a:gd name="connsiteX0" fmla="*/ 52388 w 1219200"/>
                    <a:gd name="connsiteY0" fmla="*/ 476250 h 1643063"/>
                    <a:gd name="connsiteX1" fmla="*/ 64294 w 1219200"/>
                    <a:gd name="connsiteY1" fmla="*/ 673894 h 1643063"/>
                    <a:gd name="connsiteX2" fmla="*/ 66675 w 1219200"/>
                    <a:gd name="connsiteY2" fmla="*/ 731044 h 1643063"/>
                    <a:gd name="connsiteX3" fmla="*/ 97632 w 1219200"/>
                    <a:gd name="connsiteY3" fmla="*/ 800100 h 1643063"/>
                    <a:gd name="connsiteX4" fmla="*/ 97631 w 1219200"/>
                    <a:gd name="connsiteY4" fmla="*/ 864394 h 1643063"/>
                    <a:gd name="connsiteX5" fmla="*/ 80963 w 1219200"/>
                    <a:gd name="connsiteY5" fmla="*/ 1026319 h 1643063"/>
                    <a:gd name="connsiteX6" fmla="*/ 47625 w 1219200"/>
                    <a:gd name="connsiteY6" fmla="*/ 1143001 h 1643063"/>
                    <a:gd name="connsiteX7" fmla="*/ 16669 w 1219200"/>
                    <a:gd name="connsiteY7" fmla="*/ 1178718 h 1643063"/>
                    <a:gd name="connsiteX8" fmla="*/ 30956 w 1219200"/>
                    <a:gd name="connsiteY8" fmla="*/ 1228726 h 1643063"/>
                    <a:gd name="connsiteX9" fmla="*/ 2382 w 1219200"/>
                    <a:gd name="connsiteY9" fmla="*/ 1264444 h 1643063"/>
                    <a:gd name="connsiteX10" fmla="*/ 73819 w 1219200"/>
                    <a:gd name="connsiteY10" fmla="*/ 1333501 h 1643063"/>
                    <a:gd name="connsiteX11" fmla="*/ 130969 w 1219200"/>
                    <a:gd name="connsiteY11" fmla="*/ 1371600 h 1643063"/>
                    <a:gd name="connsiteX12" fmla="*/ 173831 w 1219200"/>
                    <a:gd name="connsiteY12" fmla="*/ 1452562 h 1643063"/>
                    <a:gd name="connsiteX13" fmla="*/ 252412 w 1219200"/>
                    <a:gd name="connsiteY13" fmla="*/ 1471612 h 1643063"/>
                    <a:gd name="connsiteX14" fmla="*/ 276225 w 1219200"/>
                    <a:gd name="connsiteY14" fmla="*/ 1540670 h 1643063"/>
                    <a:gd name="connsiteX15" fmla="*/ 321468 w 1219200"/>
                    <a:gd name="connsiteY15" fmla="*/ 1588294 h 1643063"/>
                    <a:gd name="connsiteX16" fmla="*/ 366713 w 1219200"/>
                    <a:gd name="connsiteY16" fmla="*/ 1612107 h 1643063"/>
                    <a:gd name="connsiteX17" fmla="*/ 419100 w 1219200"/>
                    <a:gd name="connsiteY17" fmla="*/ 1621631 h 1643063"/>
                    <a:gd name="connsiteX18" fmla="*/ 473870 w 1219200"/>
                    <a:gd name="connsiteY18" fmla="*/ 1585913 h 1643063"/>
                    <a:gd name="connsiteX19" fmla="*/ 504825 w 1219200"/>
                    <a:gd name="connsiteY19" fmla="*/ 1557337 h 1643063"/>
                    <a:gd name="connsiteX20" fmla="*/ 500063 w 1219200"/>
                    <a:gd name="connsiteY20" fmla="*/ 1643063 h 1643063"/>
                    <a:gd name="connsiteX21" fmla="*/ 576263 w 1219200"/>
                    <a:gd name="connsiteY21" fmla="*/ 1581150 h 1643063"/>
                    <a:gd name="connsiteX22" fmla="*/ 833438 w 1219200"/>
                    <a:gd name="connsiteY22" fmla="*/ 1252538 h 1643063"/>
                    <a:gd name="connsiteX23" fmla="*/ 852488 w 1219200"/>
                    <a:gd name="connsiteY23" fmla="*/ 1100138 h 1643063"/>
                    <a:gd name="connsiteX24" fmla="*/ 1000125 w 1219200"/>
                    <a:gd name="connsiteY24" fmla="*/ 1081088 h 1643063"/>
                    <a:gd name="connsiteX25" fmla="*/ 1219200 w 1219200"/>
                    <a:gd name="connsiteY25" fmla="*/ 1071563 h 1643063"/>
                    <a:gd name="connsiteX26" fmla="*/ 1204913 w 1219200"/>
                    <a:gd name="connsiteY26" fmla="*/ 900113 h 1643063"/>
                    <a:gd name="connsiteX27" fmla="*/ 1166813 w 1219200"/>
                    <a:gd name="connsiteY27" fmla="*/ 719138 h 1643063"/>
                    <a:gd name="connsiteX28" fmla="*/ 1009650 w 1219200"/>
                    <a:gd name="connsiteY28" fmla="*/ 647700 h 1643063"/>
                    <a:gd name="connsiteX29" fmla="*/ 909638 w 1219200"/>
                    <a:gd name="connsiteY29" fmla="*/ 481013 h 1643063"/>
                    <a:gd name="connsiteX30" fmla="*/ 857250 w 1219200"/>
                    <a:gd name="connsiteY30" fmla="*/ 319088 h 1643063"/>
                    <a:gd name="connsiteX31" fmla="*/ 781050 w 1219200"/>
                    <a:gd name="connsiteY31" fmla="*/ 133350 h 1643063"/>
                    <a:gd name="connsiteX32" fmla="*/ 723900 w 1219200"/>
                    <a:gd name="connsiteY32" fmla="*/ 0 h 1643063"/>
                    <a:gd name="connsiteX33" fmla="*/ 442913 w 1219200"/>
                    <a:gd name="connsiteY33" fmla="*/ 4763 h 1643063"/>
                    <a:gd name="connsiteX34" fmla="*/ 271463 w 1219200"/>
                    <a:gd name="connsiteY34" fmla="*/ 38100 h 1643063"/>
                    <a:gd name="connsiteX35" fmla="*/ 119063 w 1219200"/>
                    <a:gd name="connsiteY35" fmla="*/ 147638 h 1643063"/>
                    <a:gd name="connsiteX36" fmla="*/ 0 w 1219200"/>
                    <a:gd name="connsiteY36" fmla="*/ 271463 h 1643063"/>
                    <a:gd name="connsiteX37" fmla="*/ 52388 w 1219200"/>
                    <a:gd name="connsiteY37" fmla="*/ 476250 h 1643063"/>
                    <a:gd name="connsiteX0" fmla="*/ 52388 w 1219200"/>
                    <a:gd name="connsiteY0" fmla="*/ 476250 h 1621631"/>
                    <a:gd name="connsiteX1" fmla="*/ 64294 w 1219200"/>
                    <a:gd name="connsiteY1" fmla="*/ 673894 h 1621631"/>
                    <a:gd name="connsiteX2" fmla="*/ 66675 w 1219200"/>
                    <a:gd name="connsiteY2" fmla="*/ 731044 h 1621631"/>
                    <a:gd name="connsiteX3" fmla="*/ 97632 w 1219200"/>
                    <a:gd name="connsiteY3" fmla="*/ 800100 h 1621631"/>
                    <a:gd name="connsiteX4" fmla="*/ 97631 w 1219200"/>
                    <a:gd name="connsiteY4" fmla="*/ 864394 h 1621631"/>
                    <a:gd name="connsiteX5" fmla="*/ 80963 w 1219200"/>
                    <a:gd name="connsiteY5" fmla="*/ 1026319 h 1621631"/>
                    <a:gd name="connsiteX6" fmla="*/ 47625 w 1219200"/>
                    <a:gd name="connsiteY6" fmla="*/ 1143001 h 1621631"/>
                    <a:gd name="connsiteX7" fmla="*/ 16669 w 1219200"/>
                    <a:gd name="connsiteY7" fmla="*/ 1178718 h 1621631"/>
                    <a:gd name="connsiteX8" fmla="*/ 30956 w 1219200"/>
                    <a:gd name="connsiteY8" fmla="*/ 1228726 h 1621631"/>
                    <a:gd name="connsiteX9" fmla="*/ 2382 w 1219200"/>
                    <a:gd name="connsiteY9" fmla="*/ 1264444 h 1621631"/>
                    <a:gd name="connsiteX10" fmla="*/ 73819 w 1219200"/>
                    <a:gd name="connsiteY10" fmla="*/ 1333501 h 1621631"/>
                    <a:gd name="connsiteX11" fmla="*/ 130969 w 1219200"/>
                    <a:gd name="connsiteY11" fmla="*/ 1371600 h 1621631"/>
                    <a:gd name="connsiteX12" fmla="*/ 173831 w 1219200"/>
                    <a:gd name="connsiteY12" fmla="*/ 1452562 h 1621631"/>
                    <a:gd name="connsiteX13" fmla="*/ 252412 w 1219200"/>
                    <a:gd name="connsiteY13" fmla="*/ 1471612 h 1621631"/>
                    <a:gd name="connsiteX14" fmla="*/ 276225 w 1219200"/>
                    <a:gd name="connsiteY14" fmla="*/ 1540670 h 1621631"/>
                    <a:gd name="connsiteX15" fmla="*/ 321468 w 1219200"/>
                    <a:gd name="connsiteY15" fmla="*/ 1588294 h 1621631"/>
                    <a:gd name="connsiteX16" fmla="*/ 366713 w 1219200"/>
                    <a:gd name="connsiteY16" fmla="*/ 1612107 h 1621631"/>
                    <a:gd name="connsiteX17" fmla="*/ 419100 w 1219200"/>
                    <a:gd name="connsiteY17" fmla="*/ 1621631 h 1621631"/>
                    <a:gd name="connsiteX18" fmla="*/ 473870 w 1219200"/>
                    <a:gd name="connsiteY18" fmla="*/ 1585913 h 1621631"/>
                    <a:gd name="connsiteX19" fmla="*/ 504825 w 1219200"/>
                    <a:gd name="connsiteY19" fmla="*/ 1557337 h 1621631"/>
                    <a:gd name="connsiteX20" fmla="*/ 531019 w 1219200"/>
                    <a:gd name="connsiteY20" fmla="*/ 1533525 h 1621631"/>
                    <a:gd name="connsiteX21" fmla="*/ 576263 w 1219200"/>
                    <a:gd name="connsiteY21" fmla="*/ 1581150 h 1621631"/>
                    <a:gd name="connsiteX22" fmla="*/ 833438 w 1219200"/>
                    <a:gd name="connsiteY22" fmla="*/ 1252538 h 1621631"/>
                    <a:gd name="connsiteX23" fmla="*/ 852488 w 1219200"/>
                    <a:gd name="connsiteY23" fmla="*/ 1100138 h 1621631"/>
                    <a:gd name="connsiteX24" fmla="*/ 1000125 w 1219200"/>
                    <a:gd name="connsiteY24" fmla="*/ 1081088 h 1621631"/>
                    <a:gd name="connsiteX25" fmla="*/ 1219200 w 1219200"/>
                    <a:gd name="connsiteY25" fmla="*/ 1071563 h 1621631"/>
                    <a:gd name="connsiteX26" fmla="*/ 1204913 w 1219200"/>
                    <a:gd name="connsiteY26" fmla="*/ 900113 h 1621631"/>
                    <a:gd name="connsiteX27" fmla="*/ 1166813 w 1219200"/>
                    <a:gd name="connsiteY27" fmla="*/ 719138 h 1621631"/>
                    <a:gd name="connsiteX28" fmla="*/ 1009650 w 1219200"/>
                    <a:gd name="connsiteY28" fmla="*/ 647700 h 1621631"/>
                    <a:gd name="connsiteX29" fmla="*/ 909638 w 1219200"/>
                    <a:gd name="connsiteY29" fmla="*/ 481013 h 1621631"/>
                    <a:gd name="connsiteX30" fmla="*/ 857250 w 1219200"/>
                    <a:gd name="connsiteY30" fmla="*/ 319088 h 1621631"/>
                    <a:gd name="connsiteX31" fmla="*/ 781050 w 1219200"/>
                    <a:gd name="connsiteY31" fmla="*/ 133350 h 1621631"/>
                    <a:gd name="connsiteX32" fmla="*/ 723900 w 1219200"/>
                    <a:gd name="connsiteY32" fmla="*/ 0 h 1621631"/>
                    <a:gd name="connsiteX33" fmla="*/ 442913 w 1219200"/>
                    <a:gd name="connsiteY33" fmla="*/ 4763 h 1621631"/>
                    <a:gd name="connsiteX34" fmla="*/ 271463 w 1219200"/>
                    <a:gd name="connsiteY34" fmla="*/ 38100 h 1621631"/>
                    <a:gd name="connsiteX35" fmla="*/ 119063 w 1219200"/>
                    <a:gd name="connsiteY35" fmla="*/ 147638 h 1621631"/>
                    <a:gd name="connsiteX36" fmla="*/ 0 w 1219200"/>
                    <a:gd name="connsiteY36" fmla="*/ 271463 h 1621631"/>
                    <a:gd name="connsiteX37" fmla="*/ 52388 w 1219200"/>
                    <a:gd name="connsiteY37" fmla="*/ 476250 h 16216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</a:cxnLst>
                  <a:rect l="l" t="t" r="r" b="b"/>
                  <a:pathLst>
                    <a:path w="1219200" h="1621631">
                      <a:moveTo>
                        <a:pt x="52388" y="476250"/>
                      </a:moveTo>
                      <a:lnTo>
                        <a:pt x="64294" y="673894"/>
                      </a:lnTo>
                      <a:cubicBezTo>
                        <a:pt x="65088" y="692944"/>
                        <a:pt x="65881" y="711994"/>
                        <a:pt x="66675" y="731044"/>
                      </a:cubicBezTo>
                      <a:lnTo>
                        <a:pt x="97632" y="800100"/>
                      </a:lnTo>
                      <a:cubicBezTo>
                        <a:pt x="97632" y="821531"/>
                        <a:pt x="97631" y="842963"/>
                        <a:pt x="97631" y="864394"/>
                      </a:cubicBezTo>
                      <a:lnTo>
                        <a:pt x="80963" y="1026319"/>
                      </a:lnTo>
                      <a:lnTo>
                        <a:pt x="47625" y="1143001"/>
                      </a:lnTo>
                      <a:lnTo>
                        <a:pt x="16669" y="1178718"/>
                      </a:lnTo>
                      <a:lnTo>
                        <a:pt x="30956" y="1228726"/>
                      </a:lnTo>
                      <a:lnTo>
                        <a:pt x="2382" y="1264444"/>
                      </a:lnTo>
                      <a:lnTo>
                        <a:pt x="73819" y="1333501"/>
                      </a:lnTo>
                      <a:lnTo>
                        <a:pt x="130969" y="1371600"/>
                      </a:lnTo>
                      <a:lnTo>
                        <a:pt x="173831" y="1452562"/>
                      </a:lnTo>
                      <a:lnTo>
                        <a:pt x="252412" y="1471612"/>
                      </a:lnTo>
                      <a:lnTo>
                        <a:pt x="276225" y="1540670"/>
                      </a:lnTo>
                      <a:lnTo>
                        <a:pt x="321468" y="1588294"/>
                      </a:lnTo>
                      <a:lnTo>
                        <a:pt x="366713" y="1612107"/>
                      </a:lnTo>
                      <a:lnTo>
                        <a:pt x="419100" y="1621631"/>
                      </a:lnTo>
                      <a:lnTo>
                        <a:pt x="473870" y="1585913"/>
                      </a:lnTo>
                      <a:lnTo>
                        <a:pt x="504825" y="1557337"/>
                      </a:lnTo>
                      <a:lnTo>
                        <a:pt x="531019" y="1533525"/>
                      </a:lnTo>
                      <a:lnTo>
                        <a:pt x="576263" y="1581150"/>
                      </a:lnTo>
                      <a:lnTo>
                        <a:pt x="833438" y="1252538"/>
                      </a:lnTo>
                      <a:lnTo>
                        <a:pt x="852488" y="1100138"/>
                      </a:lnTo>
                      <a:lnTo>
                        <a:pt x="1000125" y="1081088"/>
                      </a:lnTo>
                      <a:lnTo>
                        <a:pt x="1219200" y="1071563"/>
                      </a:lnTo>
                      <a:lnTo>
                        <a:pt x="1204913" y="900113"/>
                      </a:lnTo>
                      <a:lnTo>
                        <a:pt x="1166813" y="719138"/>
                      </a:lnTo>
                      <a:lnTo>
                        <a:pt x="1009650" y="647700"/>
                      </a:lnTo>
                      <a:lnTo>
                        <a:pt x="909638" y="481013"/>
                      </a:lnTo>
                      <a:lnTo>
                        <a:pt x="857250" y="319088"/>
                      </a:lnTo>
                      <a:lnTo>
                        <a:pt x="781050" y="133350"/>
                      </a:lnTo>
                      <a:lnTo>
                        <a:pt x="723900" y="0"/>
                      </a:lnTo>
                      <a:lnTo>
                        <a:pt x="442913" y="4763"/>
                      </a:lnTo>
                      <a:lnTo>
                        <a:pt x="271463" y="38100"/>
                      </a:lnTo>
                      <a:lnTo>
                        <a:pt x="119063" y="147638"/>
                      </a:lnTo>
                      <a:lnTo>
                        <a:pt x="0" y="271463"/>
                      </a:lnTo>
                      <a:lnTo>
                        <a:pt x="52388" y="476250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1" name="Freeform 90"/>
                <p:cNvSpPr/>
                <p:nvPr/>
              </p:nvSpPr>
              <p:spPr>
                <a:xfrm>
                  <a:off x="7084218" y="3579019"/>
                  <a:ext cx="333374" cy="359569"/>
                </a:xfrm>
                <a:custGeom>
                  <a:avLst/>
                  <a:gdLst>
                    <a:gd name="connsiteX0" fmla="*/ 121444 w 381000"/>
                    <a:gd name="connsiteY0" fmla="*/ 0 h 381000"/>
                    <a:gd name="connsiteX1" fmla="*/ 42862 w 381000"/>
                    <a:gd name="connsiteY1" fmla="*/ 40481 h 381000"/>
                    <a:gd name="connsiteX2" fmla="*/ 0 w 381000"/>
                    <a:gd name="connsiteY2" fmla="*/ 119062 h 381000"/>
                    <a:gd name="connsiteX3" fmla="*/ 7144 w 381000"/>
                    <a:gd name="connsiteY3" fmla="*/ 328612 h 381000"/>
                    <a:gd name="connsiteX4" fmla="*/ 100012 w 381000"/>
                    <a:gd name="connsiteY4" fmla="*/ 352425 h 381000"/>
                    <a:gd name="connsiteX5" fmla="*/ 207169 w 381000"/>
                    <a:gd name="connsiteY5" fmla="*/ 304800 h 381000"/>
                    <a:gd name="connsiteX6" fmla="*/ 245269 w 381000"/>
                    <a:gd name="connsiteY6" fmla="*/ 354806 h 381000"/>
                    <a:gd name="connsiteX7" fmla="*/ 311944 w 381000"/>
                    <a:gd name="connsiteY7" fmla="*/ 381000 h 381000"/>
                    <a:gd name="connsiteX8" fmla="*/ 357187 w 381000"/>
                    <a:gd name="connsiteY8" fmla="*/ 369093 h 381000"/>
                    <a:gd name="connsiteX9" fmla="*/ 376237 w 381000"/>
                    <a:gd name="connsiteY9" fmla="*/ 357187 h 381000"/>
                    <a:gd name="connsiteX10" fmla="*/ 376237 w 381000"/>
                    <a:gd name="connsiteY10" fmla="*/ 309562 h 381000"/>
                    <a:gd name="connsiteX11" fmla="*/ 381000 w 381000"/>
                    <a:gd name="connsiteY11" fmla="*/ 252412 h 381000"/>
                    <a:gd name="connsiteX12" fmla="*/ 354806 w 381000"/>
                    <a:gd name="connsiteY12" fmla="*/ 219075 h 381000"/>
                    <a:gd name="connsiteX13" fmla="*/ 319087 w 381000"/>
                    <a:gd name="connsiteY13" fmla="*/ 178593 h 381000"/>
                    <a:gd name="connsiteX14" fmla="*/ 280987 w 381000"/>
                    <a:gd name="connsiteY14" fmla="*/ 164306 h 381000"/>
                    <a:gd name="connsiteX15" fmla="*/ 192881 w 381000"/>
                    <a:gd name="connsiteY15" fmla="*/ 92868 h 381000"/>
                    <a:gd name="connsiteX16" fmla="*/ 121444 w 381000"/>
                    <a:gd name="connsiteY16" fmla="*/ 0 h 381000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354806 w 381000"/>
                    <a:gd name="connsiteY12" fmla="*/ 197644 h 359569"/>
                    <a:gd name="connsiteX13" fmla="*/ 319087 w 381000"/>
                    <a:gd name="connsiteY13" fmla="*/ 157162 h 359569"/>
                    <a:gd name="connsiteX14" fmla="*/ 280987 w 381000"/>
                    <a:gd name="connsiteY14" fmla="*/ 142875 h 359569"/>
                    <a:gd name="connsiteX15" fmla="*/ 192881 w 381000"/>
                    <a:gd name="connsiteY15" fmla="*/ 71437 h 359569"/>
                    <a:gd name="connsiteX16" fmla="*/ 111919 w 381000"/>
                    <a:gd name="connsiteY16" fmla="*/ 0 h 359569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354806 w 381000"/>
                    <a:gd name="connsiteY12" fmla="*/ 197644 h 359569"/>
                    <a:gd name="connsiteX13" fmla="*/ 319087 w 381000"/>
                    <a:gd name="connsiteY13" fmla="*/ 157162 h 359569"/>
                    <a:gd name="connsiteX14" fmla="*/ 280987 w 381000"/>
                    <a:gd name="connsiteY14" fmla="*/ 142875 h 359569"/>
                    <a:gd name="connsiteX15" fmla="*/ 152400 w 381000"/>
                    <a:gd name="connsiteY15" fmla="*/ 61912 h 359569"/>
                    <a:gd name="connsiteX16" fmla="*/ 111919 w 381000"/>
                    <a:gd name="connsiteY16" fmla="*/ 0 h 359569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354806 w 381000"/>
                    <a:gd name="connsiteY12" fmla="*/ 197644 h 359569"/>
                    <a:gd name="connsiteX13" fmla="*/ 319087 w 381000"/>
                    <a:gd name="connsiteY13" fmla="*/ 157162 h 359569"/>
                    <a:gd name="connsiteX14" fmla="*/ 171449 w 381000"/>
                    <a:gd name="connsiteY14" fmla="*/ 109538 h 359569"/>
                    <a:gd name="connsiteX15" fmla="*/ 152400 w 381000"/>
                    <a:gd name="connsiteY15" fmla="*/ 61912 h 359569"/>
                    <a:gd name="connsiteX16" fmla="*/ 111919 w 381000"/>
                    <a:gd name="connsiteY16" fmla="*/ 0 h 359569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354806 w 381000"/>
                    <a:gd name="connsiteY12" fmla="*/ 197644 h 359569"/>
                    <a:gd name="connsiteX13" fmla="*/ 226219 w 381000"/>
                    <a:gd name="connsiteY13" fmla="*/ 145255 h 359569"/>
                    <a:gd name="connsiteX14" fmla="*/ 171449 w 381000"/>
                    <a:gd name="connsiteY14" fmla="*/ 109538 h 359569"/>
                    <a:gd name="connsiteX15" fmla="*/ 152400 w 381000"/>
                    <a:gd name="connsiteY15" fmla="*/ 61912 h 359569"/>
                    <a:gd name="connsiteX16" fmla="*/ 111919 w 381000"/>
                    <a:gd name="connsiteY16" fmla="*/ 0 h 359569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271463 w 381000"/>
                    <a:gd name="connsiteY12" fmla="*/ 171450 h 359569"/>
                    <a:gd name="connsiteX13" fmla="*/ 226219 w 381000"/>
                    <a:gd name="connsiteY13" fmla="*/ 145255 h 359569"/>
                    <a:gd name="connsiteX14" fmla="*/ 171449 w 381000"/>
                    <a:gd name="connsiteY14" fmla="*/ 109538 h 359569"/>
                    <a:gd name="connsiteX15" fmla="*/ 152400 w 381000"/>
                    <a:gd name="connsiteY15" fmla="*/ 61912 h 359569"/>
                    <a:gd name="connsiteX16" fmla="*/ 111919 w 381000"/>
                    <a:gd name="connsiteY16" fmla="*/ 0 h 359569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271463 w 381000"/>
                    <a:gd name="connsiteY12" fmla="*/ 171450 h 359569"/>
                    <a:gd name="connsiteX13" fmla="*/ 216694 w 381000"/>
                    <a:gd name="connsiteY13" fmla="*/ 152399 h 359569"/>
                    <a:gd name="connsiteX14" fmla="*/ 171449 w 381000"/>
                    <a:gd name="connsiteY14" fmla="*/ 109538 h 359569"/>
                    <a:gd name="connsiteX15" fmla="*/ 152400 w 381000"/>
                    <a:gd name="connsiteY15" fmla="*/ 61912 h 359569"/>
                    <a:gd name="connsiteX16" fmla="*/ 111919 w 381000"/>
                    <a:gd name="connsiteY16" fmla="*/ 0 h 359569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271463 w 381000"/>
                    <a:gd name="connsiteY12" fmla="*/ 171450 h 359569"/>
                    <a:gd name="connsiteX13" fmla="*/ 214313 w 381000"/>
                    <a:gd name="connsiteY13" fmla="*/ 130967 h 359569"/>
                    <a:gd name="connsiteX14" fmla="*/ 171449 w 381000"/>
                    <a:gd name="connsiteY14" fmla="*/ 109538 h 359569"/>
                    <a:gd name="connsiteX15" fmla="*/ 152400 w 381000"/>
                    <a:gd name="connsiteY15" fmla="*/ 61912 h 359569"/>
                    <a:gd name="connsiteX16" fmla="*/ 111919 w 381000"/>
                    <a:gd name="connsiteY16" fmla="*/ 0 h 359569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271463 w 381000"/>
                    <a:gd name="connsiteY12" fmla="*/ 171450 h 359569"/>
                    <a:gd name="connsiteX13" fmla="*/ 214313 w 381000"/>
                    <a:gd name="connsiteY13" fmla="*/ 130967 h 359569"/>
                    <a:gd name="connsiteX14" fmla="*/ 171449 w 381000"/>
                    <a:gd name="connsiteY14" fmla="*/ 109538 h 359569"/>
                    <a:gd name="connsiteX15" fmla="*/ 152400 w 381000"/>
                    <a:gd name="connsiteY15" fmla="*/ 61912 h 359569"/>
                    <a:gd name="connsiteX16" fmla="*/ 111919 w 381000"/>
                    <a:gd name="connsiteY16" fmla="*/ 0 h 359569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211932 w 381000"/>
                    <a:gd name="connsiteY12" fmla="*/ 178594 h 359569"/>
                    <a:gd name="connsiteX13" fmla="*/ 214313 w 381000"/>
                    <a:gd name="connsiteY13" fmla="*/ 130967 h 359569"/>
                    <a:gd name="connsiteX14" fmla="*/ 171449 w 381000"/>
                    <a:gd name="connsiteY14" fmla="*/ 109538 h 359569"/>
                    <a:gd name="connsiteX15" fmla="*/ 152400 w 381000"/>
                    <a:gd name="connsiteY15" fmla="*/ 61912 h 359569"/>
                    <a:gd name="connsiteX16" fmla="*/ 111919 w 381000"/>
                    <a:gd name="connsiteY16" fmla="*/ 0 h 359569"/>
                    <a:gd name="connsiteX0" fmla="*/ 111919 w 381000"/>
                    <a:gd name="connsiteY0" fmla="*/ 0 h 359569"/>
                    <a:gd name="connsiteX1" fmla="*/ 42862 w 381000"/>
                    <a:gd name="connsiteY1" fmla="*/ 19050 h 359569"/>
                    <a:gd name="connsiteX2" fmla="*/ 0 w 381000"/>
                    <a:gd name="connsiteY2" fmla="*/ 97631 h 359569"/>
                    <a:gd name="connsiteX3" fmla="*/ 7144 w 381000"/>
                    <a:gd name="connsiteY3" fmla="*/ 307181 h 359569"/>
                    <a:gd name="connsiteX4" fmla="*/ 100012 w 381000"/>
                    <a:gd name="connsiteY4" fmla="*/ 330994 h 359569"/>
                    <a:gd name="connsiteX5" fmla="*/ 207169 w 381000"/>
                    <a:gd name="connsiteY5" fmla="*/ 283369 h 359569"/>
                    <a:gd name="connsiteX6" fmla="*/ 245269 w 381000"/>
                    <a:gd name="connsiteY6" fmla="*/ 333375 h 359569"/>
                    <a:gd name="connsiteX7" fmla="*/ 311944 w 381000"/>
                    <a:gd name="connsiteY7" fmla="*/ 359569 h 359569"/>
                    <a:gd name="connsiteX8" fmla="*/ 357187 w 381000"/>
                    <a:gd name="connsiteY8" fmla="*/ 347662 h 359569"/>
                    <a:gd name="connsiteX9" fmla="*/ 376237 w 381000"/>
                    <a:gd name="connsiteY9" fmla="*/ 335756 h 359569"/>
                    <a:gd name="connsiteX10" fmla="*/ 376237 w 381000"/>
                    <a:gd name="connsiteY10" fmla="*/ 288131 h 359569"/>
                    <a:gd name="connsiteX11" fmla="*/ 381000 w 381000"/>
                    <a:gd name="connsiteY11" fmla="*/ 230981 h 359569"/>
                    <a:gd name="connsiteX12" fmla="*/ 264319 w 381000"/>
                    <a:gd name="connsiteY12" fmla="*/ 161925 h 359569"/>
                    <a:gd name="connsiteX13" fmla="*/ 211932 w 381000"/>
                    <a:gd name="connsiteY13" fmla="*/ 178594 h 359569"/>
                    <a:gd name="connsiteX14" fmla="*/ 214313 w 381000"/>
                    <a:gd name="connsiteY14" fmla="*/ 130967 h 359569"/>
                    <a:gd name="connsiteX15" fmla="*/ 171449 w 381000"/>
                    <a:gd name="connsiteY15" fmla="*/ 109538 h 359569"/>
                    <a:gd name="connsiteX16" fmla="*/ 152400 w 381000"/>
                    <a:gd name="connsiteY16" fmla="*/ 61912 h 359569"/>
                    <a:gd name="connsiteX17" fmla="*/ 111919 w 381000"/>
                    <a:gd name="connsiteY17" fmla="*/ 0 h 359569"/>
                    <a:gd name="connsiteX0" fmla="*/ 111919 w 376237"/>
                    <a:gd name="connsiteY0" fmla="*/ 0 h 359569"/>
                    <a:gd name="connsiteX1" fmla="*/ 42862 w 376237"/>
                    <a:gd name="connsiteY1" fmla="*/ 19050 h 359569"/>
                    <a:gd name="connsiteX2" fmla="*/ 0 w 376237"/>
                    <a:gd name="connsiteY2" fmla="*/ 97631 h 359569"/>
                    <a:gd name="connsiteX3" fmla="*/ 7144 w 376237"/>
                    <a:gd name="connsiteY3" fmla="*/ 307181 h 359569"/>
                    <a:gd name="connsiteX4" fmla="*/ 100012 w 376237"/>
                    <a:gd name="connsiteY4" fmla="*/ 330994 h 359569"/>
                    <a:gd name="connsiteX5" fmla="*/ 207169 w 376237"/>
                    <a:gd name="connsiteY5" fmla="*/ 283369 h 359569"/>
                    <a:gd name="connsiteX6" fmla="*/ 245269 w 376237"/>
                    <a:gd name="connsiteY6" fmla="*/ 333375 h 359569"/>
                    <a:gd name="connsiteX7" fmla="*/ 311944 w 376237"/>
                    <a:gd name="connsiteY7" fmla="*/ 359569 h 359569"/>
                    <a:gd name="connsiteX8" fmla="*/ 357187 w 376237"/>
                    <a:gd name="connsiteY8" fmla="*/ 347662 h 359569"/>
                    <a:gd name="connsiteX9" fmla="*/ 376237 w 376237"/>
                    <a:gd name="connsiteY9" fmla="*/ 335756 h 359569"/>
                    <a:gd name="connsiteX10" fmla="*/ 376237 w 376237"/>
                    <a:gd name="connsiteY10" fmla="*/ 288131 h 359569"/>
                    <a:gd name="connsiteX11" fmla="*/ 330994 w 376237"/>
                    <a:gd name="connsiteY11" fmla="*/ 226218 h 359569"/>
                    <a:gd name="connsiteX12" fmla="*/ 264319 w 376237"/>
                    <a:gd name="connsiteY12" fmla="*/ 161925 h 359569"/>
                    <a:gd name="connsiteX13" fmla="*/ 211932 w 376237"/>
                    <a:gd name="connsiteY13" fmla="*/ 178594 h 359569"/>
                    <a:gd name="connsiteX14" fmla="*/ 214313 w 376237"/>
                    <a:gd name="connsiteY14" fmla="*/ 130967 h 359569"/>
                    <a:gd name="connsiteX15" fmla="*/ 171449 w 376237"/>
                    <a:gd name="connsiteY15" fmla="*/ 109538 h 359569"/>
                    <a:gd name="connsiteX16" fmla="*/ 152400 w 376237"/>
                    <a:gd name="connsiteY16" fmla="*/ 61912 h 359569"/>
                    <a:gd name="connsiteX17" fmla="*/ 111919 w 376237"/>
                    <a:gd name="connsiteY17" fmla="*/ 0 h 359569"/>
                    <a:gd name="connsiteX0" fmla="*/ 111919 w 376237"/>
                    <a:gd name="connsiteY0" fmla="*/ 0 h 359569"/>
                    <a:gd name="connsiteX1" fmla="*/ 42862 w 376237"/>
                    <a:gd name="connsiteY1" fmla="*/ 19050 h 359569"/>
                    <a:gd name="connsiteX2" fmla="*/ 0 w 376237"/>
                    <a:gd name="connsiteY2" fmla="*/ 97631 h 359569"/>
                    <a:gd name="connsiteX3" fmla="*/ 7144 w 376237"/>
                    <a:gd name="connsiteY3" fmla="*/ 307181 h 359569"/>
                    <a:gd name="connsiteX4" fmla="*/ 100012 w 376237"/>
                    <a:gd name="connsiteY4" fmla="*/ 330994 h 359569"/>
                    <a:gd name="connsiteX5" fmla="*/ 207169 w 376237"/>
                    <a:gd name="connsiteY5" fmla="*/ 283369 h 359569"/>
                    <a:gd name="connsiteX6" fmla="*/ 245269 w 376237"/>
                    <a:gd name="connsiteY6" fmla="*/ 333375 h 359569"/>
                    <a:gd name="connsiteX7" fmla="*/ 311944 w 376237"/>
                    <a:gd name="connsiteY7" fmla="*/ 359569 h 359569"/>
                    <a:gd name="connsiteX8" fmla="*/ 357187 w 376237"/>
                    <a:gd name="connsiteY8" fmla="*/ 347662 h 359569"/>
                    <a:gd name="connsiteX9" fmla="*/ 376237 w 376237"/>
                    <a:gd name="connsiteY9" fmla="*/ 335756 h 359569"/>
                    <a:gd name="connsiteX10" fmla="*/ 323849 w 376237"/>
                    <a:gd name="connsiteY10" fmla="*/ 264319 h 359569"/>
                    <a:gd name="connsiteX11" fmla="*/ 330994 w 376237"/>
                    <a:gd name="connsiteY11" fmla="*/ 226218 h 359569"/>
                    <a:gd name="connsiteX12" fmla="*/ 264319 w 376237"/>
                    <a:gd name="connsiteY12" fmla="*/ 161925 h 359569"/>
                    <a:gd name="connsiteX13" fmla="*/ 211932 w 376237"/>
                    <a:gd name="connsiteY13" fmla="*/ 178594 h 359569"/>
                    <a:gd name="connsiteX14" fmla="*/ 214313 w 376237"/>
                    <a:gd name="connsiteY14" fmla="*/ 130967 h 359569"/>
                    <a:gd name="connsiteX15" fmla="*/ 171449 w 376237"/>
                    <a:gd name="connsiteY15" fmla="*/ 109538 h 359569"/>
                    <a:gd name="connsiteX16" fmla="*/ 152400 w 376237"/>
                    <a:gd name="connsiteY16" fmla="*/ 61912 h 359569"/>
                    <a:gd name="connsiteX17" fmla="*/ 111919 w 376237"/>
                    <a:gd name="connsiteY17" fmla="*/ 0 h 359569"/>
                    <a:gd name="connsiteX0" fmla="*/ 111919 w 376237"/>
                    <a:gd name="connsiteY0" fmla="*/ 0 h 359569"/>
                    <a:gd name="connsiteX1" fmla="*/ 42862 w 376237"/>
                    <a:gd name="connsiteY1" fmla="*/ 19050 h 359569"/>
                    <a:gd name="connsiteX2" fmla="*/ 0 w 376237"/>
                    <a:gd name="connsiteY2" fmla="*/ 97631 h 359569"/>
                    <a:gd name="connsiteX3" fmla="*/ 7144 w 376237"/>
                    <a:gd name="connsiteY3" fmla="*/ 307181 h 359569"/>
                    <a:gd name="connsiteX4" fmla="*/ 100012 w 376237"/>
                    <a:gd name="connsiteY4" fmla="*/ 330994 h 359569"/>
                    <a:gd name="connsiteX5" fmla="*/ 207169 w 376237"/>
                    <a:gd name="connsiteY5" fmla="*/ 283369 h 359569"/>
                    <a:gd name="connsiteX6" fmla="*/ 245269 w 376237"/>
                    <a:gd name="connsiteY6" fmla="*/ 333375 h 359569"/>
                    <a:gd name="connsiteX7" fmla="*/ 311944 w 376237"/>
                    <a:gd name="connsiteY7" fmla="*/ 359569 h 359569"/>
                    <a:gd name="connsiteX8" fmla="*/ 357187 w 376237"/>
                    <a:gd name="connsiteY8" fmla="*/ 347662 h 359569"/>
                    <a:gd name="connsiteX9" fmla="*/ 376237 w 376237"/>
                    <a:gd name="connsiteY9" fmla="*/ 335756 h 359569"/>
                    <a:gd name="connsiteX10" fmla="*/ 323849 w 376237"/>
                    <a:gd name="connsiteY10" fmla="*/ 264319 h 359569"/>
                    <a:gd name="connsiteX11" fmla="*/ 311944 w 376237"/>
                    <a:gd name="connsiteY11" fmla="*/ 211930 h 359569"/>
                    <a:gd name="connsiteX12" fmla="*/ 264319 w 376237"/>
                    <a:gd name="connsiteY12" fmla="*/ 161925 h 359569"/>
                    <a:gd name="connsiteX13" fmla="*/ 211932 w 376237"/>
                    <a:gd name="connsiteY13" fmla="*/ 178594 h 359569"/>
                    <a:gd name="connsiteX14" fmla="*/ 214313 w 376237"/>
                    <a:gd name="connsiteY14" fmla="*/ 130967 h 359569"/>
                    <a:gd name="connsiteX15" fmla="*/ 171449 w 376237"/>
                    <a:gd name="connsiteY15" fmla="*/ 109538 h 359569"/>
                    <a:gd name="connsiteX16" fmla="*/ 152400 w 376237"/>
                    <a:gd name="connsiteY16" fmla="*/ 61912 h 359569"/>
                    <a:gd name="connsiteX17" fmla="*/ 111919 w 376237"/>
                    <a:gd name="connsiteY17" fmla="*/ 0 h 359569"/>
                    <a:gd name="connsiteX0" fmla="*/ 111919 w 357187"/>
                    <a:gd name="connsiteY0" fmla="*/ 0 h 359569"/>
                    <a:gd name="connsiteX1" fmla="*/ 42862 w 357187"/>
                    <a:gd name="connsiteY1" fmla="*/ 19050 h 359569"/>
                    <a:gd name="connsiteX2" fmla="*/ 0 w 357187"/>
                    <a:gd name="connsiteY2" fmla="*/ 97631 h 359569"/>
                    <a:gd name="connsiteX3" fmla="*/ 7144 w 357187"/>
                    <a:gd name="connsiteY3" fmla="*/ 307181 h 359569"/>
                    <a:gd name="connsiteX4" fmla="*/ 100012 w 357187"/>
                    <a:gd name="connsiteY4" fmla="*/ 330994 h 359569"/>
                    <a:gd name="connsiteX5" fmla="*/ 207169 w 357187"/>
                    <a:gd name="connsiteY5" fmla="*/ 283369 h 359569"/>
                    <a:gd name="connsiteX6" fmla="*/ 245269 w 357187"/>
                    <a:gd name="connsiteY6" fmla="*/ 333375 h 359569"/>
                    <a:gd name="connsiteX7" fmla="*/ 311944 w 357187"/>
                    <a:gd name="connsiteY7" fmla="*/ 359569 h 359569"/>
                    <a:gd name="connsiteX8" fmla="*/ 357187 w 357187"/>
                    <a:gd name="connsiteY8" fmla="*/ 347662 h 359569"/>
                    <a:gd name="connsiteX9" fmla="*/ 333374 w 357187"/>
                    <a:gd name="connsiteY9" fmla="*/ 316706 h 359569"/>
                    <a:gd name="connsiteX10" fmla="*/ 323849 w 357187"/>
                    <a:gd name="connsiteY10" fmla="*/ 264319 h 359569"/>
                    <a:gd name="connsiteX11" fmla="*/ 311944 w 357187"/>
                    <a:gd name="connsiteY11" fmla="*/ 211930 h 359569"/>
                    <a:gd name="connsiteX12" fmla="*/ 264319 w 357187"/>
                    <a:gd name="connsiteY12" fmla="*/ 161925 h 359569"/>
                    <a:gd name="connsiteX13" fmla="*/ 211932 w 357187"/>
                    <a:gd name="connsiteY13" fmla="*/ 178594 h 359569"/>
                    <a:gd name="connsiteX14" fmla="*/ 214313 w 357187"/>
                    <a:gd name="connsiteY14" fmla="*/ 130967 h 359569"/>
                    <a:gd name="connsiteX15" fmla="*/ 171449 w 357187"/>
                    <a:gd name="connsiteY15" fmla="*/ 109538 h 359569"/>
                    <a:gd name="connsiteX16" fmla="*/ 152400 w 357187"/>
                    <a:gd name="connsiteY16" fmla="*/ 61912 h 359569"/>
                    <a:gd name="connsiteX17" fmla="*/ 111919 w 357187"/>
                    <a:gd name="connsiteY17" fmla="*/ 0 h 359569"/>
                    <a:gd name="connsiteX0" fmla="*/ 111919 w 333374"/>
                    <a:gd name="connsiteY0" fmla="*/ 0 h 359569"/>
                    <a:gd name="connsiteX1" fmla="*/ 42862 w 333374"/>
                    <a:gd name="connsiteY1" fmla="*/ 19050 h 359569"/>
                    <a:gd name="connsiteX2" fmla="*/ 0 w 333374"/>
                    <a:gd name="connsiteY2" fmla="*/ 97631 h 359569"/>
                    <a:gd name="connsiteX3" fmla="*/ 7144 w 333374"/>
                    <a:gd name="connsiteY3" fmla="*/ 307181 h 359569"/>
                    <a:gd name="connsiteX4" fmla="*/ 100012 w 333374"/>
                    <a:gd name="connsiteY4" fmla="*/ 330994 h 359569"/>
                    <a:gd name="connsiteX5" fmla="*/ 207169 w 333374"/>
                    <a:gd name="connsiteY5" fmla="*/ 283369 h 359569"/>
                    <a:gd name="connsiteX6" fmla="*/ 245269 w 333374"/>
                    <a:gd name="connsiteY6" fmla="*/ 333375 h 359569"/>
                    <a:gd name="connsiteX7" fmla="*/ 311944 w 333374"/>
                    <a:gd name="connsiteY7" fmla="*/ 359569 h 359569"/>
                    <a:gd name="connsiteX8" fmla="*/ 321468 w 333374"/>
                    <a:gd name="connsiteY8" fmla="*/ 335756 h 359569"/>
                    <a:gd name="connsiteX9" fmla="*/ 333374 w 333374"/>
                    <a:gd name="connsiteY9" fmla="*/ 316706 h 359569"/>
                    <a:gd name="connsiteX10" fmla="*/ 323849 w 333374"/>
                    <a:gd name="connsiteY10" fmla="*/ 264319 h 359569"/>
                    <a:gd name="connsiteX11" fmla="*/ 311944 w 333374"/>
                    <a:gd name="connsiteY11" fmla="*/ 211930 h 359569"/>
                    <a:gd name="connsiteX12" fmla="*/ 264319 w 333374"/>
                    <a:gd name="connsiteY12" fmla="*/ 161925 h 359569"/>
                    <a:gd name="connsiteX13" fmla="*/ 211932 w 333374"/>
                    <a:gd name="connsiteY13" fmla="*/ 178594 h 359569"/>
                    <a:gd name="connsiteX14" fmla="*/ 214313 w 333374"/>
                    <a:gd name="connsiteY14" fmla="*/ 130967 h 359569"/>
                    <a:gd name="connsiteX15" fmla="*/ 171449 w 333374"/>
                    <a:gd name="connsiteY15" fmla="*/ 109538 h 359569"/>
                    <a:gd name="connsiteX16" fmla="*/ 152400 w 333374"/>
                    <a:gd name="connsiteY16" fmla="*/ 61912 h 359569"/>
                    <a:gd name="connsiteX17" fmla="*/ 111919 w 333374"/>
                    <a:gd name="connsiteY17" fmla="*/ 0 h 3595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</a:cxnLst>
                  <a:rect l="l" t="t" r="r" b="b"/>
                  <a:pathLst>
                    <a:path w="333374" h="359569">
                      <a:moveTo>
                        <a:pt x="111919" y="0"/>
                      </a:moveTo>
                      <a:lnTo>
                        <a:pt x="42862" y="19050"/>
                      </a:lnTo>
                      <a:lnTo>
                        <a:pt x="0" y="97631"/>
                      </a:lnTo>
                      <a:lnTo>
                        <a:pt x="7144" y="307181"/>
                      </a:lnTo>
                      <a:lnTo>
                        <a:pt x="100012" y="330994"/>
                      </a:lnTo>
                      <a:lnTo>
                        <a:pt x="207169" y="283369"/>
                      </a:lnTo>
                      <a:lnTo>
                        <a:pt x="245269" y="333375"/>
                      </a:lnTo>
                      <a:lnTo>
                        <a:pt x="311944" y="359569"/>
                      </a:lnTo>
                      <a:lnTo>
                        <a:pt x="321468" y="335756"/>
                      </a:lnTo>
                      <a:lnTo>
                        <a:pt x="333374" y="316706"/>
                      </a:lnTo>
                      <a:lnTo>
                        <a:pt x="323849" y="264319"/>
                      </a:lnTo>
                      <a:lnTo>
                        <a:pt x="311944" y="211930"/>
                      </a:lnTo>
                      <a:cubicBezTo>
                        <a:pt x="290513" y="203199"/>
                        <a:pt x="285750" y="170656"/>
                        <a:pt x="264319" y="161925"/>
                      </a:cubicBezTo>
                      <a:lnTo>
                        <a:pt x="211932" y="178594"/>
                      </a:lnTo>
                      <a:lnTo>
                        <a:pt x="214313" y="130967"/>
                      </a:lnTo>
                      <a:lnTo>
                        <a:pt x="171449" y="109538"/>
                      </a:lnTo>
                      <a:lnTo>
                        <a:pt x="152400" y="61912"/>
                      </a:lnTo>
                      <a:lnTo>
                        <a:pt x="111919" y="0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2" name="Freeform 91"/>
                <p:cNvSpPr/>
                <p:nvPr/>
              </p:nvSpPr>
              <p:spPr>
                <a:xfrm>
                  <a:off x="6381750" y="3079750"/>
                  <a:ext cx="1009650" cy="1758950"/>
                </a:xfrm>
                <a:custGeom>
                  <a:avLst/>
                  <a:gdLst>
                    <a:gd name="connsiteX0" fmla="*/ 139700 w 1168400"/>
                    <a:gd name="connsiteY0" fmla="*/ 0 h 1758950"/>
                    <a:gd name="connsiteX1" fmla="*/ 88900 w 1168400"/>
                    <a:gd name="connsiteY1" fmla="*/ 12700 h 1758950"/>
                    <a:gd name="connsiteX2" fmla="*/ 50800 w 1168400"/>
                    <a:gd name="connsiteY2" fmla="*/ 50800 h 1758950"/>
                    <a:gd name="connsiteX3" fmla="*/ 25400 w 1168400"/>
                    <a:gd name="connsiteY3" fmla="*/ 120650 h 1758950"/>
                    <a:gd name="connsiteX4" fmla="*/ 44450 w 1168400"/>
                    <a:gd name="connsiteY4" fmla="*/ 184150 h 1758950"/>
                    <a:gd name="connsiteX5" fmla="*/ 114300 w 1168400"/>
                    <a:gd name="connsiteY5" fmla="*/ 247650 h 1758950"/>
                    <a:gd name="connsiteX6" fmla="*/ 152400 w 1168400"/>
                    <a:gd name="connsiteY6" fmla="*/ 317500 h 1758950"/>
                    <a:gd name="connsiteX7" fmla="*/ 165100 w 1168400"/>
                    <a:gd name="connsiteY7" fmla="*/ 368300 h 1758950"/>
                    <a:gd name="connsiteX8" fmla="*/ 165100 w 1168400"/>
                    <a:gd name="connsiteY8" fmla="*/ 444500 h 1758950"/>
                    <a:gd name="connsiteX9" fmla="*/ 158750 w 1168400"/>
                    <a:gd name="connsiteY9" fmla="*/ 527050 h 1758950"/>
                    <a:gd name="connsiteX10" fmla="*/ 190500 w 1168400"/>
                    <a:gd name="connsiteY10" fmla="*/ 596900 h 1758950"/>
                    <a:gd name="connsiteX11" fmla="*/ 209550 w 1168400"/>
                    <a:gd name="connsiteY11" fmla="*/ 603250 h 1758950"/>
                    <a:gd name="connsiteX12" fmla="*/ 247650 w 1168400"/>
                    <a:gd name="connsiteY12" fmla="*/ 622300 h 1758950"/>
                    <a:gd name="connsiteX13" fmla="*/ 311150 w 1168400"/>
                    <a:gd name="connsiteY13" fmla="*/ 641350 h 1758950"/>
                    <a:gd name="connsiteX14" fmla="*/ 355600 w 1168400"/>
                    <a:gd name="connsiteY14" fmla="*/ 666750 h 1758950"/>
                    <a:gd name="connsiteX15" fmla="*/ 355600 w 1168400"/>
                    <a:gd name="connsiteY15" fmla="*/ 730250 h 1758950"/>
                    <a:gd name="connsiteX16" fmla="*/ 400050 w 1168400"/>
                    <a:gd name="connsiteY16" fmla="*/ 793750 h 1758950"/>
                    <a:gd name="connsiteX17" fmla="*/ 387350 w 1168400"/>
                    <a:gd name="connsiteY17" fmla="*/ 869950 h 1758950"/>
                    <a:gd name="connsiteX18" fmla="*/ 387350 w 1168400"/>
                    <a:gd name="connsiteY18" fmla="*/ 958850 h 1758950"/>
                    <a:gd name="connsiteX19" fmla="*/ 342900 w 1168400"/>
                    <a:gd name="connsiteY19" fmla="*/ 1009650 h 1758950"/>
                    <a:gd name="connsiteX20" fmla="*/ 222250 w 1168400"/>
                    <a:gd name="connsiteY20" fmla="*/ 1079500 h 1758950"/>
                    <a:gd name="connsiteX21" fmla="*/ 165100 w 1168400"/>
                    <a:gd name="connsiteY21" fmla="*/ 1085850 h 1758950"/>
                    <a:gd name="connsiteX22" fmla="*/ 82550 w 1168400"/>
                    <a:gd name="connsiteY22" fmla="*/ 1117600 h 1758950"/>
                    <a:gd name="connsiteX23" fmla="*/ 38100 w 1168400"/>
                    <a:gd name="connsiteY23" fmla="*/ 1193800 h 1758950"/>
                    <a:gd name="connsiteX24" fmla="*/ 38100 w 1168400"/>
                    <a:gd name="connsiteY24" fmla="*/ 1276350 h 1758950"/>
                    <a:gd name="connsiteX25" fmla="*/ 31750 w 1168400"/>
                    <a:gd name="connsiteY25" fmla="*/ 1327150 h 1758950"/>
                    <a:gd name="connsiteX26" fmla="*/ 0 w 1168400"/>
                    <a:gd name="connsiteY26" fmla="*/ 1371600 h 1758950"/>
                    <a:gd name="connsiteX27" fmla="*/ 374650 w 1168400"/>
                    <a:gd name="connsiteY27" fmla="*/ 1631950 h 1758950"/>
                    <a:gd name="connsiteX28" fmla="*/ 577850 w 1168400"/>
                    <a:gd name="connsiteY28" fmla="*/ 1758950 h 1758950"/>
                    <a:gd name="connsiteX29" fmla="*/ 863600 w 1168400"/>
                    <a:gd name="connsiteY29" fmla="*/ 1727200 h 1758950"/>
                    <a:gd name="connsiteX30" fmla="*/ 1035050 w 1168400"/>
                    <a:gd name="connsiteY30" fmla="*/ 1606550 h 1758950"/>
                    <a:gd name="connsiteX31" fmla="*/ 1047750 w 1168400"/>
                    <a:gd name="connsiteY31" fmla="*/ 1504950 h 1758950"/>
                    <a:gd name="connsiteX32" fmla="*/ 1054100 w 1168400"/>
                    <a:gd name="connsiteY32" fmla="*/ 1441450 h 1758950"/>
                    <a:gd name="connsiteX33" fmla="*/ 1060450 w 1168400"/>
                    <a:gd name="connsiteY33" fmla="*/ 1384300 h 1758950"/>
                    <a:gd name="connsiteX34" fmla="*/ 1098550 w 1168400"/>
                    <a:gd name="connsiteY34" fmla="*/ 1282700 h 1758950"/>
                    <a:gd name="connsiteX35" fmla="*/ 1136650 w 1168400"/>
                    <a:gd name="connsiteY35" fmla="*/ 1168400 h 1758950"/>
                    <a:gd name="connsiteX36" fmla="*/ 1162050 w 1168400"/>
                    <a:gd name="connsiteY36" fmla="*/ 1079500 h 1758950"/>
                    <a:gd name="connsiteX37" fmla="*/ 1168400 w 1168400"/>
                    <a:gd name="connsiteY37" fmla="*/ 965200 h 1758950"/>
                    <a:gd name="connsiteX38" fmla="*/ 1155700 w 1168400"/>
                    <a:gd name="connsiteY38" fmla="*/ 914400 h 1758950"/>
                    <a:gd name="connsiteX39" fmla="*/ 1104900 w 1168400"/>
                    <a:gd name="connsiteY39" fmla="*/ 857250 h 1758950"/>
                    <a:gd name="connsiteX40" fmla="*/ 1079500 w 1168400"/>
                    <a:gd name="connsiteY40" fmla="*/ 730250 h 1758950"/>
                    <a:gd name="connsiteX41" fmla="*/ 1028700 w 1168400"/>
                    <a:gd name="connsiteY41" fmla="*/ 723900 h 1758950"/>
                    <a:gd name="connsiteX42" fmla="*/ 958850 w 1168400"/>
                    <a:gd name="connsiteY42" fmla="*/ 730250 h 1758950"/>
                    <a:gd name="connsiteX43" fmla="*/ 920750 w 1168400"/>
                    <a:gd name="connsiteY43" fmla="*/ 698500 h 1758950"/>
                    <a:gd name="connsiteX44" fmla="*/ 920750 w 1168400"/>
                    <a:gd name="connsiteY44" fmla="*/ 527050 h 1758950"/>
                    <a:gd name="connsiteX45" fmla="*/ 933450 w 1168400"/>
                    <a:gd name="connsiteY45" fmla="*/ 476250 h 1758950"/>
                    <a:gd name="connsiteX46" fmla="*/ 825500 w 1168400"/>
                    <a:gd name="connsiteY46" fmla="*/ 374650 h 1758950"/>
                    <a:gd name="connsiteX47" fmla="*/ 812800 w 1168400"/>
                    <a:gd name="connsiteY47" fmla="*/ 355600 h 1758950"/>
                    <a:gd name="connsiteX48" fmla="*/ 781050 w 1168400"/>
                    <a:gd name="connsiteY48" fmla="*/ 260350 h 1758950"/>
                    <a:gd name="connsiteX49" fmla="*/ 749300 w 1168400"/>
                    <a:gd name="connsiteY49" fmla="*/ 171450 h 1758950"/>
                    <a:gd name="connsiteX50" fmla="*/ 730250 w 1168400"/>
                    <a:gd name="connsiteY50" fmla="*/ 76200 h 1758950"/>
                    <a:gd name="connsiteX51" fmla="*/ 673100 w 1168400"/>
                    <a:gd name="connsiteY51" fmla="*/ 6350 h 1758950"/>
                    <a:gd name="connsiteX52" fmla="*/ 139700 w 1168400"/>
                    <a:gd name="connsiteY52" fmla="*/ 0 h 1758950"/>
                    <a:gd name="connsiteX0" fmla="*/ 114300 w 1143000"/>
                    <a:gd name="connsiteY0" fmla="*/ 0 h 1758950"/>
                    <a:gd name="connsiteX1" fmla="*/ 63500 w 1143000"/>
                    <a:gd name="connsiteY1" fmla="*/ 12700 h 1758950"/>
                    <a:gd name="connsiteX2" fmla="*/ 25400 w 1143000"/>
                    <a:gd name="connsiteY2" fmla="*/ 50800 h 1758950"/>
                    <a:gd name="connsiteX3" fmla="*/ 0 w 1143000"/>
                    <a:gd name="connsiteY3" fmla="*/ 120650 h 1758950"/>
                    <a:gd name="connsiteX4" fmla="*/ 19050 w 1143000"/>
                    <a:gd name="connsiteY4" fmla="*/ 184150 h 1758950"/>
                    <a:gd name="connsiteX5" fmla="*/ 88900 w 1143000"/>
                    <a:gd name="connsiteY5" fmla="*/ 247650 h 1758950"/>
                    <a:gd name="connsiteX6" fmla="*/ 127000 w 1143000"/>
                    <a:gd name="connsiteY6" fmla="*/ 317500 h 1758950"/>
                    <a:gd name="connsiteX7" fmla="*/ 139700 w 1143000"/>
                    <a:gd name="connsiteY7" fmla="*/ 368300 h 1758950"/>
                    <a:gd name="connsiteX8" fmla="*/ 139700 w 1143000"/>
                    <a:gd name="connsiteY8" fmla="*/ 444500 h 1758950"/>
                    <a:gd name="connsiteX9" fmla="*/ 133350 w 1143000"/>
                    <a:gd name="connsiteY9" fmla="*/ 527050 h 1758950"/>
                    <a:gd name="connsiteX10" fmla="*/ 165100 w 1143000"/>
                    <a:gd name="connsiteY10" fmla="*/ 596900 h 1758950"/>
                    <a:gd name="connsiteX11" fmla="*/ 184150 w 1143000"/>
                    <a:gd name="connsiteY11" fmla="*/ 603250 h 1758950"/>
                    <a:gd name="connsiteX12" fmla="*/ 222250 w 1143000"/>
                    <a:gd name="connsiteY12" fmla="*/ 622300 h 1758950"/>
                    <a:gd name="connsiteX13" fmla="*/ 285750 w 1143000"/>
                    <a:gd name="connsiteY13" fmla="*/ 641350 h 1758950"/>
                    <a:gd name="connsiteX14" fmla="*/ 330200 w 1143000"/>
                    <a:gd name="connsiteY14" fmla="*/ 666750 h 1758950"/>
                    <a:gd name="connsiteX15" fmla="*/ 330200 w 1143000"/>
                    <a:gd name="connsiteY15" fmla="*/ 730250 h 1758950"/>
                    <a:gd name="connsiteX16" fmla="*/ 374650 w 1143000"/>
                    <a:gd name="connsiteY16" fmla="*/ 793750 h 1758950"/>
                    <a:gd name="connsiteX17" fmla="*/ 361950 w 1143000"/>
                    <a:gd name="connsiteY17" fmla="*/ 869950 h 1758950"/>
                    <a:gd name="connsiteX18" fmla="*/ 361950 w 1143000"/>
                    <a:gd name="connsiteY18" fmla="*/ 958850 h 1758950"/>
                    <a:gd name="connsiteX19" fmla="*/ 317500 w 1143000"/>
                    <a:gd name="connsiteY19" fmla="*/ 1009650 h 1758950"/>
                    <a:gd name="connsiteX20" fmla="*/ 196850 w 1143000"/>
                    <a:gd name="connsiteY20" fmla="*/ 1079500 h 1758950"/>
                    <a:gd name="connsiteX21" fmla="*/ 139700 w 1143000"/>
                    <a:gd name="connsiteY21" fmla="*/ 1085850 h 1758950"/>
                    <a:gd name="connsiteX22" fmla="*/ 57150 w 1143000"/>
                    <a:gd name="connsiteY22" fmla="*/ 1117600 h 1758950"/>
                    <a:gd name="connsiteX23" fmla="*/ 12700 w 1143000"/>
                    <a:gd name="connsiteY23" fmla="*/ 1193800 h 1758950"/>
                    <a:gd name="connsiteX24" fmla="*/ 12700 w 1143000"/>
                    <a:gd name="connsiteY24" fmla="*/ 1276350 h 1758950"/>
                    <a:gd name="connsiteX25" fmla="*/ 6350 w 1143000"/>
                    <a:gd name="connsiteY25" fmla="*/ 1327150 h 1758950"/>
                    <a:gd name="connsiteX26" fmla="*/ 69850 w 1143000"/>
                    <a:gd name="connsiteY26" fmla="*/ 1347787 h 1758950"/>
                    <a:gd name="connsiteX27" fmla="*/ 349250 w 1143000"/>
                    <a:gd name="connsiteY27" fmla="*/ 1631950 h 1758950"/>
                    <a:gd name="connsiteX28" fmla="*/ 552450 w 1143000"/>
                    <a:gd name="connsiteY28" fmla="*/ 1758950 h 1758950"/>
                    <a:gd name="connsiteX29" fmla="*/ 838200 w 1143000"/>
                    <a:gd name="connsiteY29" fmla="*/ 1727200 h 1758950"/>
                    <a:gd name="connsiteX30" fmla="*/ 1009650 w 1143000"/>
                    <a:gd name="connsiteY30" fmla="*/ 1606550 h 1758950"/>
                    <a:gd name="connsiteX31" fmla="*/ 1022350 w 1143000"/>
                    <a:gd name="connsiteY31" fmla="*/ 1504950 h 1758950"/>
                    <a:gd name="connsiteX32" fmla="*/ 1028700 w 1143000"/>
                    <a:gd name="connsiteY32" fmla="*/ 1441450 h 1758950"/>
                    <a:gd name="connsiteX33" fmla="*/ 1035050 w 1143000"/>
                    <a:gd name="connsiteY33" fmla="*/ 1384300 h 1758950"/>
                    <a:gd name="connsiteX34" fmla="*/ 1073150 w 1143000"/>
                    <a:gd name="connsiteY34" fmla="*/ 1282700 h 1758950"/>
                    <a:gd name="connsiteX35" fmla="*/ 1111250 w 1143000"/>
                    <a:gd name="connsiteY35" fmla="*/ 1168400 h 1758950"/>
                    <a:gd name="connsiteX36" fmla="*/ 1136650 w 1143000"/>
                    <a:gd name="connsiteY36" fmla="*/ 1079500 h 1758950"/>
                    <a:gd name="connsiteX37" fmla="*/ 1143000 w 1143000"/>
                    <a:gd name="connsiteY37" fmla="*/ 965200 h 1758950"/>
                    <a:gd name="connsiteX38" fmla="*/ 1130300 w 1143000"/>
                    <a:gd name="connsiteY38" fmla="*/ 914400 h 1758950"/>
                    <a:gd name="connsiteX39" fmla="*/ 1079500 w 1143000"/>
                    <a:gd name="connsiteY39" fmla="*/ 857250 h 1758950"/>
                    <a:gd name="connsiteX40" fmla="*/ 1054100 w 1143000"/>
                    <a:gd name="connsiteY40" fmla="*/ 730250 h 1758950"/>
                    <a:gd name="connsiteX41" fmla="*/ 1003300 w 1143000"/>
                    <a:gd name="connsiteY41" fmla="*/ 723900 h 1758950"/>
                    <a:gd name="connsiteX42" fmla="*/ 933450 w 1143000"/>
                    <a:gd name="connsiteY42" fmla="*/ 730250 h 1758950"/>
                    <a:gd name="connsiteX43" fmla="*/ 895350 w 1143000"/>
                    <a:gd name="connsiteY43" fmla="*/ 698500 h 1758950"/>
                    <a:gd name="connsiteX44" fmla="*/ 895350 w 1143000"/>
                    <a:gd name="connsiteY44" fmla="*/ 527050 h 1758950"/>
                    <a:gd name="connsiteX45" fmla="*/ 908050 w 1143000"/>
                    <a:gd name="connsiteY45" fmla="*/ 476250 h 1758950"/>
                    <a:gd name="connsiteX46" fmla="*/ 800100 w 1143000"/>
                    <a:gd name="connsiteY46" fmla="*/ 374650 h 1758950"/>
                    <a:gd name="connsiteX47" fmla="*/ 787400 w 1143000"/>
                    <a:gd name="connsiteY47" fmla="*/ 355600 h 1758950"/>
                    <a:gd name="connsiteX48" fmla="*/ 755650 w 1143000"/>
                    <a:gd name="connsiteY48" fmla="*/ 260350 h 1758950"/>
                    <a:gd name="connsiteX49" fmla="*/ 723900 w 1143000"/>
                    <a:gd name="connsiteY49" fmla="*/ 171450 h 1758950"/>
                    <a:gd name="connsiteX50" fmla="*/ 704850 w 1143000"/>
                    <a:gd name="connsiteY50" fmla="*/ 76200 h 1758950"/>
                    <a:gd name="connsiteX51" fmla="*/ 647700 w 1143000"/>
                    <a:gd name="connsiteY51" fmla="*/ 6350 h 1758950"/>
                    <a:gd name="connsiteX52" fmla="*/ 114300 w 1143000"/>
                    <a:gd name="connsiteY52" fmla="*/ 0 h 1758950"/>
                    <a:gd name="connsiteX0" fmla="*/ 114300 w 1143000"/>
                    <a:gd name="connsiteY0" fmla="*/ 0 h 1758950"/>
                    <a:gd name="connsiteX1" fmla="*/ 63500 w 1143000"/>
                    <a:gd name="connsiteY1" fmla="*/ 12700 h 1758950"/>
                    <a:gd name="connsiteX2" fmla="*/ 25400 w 1143000"/>
                    <a:gd name="connsiteY2" fmla="*/ 50800 h 1758950"/>
                    <a:gd name="connsiteX3" fmla="*/ 0 w 1143000"/>
                    <a:gd name="connsiteY3" fmla="*/ 120650 h 1758950"/>
                    <a:gd name="connsiteX4" fmla="*/ 19050 w 1143000"/>
                    <a:gd name="connsiteY4" fmla="*/ 184150 h 1758950"/>
                    <a:gd name="connsiteX5" fmla="*/ 88900 w 1143000"/>
                    <a:gd name="connsiteY5" fmla="*/ 247650 h 1758950"/>
                    <a:gd name="connsiteX6" fmla="*/ 127000 w 1143000"/>
                    <a:gd name="connsiteY6" fmla="*/ 317500 h 1758950"/>
                    <a:gd name="connsiteX7" fmla="*/ 139700 w 1143000"/>
                    <a:gd name="connsiteY7" fmla="*/ 368300 h 1758950"/>
                    <a:gd name="connsiteX8" fmla="*/ 139700 w 1143000"/>
                    <a:gd name="connsiteY8" fmla="*/ 444500 h 1758950"/>
                    <a:gd name="connsiteX9" fmla="*/ 133350 w 1143000"/>
                    <a:gd name="connsiteY9" fmla="*/ 527050 h 1758950"/>
                    <a:gd name="connsiteX10" fmla="*/ 165100 w 1143000"/>
                    <a:gd name="connsiteY10" fmla="*/ 596900 h 1758950"/>
                    <a:gd name="connsiteX11" fmla="*/ 184150 w 1143000"/>
                    <a:gd name="connsiteY11" fmla="*/ 603250 h 1758950"/>
                    <a:gd name="connsiteX12" fmla="*/ 222250 w 1143000"/>
                    <a:gd name="connsiteY12" fmla="*/ 622300 h 1758950"/>
                    <a:gd name="connsiteX13" fmla="*/ 285750 w 1143000"/>
                    <a:gd name="connsiteY13" fmla="*/ 641350 h 1758950"/>
                    <a:gd name="connsiteX14" fmla="*/ 330200 w 1143000"/>
                    <a:gd name="connsiteY14" fmla="*/ 666750 h 1758950"/>
                    <a:gd name="connsiteX15" fmla="*/ 330200 w 1143000"/>
                    <a:gd name="connsiteY15" fmla="*/ 730250 h 1758950"/>
                    <a:gd name="connsiteX16" fmla="*/ 374650 w 1143000"/>
                    <a:gd name="connsiteY16" fmla="*/ 793750 h 1758950"/>
                    <a:gd name="connsiteX17" fmla="*/ 361950 w 1143000"/>
                    <a:gd name="connsiteY17" fmla="*/ 869950 h 1758950"/>
                    <a:gd name="connsiteX18" fmla="*/ 361950 w 1143000"/>
                    <a:gd name="connsiteY18" fmla="*/ 958850 h 1758950"/>
                    <a:gd name="connsiteX19" fmla="*/ 317500 w 1143000"/>
                    <a:gd name="connsiteY19" fmla="*/ 1009650 h 1758950"/>
                    <a:gd name="connsiteX20" fmla="*/ 196850 w 1143000"/>
                    <a:gd name="connsiteY20" fmla="*/ 1079500 h 1758950"/>
                    <a:gd name="connsiteX21" fmla="*/ 139700 w 1143000"/>
                    <a:gd name="connsiteY21" fmla="*/ 1085850 h 1758950"/>
                    <a:gd name="connsiteX22" fmla="*/ 57150 w 1143000"/>
                    <a:gd name="connsiteY22" fmla="*/ 1117600 h 1758950"/>
                    <a:gd name="connsiteX23" fmla="*/ 12700 w 1143000"/>
                    <a:gd name="connsiteY23" fmla="*/ 1193800 h 1758950"/>
                    <a:gd name="connsiteX24" fmla="*/ 12700 w 1143000"/>
                    <a:gd name="connsiteY24" fmla="*/ 1276350 h 1758950"/>
                    <a:gd name="connsiteX25" fmla="*/ 6350 w 1143000"/>
                    <a:gd name="connsiteY25" fmla="*/ 1327150 h 1758950"/>
                    <a:gd name="connsiteX26" fmla="*/ 69850 w 1143000"/>
                    <a:gd name="connsiteY26" fmla="*/ 1347787 h 1758950"/>
                    <a:gd name="connsiteX27" fmla="*/ 349250 w 1143000"/>
                    <a:gd name="connsiteY27" fmla="*/ 1631950 h 1758950"/>
                    <a:gd name="connsiteX28" fmla="*/ 552450 w 1143000"/>
                    <a:gd name="connsiteY28" fmla="*/ 1758950 h 1758950"/>
                    <a:gd name="connsiteX29" fmla="*/ 838200 w 1143000"/>
                    <a:gd name="connsiteY29" fmla="*/ 1727200 h 1758950"/>
                    <a:gd name="connsiteX30" fmla="*/ 945357 w 1143000"/>
                    <a:gd name="connsiteY30" fmla="*/ 1558925 h 1758950"/>
                    <a:gd name="connsiteX31" fmla="*/ 1022350 w 1143000"/>
                    <a:gd name="connsiteY31" fmla="*/ 1504950 h 1758950"/>
                    <a:gd name="connsiteX32" fmla="*/ 1028700 w 1143000"/>
                    <a:gd name="connsiteY32" fmla="*/ 1441450 h 1758950"/>
                    <a:gd name="connsiteX33" fmla="*/ 1035050 w 1143000"/>
                    <a:gd name="connsiteY33" fmla="*/ 1384300 h 1758950"/>
                    <a:gd name="connsiteX34" fmla="*/ 1073150 w 1143000"/>
                    <a:gd name="connsiteY34" fmla="*/ 1282700 h 1758950"/>
                    <a:gd name="connsiteX35" fmla="*/ 1111250 w 1143000"/>
                    <a:gd name="connsiteY35" fmla="*/ 1168400 h 1758950"/>
                    <a:gd name="connsiteX36" fmla="*/ 1136650 w 1143000"/>
                    <a:gd name="connsiteY36" fmla="*/ 1079500 h 1758950"/>
                    <a:gd name="connsiteX37" fmla="*/ 1143000 w 1143000"/>
                    <a:gd name="connsiteY37" fmla="*/ 965200 h 1758950"/>
                    <a:gd name="connsiteX38" fmla="*/ 1130300 w 1143000"/>
                    <a:gd name="connsiteY38" fmla="*/ 914400 h 1758950"/>
                    <a:gd name="connsiteX39" fmla="*/ 1079500 w 1143000"/>
                    <a:gd name="connsiteY39" fmla="*/ 857250 h 1758950"/>
                    <a:gd name="connsiteX40" fmla="*/ 1054100 w 1143000"/>
                    <a:gd name="connsiteY40" fmla="*/ 730250 h 1758950"/>
                    <a:gd name="connsiteX41" fmla="*/ 1003300 w 1143000"/>
                    <a:gd name="connsiteY41" fmla="*/ 723900 h 1758950"/>
                    <a:gd name="connsiteX42" fmla="*/ 933450 w 1143000"/>
                    <a:gd name="connsiteY42" fmla="*/ 730250 h 1758950"/>
                    <a:gd name="connsiteX43" fmla="*/ 895350 w 1143000"/>
                    <a:gd name="connsiteY43" fmla="*/ 698500 h 1758950"/>
                    <a:gd name="connsiteX44" fmla="*/ 895350 w 1143000"/>
                    <a:gd name="connsiteY44" fmla="*/ 527050 h 1758950"/>
                    <a:gd name="connsiteX45" fmla="*/ 908050 w 1143000"/>
                    <a:gd name="connsiteY45" fmla="*/ 476250 h 1758950"/>
                    <a:gd name="connsiteX46" fmla="*/ 800100 w 1143000"/>
                    <a:gd name="connsiteY46" fmla="*/ 374650 h 1758950"/>
                    <a:gd name="connsiteX47" fmla="*/ 787400 w 1143000"/>
                    <a:gd name="connsiteY47" fmla="*/ 355600 h 1758950"/>
                    <a:gd name="connsiteX48" fmla="*/ 755650 w 1143000"/>
                    <a:gd name="connsiteY48" fmla="*/ 260350 h 1758950"/>
                    <a:gd name="connsiteX49" fmla="*/ 723900 w 1143000"/>
                    <a:gd name="connsiteY49" fmla="*/ 171450 h 1758950"/>
                    <a:gd name="connsiteX50" fmla="*/ 704850 w 1143000"/>
                    <a:gd name="connsiteY50" fmla="*/ 76200 h 1758950"/>
                    <a:gd name="connsiteX51" fmla="*/ 647700 w 1143000"/>
                    <a:gd name="connsiteY51" fmla="*/ 6350 h 1758950"/>
                    <a:gd name="connsiteX52" fmla="*/ 114300 w 1143000"/>
                    <a:gd name="connsiteY52" fmla="*/ 0 h 1758950"/>
                    <a:gd name="connsiteX0" fmla="*/ 114300 w 1143000"/>
                    <a:gd name="connsiteY0" fmla="*/ 0 h 1758950"/>
                    <a:gd name="connsiteX1" fmla="*/ 63500 w 1143000"/>
                    <a:gd name="connsiteY1" fmla="*/ 12700 h 1758950"/>
                    <a:gd name="connsiteX2" fmla="*/ 25400 w 1143000"/>
                    <a:gd name="connsiteY2" fmla="*/ 50800 h 1758950"/>
                    <a:gd name="connsiteX3" fmla="*/ 0 w 1143000"/>
                    <a:gd name="connsiteY3" fmla="*/ 120650 h 1758950"/>
                    <a:gd name="connsiteX4" fmla="*/ 19050 w 1143000"/>
                    <a:gd name="connsiteY4" fmla="*/ 184150 h 1758950"/>
                    <a:gd name="connsiteX5" fmla="*/ 88900 w 1143000"/>
                    <a:gd name="connsiteY5" fmla="*/ 247650 h 1758950"/>
                    <a:gd name="connsiteX6" fmla="*/ 127000 w 1143000"/>
                    <a:gd name="connsiteY6" fmla="*/ 317500 h 1758950"/>
                    <a:gd name="connsiteX7" fmla="*/ 139700 w 1143000"/>
                    <a:gd name="connsiteY7" fmla="*/ 368300 h 1758950"/>
                    <a:gd name="connsiteX8" fmla="*/ 139700 w 1143000"/>
                    <a:gd name="connsiteY8" fmla="*/ 444500 h 1758950"/>
                    <a:gd name="connsiteX9" fmla="*/ 133350 w 1143000"/>
                    <a:gd name="connsiteY9" fmla="*/ 527050 h 1758950"/>
                    <a:gd name="connsiteX10" fmla="*/ 165100 w 1143000"/>
                    <a:gd name="connsiteY10" fmla="*/ 596900 h 1758950"/>
                    <a:gd name="connsiteX11" fmla="*/ 184150 w 1143000"/>
                    <a:gd name="connsiteY11" fmla="*/ 603250 h 1758950"/>
                    <a:gd name="connsiteX12" fmla="*/ 222250 w 1143000"/>
                    <a:gd name="connsiteY12" fmla="*/ 622300 h 1758950"/>
                    <a:gd name="connsiteX13" fmla="*/ 285750 w 1143000"/>
                    <a:gd name="connsiteY13" fmla="*/ 641350 h 1758950"/>
                    <a:gd name="connsiteX14" fmla="*/ 330200 w 1143000"/>
                    <a:gd name="connsiteY14" fmla="*/ 666750 h 1758950"/>
                    <a:gd name="connsiteX15" fmla="*/ 330200 w 1143000"/>
                    <a:gd name="connsiteY15" fmla="*/ 730250 h 1758950"/>
                    <a:gd name="connsiteX16" fmla="*/ 374650 w 1143000"/>
                    <a:gd name="connsiteY16" fmla="*/ 793750 h 1758950"/>
                    <a:gd name="connsiteX17" fmla="*/ 361950 w 1143000"/>
                    <a:gd name="connsiteY17" fmla="*/ 869950 h 1758950"/>
                    <a:gd name="connsiteX18" fmla="*/ 361950 w 1143000"/>
                    <a:gd name="connsiteY18" fmla="*/ 958850 h 1758950"/>
                    <a:gd name="connsiteX19" fmla="*/ 317500 w 1143000"/>
                    <a:gd name="connsiteY19" fmla="*/ 1009650 h 1758950"/>
                    <a:gd name="connsiteX20" fmla="*/ 196850 w 1143000"/>
                    <a:gd name="connsiteY20" fmla="*/ 1079500 h 1758950"/>
                    <a:gd name="connsiteX21" fmla="*/ 139700 w 1143000"/>
                    <a:gd name="connsiteY21" fmla="*/ 1085850 h 1758950"/>
                    <a:gd name="connsiteX22" fmla="*/ 57150 w 1143000"/>
                    <a:gd name="connsiteY22" fmla="*/ 1117600 h 1758950"/>
                    <a:gd name="connsiteX23" fmla="*/ 12700 w 1143000"/>
                    <a:gd name="connsiteY23" fmla="*/ 1193800 h 1758950"/>
                    <a:gd name="connsiteX24" fmla="*/ 12700 w 1143000"/>
                    <a:gd name="connsiteY24" fmla="*/ 1276350 h 1758950"/>
                    <a:gd name="connsiteX25" fmla="*/ 6350 w 1143000"/>
                    <a:gd name="connsiteY25" fmla="*/ 1327150 h 1758950"/>
                    <a:gd name="connsiteX26" fmla="*/ 69850 w 1143000"/>
                    <a:gd name="connsiteY26" fmla="*/ 1347787 h 1758950"/>
                    <a:gd name="connsiteX27" fmla="*/ 349250 w 1143000"/>
                    <a:gd name="connsiteY27" fmla="*/ 1631950 h 1758950"/>
                    <a:gd name="connsiteX28" fmla="*/ 552450 w 1143000"/>
                    <a:gd name="connsiteY28" fmla="*/ 1758950 h 1758950"/>
                    <a:gd name="connsiteX29" fmla="*/ 838200 w 1143000"/>
                    <a:gd name="connsiteY29" fmla="*/ 1727200 h 1758950"/>
                    <a:gd name="connsiteX30" fmla="*/ 945357 w 1143000"/>
                    <a:gd name="connsiteY30" fmla="*/ 1558925 h 1758950"/>
                    <a:gd name="connsiteX31" fmla="*/ 981869 w 1143000"/>
                    <a:gd name="connsiteY31" fmla="*/ 1500188 h 1758950"/>
                    <a:gd name="connsiteX32" fmla="*/ 1028700 w 1143000"/>
                    <a:gd name="connsiteY32" fmla="*/ 1441450 h 1758950"/>
                    <a:gd name="connsiteX33" fmla="*/ 1035050 w 1143000"/>
                    <a:gd name="connsiteY33" fmla="*/ 1384300 h 1758950"/>
                    <a:gd name="connsiteX34" fmla="*/ 1073150 w 1143000"/>
                    <a:gd name="connsiteY34" fmla="*/ 1282700 h 1758950"/>
                    <a:gd name="connsiteX35" fmla="*/ 1111250 w 1143000"/>
                    <a:gd name="connsiteY35" fmla="*/ 1168400 h 1758950"/>
                    <a:gd name="connsiteX36" fmla="*/ 1136650 w 1143000"/>
                    <a:gd name="connsiteY36" fmla="*/ 1079500 h 1758950"/>
                    <a:gd name="connsiteX37" fmla="*/ 1143000 w 1143000"/>
                    <a:gd name="connsiteY37" fmla="*/ 965200 h 1758950"/>
                    <a:gd name="connsiteX38" fmla="*/ 1130300 w 1143000"/>
                    <a:gd name="connsiteY38" fmla="*/ 914400 h 1758950"/>
                    <a:gd name="connsiteX39" fmla="*/ 1079500 w 1143000"/>
                    <a:gd name="connsiteY39" fmla="*/ 857250 h 1758950"/>
                    <a:gd name="connsiteX40" fmla="*/ 1054100 w 1143000"/>
                    <a:gd name="connsiteY40" fmla="*/ 730250 h 1758950"/>
                    <a:gd name="connsiteX41" fmla="*/ 1003300 w 1143000"/>
                    <a:gd name="connsiteY41" fmla="*/ 723900 h 1758950"/>
                    <a:gd name="connsiteX42" fmla="*/ 933450 w 1143000"/>
                    <a:gd name="connsiteY42" fmla="*/ 730250 h 1758950"/>
                    <a:gd name="connsiteX43" fmla="*/ 895350 w 1143000"/>
                    <a:gd name="connsiteY43" fmla="*/ 698500 h 1758950"/>
                    <a:gd name="connsiteX44" fmla="*/ 895350 w 1143000"/>
                    <a:gd name="connsiteY44" fmla="*/ 527050 h 1758950"/>
                    <a:gd name="connsiteX45" fmla="*/ 908050 w 1143000"/>
                    <a:gd name="connsiteY45" fmla="*/ 476250 h 1758950"/>
                    <a:gd name="connsiteX46" fmla="*/ 800100 w 1143000"/>
                    <a:gd name="connsiteY46" fmla="*/ 374650 h 1758950"/>
                    <a:gd name="connsiteX47" fmla="*/ 787400 w 1143000"/>
                    <a:gd name="connsiteY47" fmla="*/ 355600 h 1758950"/>
                    <a:gd name="connsiteX48" fmla="*/ 755650 w 1143000"/>
                    <a:gd name="connsiteY48" fmla="*/ 260350 h 1758950"/>
                    <a:gd name="connsiteX49" fmla="*/ 723900 w 1143000"/>
                    <a:gd name="connsiteY49" fmla="*/ 171450 h 1758950"/>
                    <a:gd name="connsiteX50" fmla="*/ 704850 w 1143000"/>
                    <a:gd name="connsiteY50" fmla="*/ 76200 h 1758950"/>
                    <a:gd name="connsiteX51" fmla="*/ 647700 w 1143000"/>
                    <a:gd name="connsiteY51" fmla="*/ 6350 h 1758950"/>
                    <a:gd name="connsiteX52" fmla="*/ 114300 w 1143000"/>
                    <a:gd name="connsiteY52" fmla="*/ 0 h 1758950"/>
                    <a:gd name="connsiteX0" fmla="*/ 114300 w 1143000"/>
                    <a:gd name="connsiteY0" fmla="*/ 0 h 1758950"/>
                    <a:gd name="connsiteX1" fmla="*/ 63500 w 1143000"/>
                    <a:gd name="connsiteY1" fmla="*/ 12700 h 1758950"/>
                    <a:gd name="connsiteX2" fmla="*/ 25400 w 1143000"/>
                    <a:gd name="connsiteY2" fmla="*/ 50800 h 1758950"/>
                    <a:gd name="connsiteX3" fmla="*/ 0 w 1143000"/>
                    <a:gd name="connsiteY3" fmla="*/ 120650 h 1758950"/>
                    <a:gd name="connsiteX4" fmla="*/ 19050 w 1143000"/>
                    <a:gd name="connsiteY4" fmla="*/ 184150 h 1758950"/>
                    <a:gd name="connsiteX5" fmla="*/ 88900 w 1143000"/>
                    <a:gd name="connsiteY5" fmla="*/ 247650 h 1758950"/>
                    <a:gd name="connsiteX6" fmla="*/ 127000 w 1143000"/>
                    <a:gd name="connsiteY6" fmla="*/ 317500 h 1758950"/>
                    <a:gd name="connsiteX7" fmla="*/ 139700 w 1143000"/>
                    <a:gd name="connsiteY7" fmla="*/ 368300 h 1758950"/>
                    <a:gd name="connsiteX8" fmla="*/ 139700 w 1143000"/>
                    <a:gd name="connsiteY8" fmla="*/ 444500 h 1758950"/>
                    <a:gd name="connsiteX9" fmla="*/ 133350 w 1143000"/>
                    <a:gd name="connsiteY9" fmla="*/ 527050 h 1758950"/>
                    <a:gd name="connsiteX10" fmla="*/ 165100 w 1143000"/>
                    <a:gd name="connsiteY10" fmla="*/ 596900 h 1758950"/>
                    <a:gd name="connsiteX11" fmla="*/ 184150 w 1143000"/>
                    <a:gd name="connsiteY11" fmla="*/ 603250 h 1758950"/>
                    <a:gd name="connsiteX12" fmla="*/ 222250 w 1143000"/>
                    <a:gd name="connsiteY12" fmla="*/ 622300 h 1758950"/>
                    <a:gd name="connsiteX13" fmla="*/ 285750 w 1143000"/>
                    <a:gd name="connsiteY13" fmla="*/ 641350 h 1758950"/>
                    <a:gd name="connsiteX14" fmla="*/ 330200 w 1143000"/>
                    <a:gd name="connsiteY14" fmla="*/ 666750 h 1758950"/>
                    <a:gd name="connsiteX15" fmla="*/ 330200 w 1143000"/>
                    <a:gd name="connsiteY15" fmla="*/ 730250 h 1758950"/>
                    <a:gd name="connsiteX16" fmla="*/ 374650 w 1143000"/>
                    <a:gd name="connsiteY16" fmla="*/ 793750 h 1758950"/>
                    <a:gd name="connsiteX17" fmla="*/ 361950 w 1143000"/>
                    <a:gd name="connsiteY17" fmla="*/ 869950 h 1758950"/>
                    <a:gd name="connsiteX18" fmla="*/ 361950 w 1143000"/>
                    <a:gd name="connsiteY18" fmla="*/ 958850 h 1758950"/>
                    <a:gd name="connsiteX19" fmla="*/ 317500 w 1143000"/>
                    <a:gd name="connsiteY19" fmla="*/ 1009650 h 1758950"/>
                    <a:gd name="connsiteX20" fmla="*/ 196850 w 1143000"/>
                    <a:gd name="connsiteY20" fmla="*/ 1079500 h 1758950"/>
                    <a:gd name="connsiteX21" fmla="*/ 139700 w 1143000"/>
                    <a:gd name="connsiteY21" fmla="*/ 1085850 h 1758950"/>
                    <a:gd name="connsiteX22" fmla="*/ 57150 w 1143000"/>
                    <a:gd name="connsiteY22" fmla="*/ 1117600 h 1758950"/>
                    <a:gd name="connsiteX23" fmla="*/ 12700 w 1143000"/>
                    <a:gd name="connsiteY23" fmla="*/ 1193800 h 1758950"/>
                    <a:gd name="connsiteX24" fmla="*/ 12700 w 1143000"/>
                    <a:gd name="connsiteY24" fmla="*/ 1276350 h 1758950"/>
                    <a:gd name="connsiteX25" fmla="*/ 6350 w 1143000"/>
                    <a:gd name="connsiteY25" fmla="*/ 1327150 h 1758950"/>
                    <a:gd name="connsiteX26" fmla="*/ 69850 w 1143000"/>
                    <a:gd name="connsiteY26" fmla="*/ 1347787 h 1758950"/>
                    <a:gd name="connsiteX27" fmla="*/ 349250 w 1143000"/>
                    <a:gd name="connsiteY27" fmla="*/ 1631950 h 1758950"/>
                    <a:gd name="connsiteX28" fmla="*/ 552450 w 1143000"/>
                    <a:gd name="connsiteY28" fmla="*/ 1758950 h 1758950"/>
                    <a:gd name="connsiteX29" fmla="*/ 838200 w 1143000"/>
                    <a:gd name="connsiteY29" fmla="*/ 1727200 h 1758950"/>
                    <a:gd name="connsiteX30" fmla="*/ 945357 w 1143000"/>
                    <a:gd name="connsiteY30" fmla="*/ 1558925 h 1758950"/>
                    <a:gd name="connsiteX31" fmla="*/ 981869 w 1143000"/>
                    <a:gd name="connsiteY31" fmla="*/ 1500188 h 1758950"/>
                    <a:gd name="connsiteX32" fmla="*/ 1004887 w 1143000"/>
                    <a:gd name="connsiteY32" fmla="*/ 1436687 h 1758950"/>
                    <a:gd name="connsiteX33" fmla="*/ 1035050 w 1143000"/>
                    <a:gd name="connsiteY33" fmla="*/ 1384300 h 1758950"/>
                    <a:gd name="connsiteX34" fmla="*/ 1073150 w 1143000"/>
                    <a:gd name="connsiteY34" fmla="*/ 1282700 h 1758950"/>
                    <a:gd name="connsiteX35" fmla="*/ 1111250 w 1143000"/>
                    <a:gd name="connsiteY35" fmla="*/ 1168400 h 1758950"/>
                    <a:gd name="connsiteX36" fmla="*/ 1136650 w 1143000"/>
                    <a:gd name="connsiteY36" fmla="*/ 1079500 h 1758950"/>
                    <a:gd name="connsiteX37" fmla="*/ 1143000 w 1143000"/>
                    <a:gd name="connsiteY37" fmla="*/ 965200 h 1758950"/>
                    <a:gd name="connsiteX38" fmla="*/ 1130300 w 1143000"/>
                    <a:gd name="connsiteY38" fmla="*/ 914400 h 1758950"/>
                    <a:gd name="connsiteX39" fmla="*/ 1079500 w 1143000"/>
                    <a:gd name="connsiteY39" fmla="*/ 857250 h 1758950"/>
                    <a:gd name="connsiteX40" fmla="*/ 1054100 w 1143000"/>
                    <a:gd name="connsiteY40" fmla="*/ 730250 h 1758950"/>
                    <a:gd name="connsiteX41" fmla="*/ 1003300 w 1143000"/>
                    <a:gd name="connsiteY41" fmla="*/ 723900 h 1758950"/>
                    <a:gd name="connsiteX42" fmla="*/ 933450 w 1143000"/>
                    <a:gd name="connsiteY42" fmla="*/ 730250 h 1758950"/>
                    <a:gd name="connsiteX43" fmla="*/ 895350 w 1143000"/>
                    <a:gd name="connsiteY43" fmla="*/ 698500 h 1758950"/>
                    <a:gd name="connsiteX44" fmla="*/ 895350 w 1143000"/>
                    <a:gd name="connsiteY44" fmla="*/ 527050 h 1758950"/>
                    <a:gd name="connsiteX45" fmla="*/ 908050 w 1143000"/>
                    <a:gd name="connsiteY45" fmla="*/ 476250 h 1758950"/>
                    <a:gd name="connsiteX46" fmla="*/ 800100 w 1143000"/>
                    <a:gd name="connsiteY46" fmla="*/ 374650 h 1758950"/>
                    <a:gd name="connsiteX47" fmla="*/ 787400 w 1143000"/>
                    <a:gd name="connsiteY47" fmla="*/ 355600 h 1758950"/>
                    <a:gd name="connsiteX48" fmla="*/ 755650 w 1143000"/>
                    <a:gd name="connsiteY48" fmla="*/ 260350 h 1758950"/>
                    <a:gd name="connsiteX49" fmla="*/ 723900 w 1143000"/>
                    <a:gd name="connsiteY49" fmla="*/ 171450 h 1758950"/>
                    <a:gd name="connsiteX50" fmla="*/ 704850 w 1143000"/>
                    <a:gd name="connsiteY50" fmla="*/ 76200 h 1758950"/>
                    <a:gd name="connsiteX51" fmla="*/ 647700 w 1143000"/>
                    <a:gd name="connsiteY51" fmla="*/ 6350 h 1758950"/>
                    <a:gd name="connsiteX52" fmla="*/ 114300 w 1143000"/>
                    <a:gd name="connsiteY52" fmla="*/ 0 h 1758950"/>
                    <a:gd name="connsiteX0" fmla="*/ 114300 w 1143000"/>
                    <a:gd name="connsiteY0" fmla="*/ 0 h 1758950"/>
                    <a:gd name="connsiteX1" fmla="*/ 63500 w 1143000"/>
                    <a:gd name="connsiteY1" fmla="*/ 12700 h 1758950"/>
                    <a:gd name="connsiteX2" fmla="*/ 25400 w 1143000"/>
                    <a:gd name="connsiteY2" fmla="*/ 50800 h 1758950"/>
                    <a:gd name="connsiteX3" fmla="*/ 0 w 1143000"/>
                    <a:gd name="connsiteY3" fmla="*/ 120650 h 1758950"/>
                    <a:gd name="connsiteX4" fmla="*/ 19050 w 1143000"/>
                    <a:gd name="connsiteY4" fmla="*/ 184150 h 1758950"/>
                    <a:gd name="connsiteX5" fmla="*/ 88900 w 1143000"/>
                    <a:gd name="connsiteY5" fmla="*/ 247650 h 1758950"/>
                    <a:gd name="connsiteX6" fmla="*/ 127000 w 1143000"/>
                    <a:gd name="connsiteY6" fmla="*/ 317500 h 1758950"/>
                    <a:gd name="connsiteX7" fmla="*/ 139700 w 1143000"/>
                    <a:gd name="connsiteY7" fmla="*/ 368300 h 1758950"/>
                    <a:gd name="connsiteX8" fmla="*/ 139700 w 1143000"/>
                    <a:gd name="connsiteY8" fmla="*/ 444500 h 1758950"/>
                    <a:gd name="connsiteX9" fmla="*/ 133350 w 1143000"/>
                    <a:gd name="connsiteY9" fmla="*/ 527050 h 1758950"/>
                    <a:gd name="connsiteX10" fmla="*/ 165100 w 1143000"/>
                    <a:gd name="connsiteY10" fmla="*/ 596900 h 1758950"/>
                    <a:gd name="connsiteX11" fmla="*/ 184150 w 1143000"/>
                    <a:gd name="connsiteY11" fmla="*/ 603250 h 1758950"/>
                    <a:gd name="connsiteX12" fmla="*/ 222250 w 1143000"/>
                    <a:gd name="connsiteY12" fmla="*/ 622300 h 1758950"/>
                    <a:gd name="connsiteX13" fmla="*/ 285750 w 1143000"/>
                    <a:gd name="connsiteY13" fmla="*/ 641350 h 1758950"/>
                    <a:gd name="connsiteX14" fmla="*/ 330200 w 1143000"/>
                    <a:gd name="connsiteY14" fmla="*/ 666750 h 1758950"/>
                    <a:gd name="connsiteX15" fmla="*/ 330200 w 1143000"/>
                    <a:gd name="connsiteY15" fmla="*/ 730250 h 1758950"/>
                    <a:gd name="connsiteX16" fmla="*/ 374650 w 1143000"/>
                    <a:gd name="connsiteY16" fmla="*/ 793750 h 1758950"/>
                    <a:gd name="connsiteX17" fmla="*/ 361950 w 1143000"/>
                    <a:gd name="connsiteY17" fmla="*/ 869950 h 1758950"/>
                    <a:gd name="connsiteX18" fmla="*/ 361950 w 1143000"/>
                    <a:gd name="connsiteY18" fmla="*/ 958850 h 1758950"/>
                    <a:gd name="connsiteX19" fmla="*/ 317500 w 1143000"/>
                    <a:gd name="connsiteY19" fmla="*/ 1009650 h 1758950"/>
                    <a:gd name="connsiteX20" fmla="*/ 196850 w 1143000"/>
                    <a:gd name="connsiteY20" fmla="*/ 1079500 h 1758950"/>
                    <a:gd name="connsiteX21" fmla="*/ 139700 w 1143000"/>
                    <a:gd name="connsiteY21" fmla="*/ 1085850 h 1758950"/>
                    <a:gd name="connsiteX22" fmla="*/ 57150 w 1143000"/>
                    <a:gd name="connsiteY22" fmla="*/ 1117600 h 1758950"/>
                    <a:gd name="connsiteX23" fmla="*/ 12700 w 1143000"/>
                    <a:gd name="connsiteY23" fmla="*/ 1193800 h 1758950"/>
                    <a:gd name="connsiteX24" fmla="*/ 12700 w 1143000"/>
                    <a:gd name="connsiteY24" fmla="*/ 1276350 h 1758950"/>
                    <a:gd name="connsiteX25" fmla="*/ 6350 w 1143000"/>
                    <a:gd name="connsiteY25" fmla="*/ 1327150 h 1758950"/>
                    <a:gd name="connsiteX26" fmla="*/ 69850 w 1143000"/>
                    <a:gd name="connsiteY26" fmla="*/ 1347787 h 1758950"/>
                    <a:gd name="connsiteX27" fmla="*/ 349250 w 1143000"/>
                    <a:gd name="connsiteY27" fmla="*/ 1631950 h 1758950"/>
                    <a:gd name="connsiteX28" fmla="*/ 552450 w 1143000"/>
                    <a:gd name="connsiteY28" fmla="*/ 1758950 h 1758950"/>
                    <a:gd name="connsiteX29" fmla="*/ 838200 w 1143000"/>
                    <a:gd name="connsiteY29" fmla="*/ 1727200 h 1758950"/>
                    <a:gd name="connsiteX30" fmla="*/ 945357 w 1143000"/>
                    <a:gd name="connsiteY30" fmla="*/ 1558925 h 1758950"/>
                    <a:gd name="connsiteX31" fmla="*/ 981869 w 1143000"/>
                    <a:gd name="connsiteY31" fmla="*/ 1500188 h 1758950"/>
                    <a:gd name="connsiteX32" fmla="*/ 1004887 w 1143000"/>
                    <a:gd name="connsiteY32" fmla="*/ 1436687 h 1758950"/>
                    <a:gd name="connsiteX33" fmla="*/ 958850 w 1143000"/>
                    <a:gd name="connsiteY33" fmla="*/ 1386682 h 1758950"/>
                    <a:gd name="connsiteX34" fmla="*/ 1073150 w 1143000"/>
                    <a:gd name="connsiteY34" fmla="*/ 1282700 h 1758950"/>
                    <a:gd name="connsiteX35" fmla="*/ 1111250 w 1143000"/>
                    <a:gd name="connsiteY35" fmla="*/ 1168400 h 1758950"/>
                    <a:gd name="connsiteX36" fmla="*/ 1136650 w 1143000"/>
                    <a:gd name="connsiteY36" fmla="*/ 1079500 h 1758950"/>
                    <a:gd name="connsiteX37" fmla="*/ 1143000 w 1143000"/>
                    <a:gd name="connsiteY37" fmla="*/ 965200 h 1758950"/>
                    <a:gd name="connsiteX38" fmla="*/ 1130300 w 1143000"/>
                    <a:gd name="connsiteY38" fmla="*/ 914400 h 1758950"/>
                    <a:gd name="connsiteX39" fmla="*/ 1079500 w 1143000"/>
                    <a:gd name="connsiteY39" fmla="*/ 857250 h 1758950"/>
                    <a:gd name="connsiteX40" fmla="*/ 1054100 w 1143000"/>
                    <a:gd name="connsiteY40" fmla="*/ 730250 h 1758950"/>
                    <a:gd name="connsiteX41" fmla="*/ 1003300 w 1143000"/>
                    <a:gd name="connsiteY41" fmla="*/ 723900 h 1758950"/>
                    <a:gd name="connsiteX42" fmla="*/ 933450 w 1143000"/>
                    <a:gd name="connsiteY42" fmla="*/ 730250 h 1758950"/>
                    <a:gd name="connsiteX43" fmla="*/ 895350 w 1143000"/>
                    <a:gd name="connsiteY43" fmla="*/ 698500 h 1758950"/>
                    <a:gd name="connsiteX44" fmla="*/ 895350 w 1143000"/>
                    <a:gd name="connsiteY44" fmla="*/ 527050 h 1758950"/>
                    <a:gd name="connsiteX45" fmla="*/ 908050 w 1143000"/>
                    <a:gd name="connsiteY45" fmla="*/ 476250 h 1758950"/>
                    <a:gd name="connsiteX46" fmla="*/ 800100 w 1143000"/>
                    <a:gd name="connsiteY46" fmla="*/ 374650 h 1758950"/>
                    <a:gd name="connsiteX47" fmla="*/ 787400 w 1143000"/>
                    <a:gd name="connsiteY47" fmla="*/ 355600 h 1758950"/>
                    <a:gd name="connsiteX48" fmla="*/ 755650 w 1143000"/>
                    <a:gd name="connsiteY48" fmla="*/ 260350 h 1758950"/>
                    <a:gd name="connsiteX49" fmla="*/ 723900 w 1143000"/>
                    <a:gd name="connsiteY49" fmla="*/ 171450 h 1758950"/>
                    <a:gd name="connsiteX50" fmla="*/ 704850 w 1143000"/>
                    <a:gd name="connsiteY50" fmla="*/ 76200 h 1758950"/>
                    <a:gd name="connsiteX51" fmla="*/ 647700 w 1143000"/>
                    <a:gd name="connsiteY51" fmla="*/ 6350 h 1758950"/>
                    <a:gd name="connsiteX52" fmla="*/ 114300 w 1143000"/>
                    <a:gd name="connsiteY52" fmla="*/ 0 h 1758950"/>
                    <a:gd name="connsiteX0" fmla="*/ 114300 w 1143000"/>
                    <a:gd name="connsiteY0" fmla="*/ 0 h 1758950"/>
                    <a:gd name="connsiteX1" fmla="*/ 63500 w 1143000"/>
                    <a:gd name="connsiteY1" fmla="*/ 12700 h 1758950"/>
                    <a:gd name="connsiteX2" fmla="*/ 25400 w 1143000"/>
                    <a:gd name="connsiteY2" fmla="*/ 50800 h 1758950"/>
                    <a:gd name="connsiteX3" fmla="*/ 0 w 1143000"/>
                    <a:gd name="connsiteY3" fmla="*/ 120650 h 1758950"/>
                    <a:gd name="connsiteX4" fmla="*/ 19050 w 1143000"/>
                    <a:gd name="connsiteY4" fmla="*/ 184150 h 1758950"/>
                    <a:gd name="connsiteX5" fmla="*/ 88900 w 1143000"/>
                    <a:gd name="connsiteY5" fmla="*/ 247650 h 1758950"/>
                    <a:gd name="connsiteX6" fmla="*/ 127000 w 1143000"/>
                    <a:gd name="connsiteY6" fmla="*/ 317500 h 1758950"/>
                    <a:gd name="connsiteX7" fmla="*/ 139700 w 1143000"/>
                    <a:gd name="connsiteY7" fmla="*/ 368300 h 1758950"/>
                    <a:gd name="connsiteX8" fmla="*/ 139700 w 1143000"/>
                    <a:gd name="connsiteY8" fmla="*/ 444500 h 1758950"/>
                    <a:gd name="connsiteX9" fmla="*/ 133350 w 1143000"/>
                    <a:gd name="connsiteY9" fmla="*/ 527050 h 1758950"/>
                    <a:gd name="connsiteX10" fmla="*/ 165100 w 1143000"/>
                    <a:gd name="connsiteY10" fmla="*/ 596900 h 1758950"/>
                    <a:gd name="connsiteX11" fmla="*/ 184150 w 1143000"/>
                    <a:gd name="connsiteY11" fmla="*/ 603250 h 1758950"/>
                    <a:gd name="connsiteX12" fmla="*/ 222250 w 1143000"/>
                    <a:gd name="connsiteY12" fmla="*/ 622300 h 1758950"/>
                    <a:gd name="connsiteX13" fmla="*/ 285750 w 1143000"/>
                    <a:gd name="connsiteY13" fmla="*/ 641350 h 1758950"/>
                    <a:gd name="connsiteX14" fmla="*/ 330200 w 1143000"/>
                    <a:gd name="connsiteY14" fmla="*/ 666750 h 1758950"/>
                    <a:gd name="connsiteX15" fmla="*/ 330200 w 1143000"/>
                    <a:gd name="connsiteY15" fmla="*/ 730250 h 1758950"/>
                    <a:gd name="connsiteX16" fmla="*/ 374650 w 1143000"/>
                    <a:gd name="connsiteY16" fmla="*/ 793750 h 1758950"/>
                    <a:gd name="connsiteX17" fmla="*/ 361950 w 1143000"/>
                    <a:gd name="connsiteY17" fmla="*/ 869950 h 1758950"/>
                    <a:gd name="connsiteX18" fmla="*/ 361950 w 1143000"/>
                    <a:gd name="connsiteY18" fmla="*/ 958850 h 1758950"/>
                    <a:gd name="connsiteX19" fmla="*/ 317500 w 1143000"/>
                    <a:gd name="connsiteY19" fmla="*/ 1009650 h 1758950"/>
                    <a:gd name="connsiteX20" fmla="*/ 196850 w 1143000"/>
                    <a:gd name="connsiteY20" fmla="*/ 1079500 h 1758950"/>
                    <a:gd name="connsiteX21" fmla="*/ 139700 w 1143000"/>
                    <a:gd name="connsiteY21" fmla="*/ 1085850 h 1758950"/>
                    <a:gd name="connsiteX22" fmla="*/ 57150 w 1143000"/>
                    <a:gd name="connsiteY22" fmla="*/ 1117600 h 1758950"/>
                    <a:gd name="connsiteX23" fmla="*/ 12700 w 1143000"/>
                    <a:gd name="connsiteY23" fmla="*/ 1193800 h 1758950"/>
                    <a:gd name="connsiteX24" fmla="*/ 12700 w 1143000"/>
                    <a:gd name="connsiteY24" fmla="*/ 1276350 h 1758950"/>
                    <a:gd name="connsiteX25" fmla="*/ 6350 w 1143000"/>
                    <a:gd name="connsiteY25" fmla="*/ 1327150 h 1758950"/>
                    <a:gd name="connsiteX26" fmla="*/ 69850 w 1143000"/>
                    <a:gd name="connsiteY26" fmla="*/ 1347787 h 1758950"/>
                    <a:gd name="connsiteX27" fmla="*/ 349250 w 1143000"/>
                    <a:gd name="connsiteY27" fmla="*/ 1631950 h 1758950"/>
                    <a:gd name="connsiteX28" fmla="*/ 552450 w 1143000"/>
                    <a:gd name="connsiteY28" fmla="*/ 1758950 h 1758950"/>
                    <a:gd name="connsiteX29" fmla="*/ 838200 w 1143000"/>
                    <a:gd name="connsiteY29" fmla="*/ 1727200 h 1758950"/>
                    <a:gd name="connsiteX30" fmla="*/ 945357 w 1143000"/>
                    <a:gd name="connsiteY30" fmla="*/ 1558925 h 1758950"/>
                    <a:gd name="connsiteX31" fmla="*/ 981869 w 1143000"/>
                    <a:gd name="connsiteY31" fmla="*/ 1500188 h 1758950"/>
                    <a:gd name="connsiteX32" fmla="*/ 1004887 w 1143000"/>
                    <a:gd name="connsiteY32" fmla="*/ 1436687 h 1758950"/>
                    <a:gd name="connsiteX33" fmla="*/ 958850 w 1143000"/>
                    <a:gd name="connsiteY33" fmla="*/ 1386682 h 1758950"/>
                    <a:gd name="connsiteX34" fmla="*/ 939800 w 1143000"/>
                    <a:gd name="connsiteY34" fmla="*/ 1323182 h 1758950"/>
                    <a:gd name="connsiteX35" fmla="*/ 1111250 w 1143000"/>
                    <a:gd name="connsiteY35" fmla="*/ 1168400 h 1758950"/>
                    <a:gd name="connsiteX36" fmla="*/ 1136650 w 1143000"/>
                    <a:gd name="connsiteY36" fmla="*/ 1079500 h 1758950"/>
                    <a:gd name="connsiteX37" fmla="*/ 1143000 w 1143000"/>
                    <a:gd name="connsiteY37" fmla="*/ 965200 h 1758950"/>
                    <a:gd name="connsiteX38" fmla="*/ 1130300 w 1143000"/>
                    <a:gd name="connsiteY38" fmla="*/ 914400 h 1758950"/>
                    <a:gd name="connsiteX39" fmla="*/ 1079500 w 1143000"/>
                    <a:gd name="connsiteY39" fmla="*/ 857250 h 1758950"/>
                    <a:gd name="connsiteX40" fmla="*/ 1054100 w 1143000"/>
                    <a:gd name="connsiteY40" fmla="*/ 730250 h 1758950"/>
                    <a:gd name="connsiteX41" fmla="*/ 1003300 w 1143000"/>
                    <a:gd name="connsiteY41" fmla="*/ 723900 h 1758950"/>
                    <a:gd name="connsiteX42" fmla="*/ 933450 w 1143000"/>
                    <a:gd name="connsiteY42" fmla="*/ 730250 h 1758950"/>
                    <a:gd name="connsiteX43" fmla="*/ 895350 w 1143000"/>
                    <a:gd name="connsiteY43" fmla="*/ 698500 h 1758950"/>
                    <a:gd name="connsiteX44" fmla="*/ 895350 w 1143000"/>
                    <a:gd name="connsiteY44" fmla="*/ 527050 h 1758950"/>
                    <a:gd name="connsiteX45" fmla="*/ 908050 w 1143000"/>
                    <a:gd name="connsiteY45" fmla="*/ 476250 h 1758950"/>
                    <a:gd name="connsiteX46" fmla="*/ 800100 w 1143000"/>
                    <a:gd name="connsiteY46" fmla="*/ 374650 h 1758950"/>
                    <a:gd name="connsiteX47" fmla="*/ 787400 w 1143000"/>
                    <a:gd name="connsiteY47" fmla="*/ 355600 h 1758950"/>
                    <a:gd name="connsiteX48" fmla="*/ 755650 w 1143000"/>
                    <a:gd name="connsiteY48" fmla="*/ 260350 h 1758950"/>
                    <a:gd name="connsiteX49" fmla="*/ 723900 w 1143000"/>
                    <a:gd name="connsiteY49" fmla="*/ 171450 h 1758950"/>
                    <a:gd name="connsiteX50" fmla="*/ 704850 w 1143000"/>
                    <a:gd name="connsiteY50" fmla="*/ 76200 h 1758950"/>
                    <a:gd name="connsiteX51" fmla="*/ 647700 w 1143000"/>
                    <a:gd name="connsiteY51" fmla="*/ 6350 h 1758950"/>
                    <a:gd name="connsiteX52" fmla="*/ 114300 w 1143000"/>
                    <a:gd name="connsiteY52" fmla="*/ 0 h 1758950"/>
                    <a:gd name="connsiteX0" fmla="*/ 114300 w 1143000"/>
                    <a:gd name="connsiteY0" fmla="*/ 0 h 1758950"/>
                    <a:gd name="connsiteX1" fmla="*/ 63500 w 1143000"/>
                    <a:gd name="connsiteY1" fmla="*/ 12700 h 1758950"/>
                    <a:gd name="connsiteX2" fmla="*/ 25400 w 1143000"/>
                    <a:gd name="connsiteY2" fmla="*/ 50800 h 1758950"/>
                    <a:gd name="connsiteX3" fmla="*/ 0 w 1143000"/>
                    <a:gd name="connsiteY3" fmla="*/ 120650 h 1758950"/>
                    <a:gd name="connsiteX4" fmla="*/ 19050 w 1143000"/>
                    <a:gd name="connsiteY4" fmla="*/ 184150 h 1758950"/>
                    <a:gd name="connsiteX5" fmla="*/ 88900 w 1143000"/>
                    <a:gd name="connsiteY5" fmla="*/ 247650 h 1758950"/>
                    <a:gd name="connsiteX6" fmla="*/ 127000 w 1143000"/>
                    <a:gd name="connsiteY6" fmla="*/ 317500 h 1758950"/>
                    <a:gd name="connsiteX7" fmla="*/ 139700 w 1143000"/>
                    <a:gd name="connsiteY7" fmla="*/ 368300 h 1758950"/>
                    <a:gd name="connsiteX8" fmla="*/ 139700 w 1143000"/>
                    <a:gd name="connsiteY8" fmla="*/ 444500 h 1758950"/>
                    <a:gd name="connsiteX9" fmla="*/ 133350 w 1143000"/>
                    <a:gd name="connsiteY9" fmla="*/ 527050 h 1758950"/>
                    <a:gd name="connsiteX10" fmla="*/ 165100 w 1143000"/>
                    <a:gd name="connsiteY10" fmla="*/ 596900 h 1758950"/>
                    <a:gd name="connsiteX11" fmla="*/ 184150 w 1143000"/>
                    <a:gd name="connsiteY11" fmla="*/ 603250 h 1758950"/>
                    <a:gd name="connsiteX12" fmla="*/ 222250 w 1143000"/>
                    <a:gd name="connsiteY12" fmla="*/ 622300 h 1758950"/>
                    <a:gd name="connsiteX13" fmla="*/ 285750 w 1143000"/>
                    <a:gd name="connsiteY13" fmla="*/ 641350 h 1758950"/>
                    <a:gd name="connsiteX14" fmla="*/ 330200 w 1143000"/>
                    <a:gd name="connsiteY14" fmla="*/ 666750 h 1758950"/>
                    <a:gd name="connsiteX15" fmla="*/ 330200 w 1143000"/>
                    <a:gd name="connsiteY15" fmla="*/ 730250 h 1758950"/>
                    <a:gd name="connsiteX16" fmla="*/ 374650 w 1143000"/>
                    <a:gd name="connsiteY16" fmla="*/ 793750 h 1758950"/>
                    <a:gd name="connsiteX17" fmla="*/ 361950 w 1143000"/>
                    <a:gd name="connsiteY17" fmla="*/ 869950 h 1758950"/>
                    <a:gd name="connsiteX18" fmla="*/ 361950 w 1143000"/>
                    <a:gd name="connsiteY18" fmla="*/ 958850 h 1758950"/>
                    <a:gd name="connsiteX19" fmla="*/ 317500 w 1143000"/>
                    <a:gd name="connsiteY19" fmla="*/ 1009650 h 1758950"/>
                    <a:gd name="connsiteX20" fmla="*/ 196850 w 1143000"/>
                    <a:gd name="connsiteY20" fmla="*/ 1079500 h 1758950"/>
                    <a:gd name="connsiteX21" fmla="*/ 139700 w 1143000"/>
                    <a:gd name="connsiteY21" fmla="*/ 1085850 h 1758950"/>
                    <a:gd name="connsiteX22" fmla="*/ 57150 w 1143000"/>
                    <a:gd name="connsiteY22" fmla="*/ 1117600 h 1758950"/>
                    <a:gd name="connsiteX23" fmla="*/ 12700 w 1143000"/>
                    <a:gd name="connsiteY23" fmla="*/ 1193800 h 1758950"/>
                    <a:gd name="connsiteX24" fmla="*/ 12700 w 1143000"/>
                    <a:gd name="connsiteY24" fmla="*/ 1276350 h 1758950"/>
                    <a:gd name="connsiteX25" fmla="*/ 6350 w 1143000"/>
                    <a:gd name="connsiteY25" fmla="*/ 1327150 h 1758950"/>
                    <a:gd name="connsiteX26" fmla="*/ 69850 w 1143000"/>
                    <a:gd name="connsiteY26" fmla="*/ 1347787 h 1758950"/>
                    <a:gd name="connsiteX27" fmla="*/ 349250 w 1143000"/>
                    <a:gd name="connsiteY27" fmla="*/ 1631950 h 1758950"/>
                    <a:gd name="connsiteX28" fmla="*/ 552450 w 1143000"/>
                    <a:gd name="connsiteY28" fmla="*/ 1758950 h 1758950"/>
                    <a:gd name="connsiteX29" fmla="*/ 838200 w 1143000"/>
                    <a:gd name="connsiteY29" fmla="*/ 1727200 h 1758950"/>
                    <a:gd name="connsiteX30" fmla="*/ 945357 w 1143000"/>
                    <a:gd name="connsiteY30" fmla="*/ 1558925 h 1758950"/>
                    <a:gd name="connsiteX31" fmla="*/ 981869 w 1143000"/>
                    <a:gd name="connsiteY31" fmla="*/ 1500188 h 1758950"/>
                    <a:gd name="connsiteX32" fmla="*/ 1004887 w 1143000"/>
                    <a:gd name="connsiteY32" fmla="*/ 1436687 h 1758950"/>
                    <a:gd name="connsiteX33" fmla="*/ 958850 w 1143000"/>
                    <a:gd name="connsiteY33" fmla="*/ 1386682 h 1758950"/>
                    <a:gd name="connsiteX34" fmla="*/ 939800 w 1143000"/>
                    <a:gd name="connsiteY34" fmla="*/ 1323182 h 1758950"/>
                    <a:gd name="connsiteX35" fmla="*/ 970756 w 1143000"/>
                    <a:gd name="connsiteY35" fmla="*/ 1249362 h 1758950"/>
                    <a:gd name="connsiteX36" fmla="*/ 1136650 w 1143000"/>
                    <a:gd name="connsiteY36" fmla="*/ 1079500 h 1758950"/>
                    <a:gd name="connsiteX37" fmla="*/ 1143000 w 1143000"/>
                    <a:gd name="connsiteY37" fmla="*/ 965200 h 1758950"/>
                    <a:gd name="connsiteX38" fmla="*/ 1130300 w 1143000"/>
                    <a:gd name="connsiteY38" fmla="*/ 914400 h 1758950"/>
                    <a:gd name="connsiteX39" fmla="*/ 1079500 w 1143000"/>
                    <a:gd name="connsiteY39" fmla="*/ 857250 h 1758950"/>
                    <a:gd name="connsiteX40" fmla="*/ 1054100 w 1143000"/>
                    <a:gd name="connsiteY40" fmla="*/ 730250 h 1758950"/>
                    <a:gd name="connsiteX41" fmla="*/ 1003300 w 1143000"/>
                    <a:gd name="connsiteY41" fmla="*/ 723900 h 1758950"/>
                    <a:gd name="connsiteX42" fmla="*/ 933450 w 1143000"/>
                    <a:gd name="connsiteY42" fmla="*/ 730250 h 1758950"/>
                    <a:gd name="connsiteX43" fmla="*/ 895350 w 1143000"/>
                    <a:gd name="connsiteY43" fmla="*/ 698500 h 1758950"/>
                    <a:gd name="connsiteX44" fmla="*/ 895350 w 1143000"/>
                    <a:gd name="connsiteY44" fmla="*/ 527050 h 1758950"/>
                    <a:gd name="connsiteX45" fmla="*/ 908050 w 1143000"/>
                    <a:gd name="connsiteY45" fmla="*/ 476250 h 1758950"/>
                    <a:gd name="connsiteX46" fmla="*/ 800100 w 1143000"/>
                    <a:gd name="connsiteY46" fmla="*/ 374650 h 1758950"/>
                    <a:gd name="connsiteX47" fmla="*/ 787400 w 1143000"/>
                    <a:gd name="connsiteY47" fmla="*/ 355600 h 1758950"/>
                    <a:gd name="connsiteX48" fmla="*/ 755650 w 1143000"/>
                    <a:gd name="connsiteY48" fmla="*/ 260350 h 1758950"/>
                    <a:gd name="connsiteX49" fmla="*/ 723900 w 1143000"/>
                    <a:gd name="connsiteY49" fmla="*/ 171450 h 1758950"/>
                    <a:gd name="connsiteX50" fmla="*/ 704850 w 1143000"/>
                    <a:gd name="connsiteY50" fmla="*/ 76200 h 1758950"/>
                    <a:gd name="connsiteX51" fmla="*/ 647700 w 1143000"/>
                    <a:gd name="connsiteY51" fmla="*/ 6350 h 1758950"/>
                    <a:gd name="connsiteX52" fmla="*/ 114300 w 1143000"/>
                    <a:gd name="connsiteY52" fmla="*/ 0 h 1758950"/>
                    <a:gd name="connsiteX0" fmla="*/ 114300 w 1143000"/>
                    <a:gd name="connsiteY0" fmla="*/ 0 h 1758950"/>
                    <a:gd name="connsiteX1" fmla="*/ 63500 w 1143000"/>
                    <a:gd name="connsiteY1" fmla="*/ 12700 h 1758950"/>
                    <a:gd name="connsiteX2" fmla="*/ 25400 w 1143000"/>
                    <a:gd name="connsiteY2" fmla="*/ 50800 h 1758950"/>
                    <a:gd name="connsiteX3" fmla="*/ 0 w 1143000"/>
                    <a:gd name="connsiteY3" fmla="*/ 120650 h 1758950"/>
                    <a:gd name="connsiteX4" fmla="*/ 19050 w 1143000"/>
                    <a:gd name="connsiteY4" fmla="*/ 184150 h 1758950"/>
                    <a:gd name="connsiteX5" fmla="*/ 88900 w 1143000"/>
                    <a:gd name="connsiteY5" fmla="*/ 247650 h 1758950"/>
                    <a:gd name="connsiteX6" fmla="*/ 127000 w 1143000"/>
                    <a:gd name="connsiteY6" fmla="*/ 317500 h 1758950"/>
                    <a:gd name="connsiteX7" fmla="*/ 139700 w 1143000"/>
                    <a:gd name="connsiteY7" fmla="*/ 368300 h 1758950"/>
                    <a:gd name="connsiteX8" fmla="*/ 139700 w 1143000"/>
                    <a:gd name="connsiteY8" fmla="*/ 444500 h 1758950"/>
                    <a:gd name="connsiteX9" fmla="*/ 133350 w 1143000"/>
                    <a:gd name="connsiteY9" fmla="*/ 527050 h 1758950"/>
                    <a:gd name="connsiteX10" fmla="*/ 165100 w 1143000"/>
                    <a:gd name="connsiteY10" fmla="*/ 596900 h 1758950"/>
                    <a:gd name="connsiteX11" fmla="*/ 184150 w 1143000"/>
                    <a:gd name="connsiteY11" fmla="*/ 603250 h 1758950"/>
                    <a:gd name="connsiteX12" fmla="*/ 222250 w 1143000"/>
                    <a:gd name="connsiteY12" fmla="*/ 622300 h 1758950"/>
                    <a:gd name="connsiteX13" fmla="*/ 285750 w 1143000"/>
                    <a:gd name="connsiteY13" fmla="*/ 641350 h 1758950"/>
                    <a:gd name="connsiteX14" fmla="*/ 330200 w 1143000"/>
                    <a:gd name="connsiteY14" fmla="*/ 666750 h 1758950"/>
                    <a:gd name="connsiteX15" fmla="*/ 330200 w 1143000"/>
                    <a:gd name="connsiteY15" fmla="*/ 730250 h 1758950"/>
                    <a:gd name="connsiteX16" fmla="*/ 374650 w 1143000"/>
                    <a:gd name="connsiteY16" fmla="*/ 793750 h 1758950"/>
                    <a:gd name="connsiteX17" fmla="*/ 361950 w 1143000"/>
                    <a:gd name="connsiteY17" fmla="*/ 869950 h 1758950"/>
                    <a:gd name="connsiteX18" fmla="*/ 361950 w 1143000"/>
                    <a:gd name="connsiteY18" fmla="*/ 958850 h 1758950"/>
                    <a:gd name="connsiteX19" fmla="*/ 317500 w 1143000"/>
                    <a:gd name="connsiteY19" fmla="*/ 1009650 h 1758950"/>
                    <a:gd name="connsiteX20" fmla="*/ 196850 w 1143000"/>
                    <a:gd name="connsiteY20" fmla="*/ 1079500 h 1758950"/>
                    <a:gd name="connsiteX21" fmla="*/ 139700 w 1143000"/>
                    <a:gd name="connsiteY21" fmla="*/ 1085850 h 1758950"/>
                    <a:gd name="connsiteX22" fmla="*/ 57150 w 1143000"/>
                    <a:gd name="connsiteY22" fmla="*/ 1117600 h 1758950"/>
                    <a:gd name="connsiteX23" fmla="*/ 12700 w 1143000"/>
                    <a:gd name="connsiteY23" fmla="*/ 1193800 h 1758950"/>
                    <a:gd name="connsiteX24" fmla="*/ 12700 w 1143000"/>
                    <a:gd name="connsiteY24" fmla="*/ 1276350 h 1758950"/>
                    <a:gd name="connsiteX25" fmla="*/ 6350 w 1143000"/>
                    <a:gd name="connsiteY25" fmla="*/ 1327150 h 1758950"/>
                    <a:gd name="connsiteX26" fmla="*/ 69850 w 1143000"/>
                    <a:gd name="connsiteY26" fmla="*/ 1347787 h 1758950"/>
                    <a:gd name="connsiteX27" fmla="*/ 349250 w 1143000"/>
                    <a:gd name="connsiteY27" fmla="*/ 1631950 h 1758950"/>
                    <a:gd name="connsiteX28" fmla="*/ 552450 w 1143000"/>
                    <a:gd name="connsiteY28" fmla="*/ 1758950 h 1758950"/>
                    <a:gd name="connsiteX29" fmla="*/ 838200 w 1143000"/>
                    <a:gd name="connsiteY29" fmla="*/ 1727200 h 1758950"/>
                    <a:gd name="connsiteX30" fmla="*/ 945357 w 1143000"/>
                    <a:gd name="connsiteY30" fmla="*/ 1558925 h 1758950"/>
                    <a:gd name="connsiteX31" fmla="*/ 981869 w 1143000"/>
                    <a:gd name="connsiteY31" fmla="*/ 1500188 h 1758950"/>
                    <a:gd name="connsiteX32" fmla="*/ 1004887 w 1143000"/>
                    <a:gd name="connsiteY32" fmla="*/ 1436687 h 1758950"/>
                    <a:gd name="connsiteX33" fmla="*/ 958850 w 1143000"/>
                    <a:gd name="connsiteY33" fmla="*/ 1386682 h 1758950"/>
                    <a:gd name="connsiteX34" fmla="*/ 939800 w 1143000"/>
                    <a:gd name="connsiteY34" fmla="*/ 1323182 h 1758950"/>
                    <a:gd name="connsiteX35" fmla="*/ 970756 w 1143000"/>
                    <a:gd name="connsiteY35" fmla="*/ 1249362 h 1758950"/>
                    <a:gd name="connsiteX36" fmla="*/ 1136650 w 1143000"/>
                    <a:gd name="connsiteY36" fmla="*/ 1079500 h 1758950"/>
                    <a:gd name="connsiteX37" fmla="*/ 1143000 w 1143000"/>
                    <a:gd name="connsiteY37" fmla="*/ 965200 h 1758950"/>
                    <a:gd name="connsiteX38" fmla="*/ 1027907 w 1143000"/>
                    <a:gd name="connsiteY38" fmla="*/ 964406 h 1758950"/>
                    <a:gd name="connsiteX39" fmla="*/ 1079500 w 1143000"/>
                    <a:gd name="connsiteY39" fmla="*/ 857250 h 1758950"/>
                    <a:gd name="connsiteX40" fmla="*/ 1054100 w 1143000"/>
                    <a:gd name="connsiteY40" fmla="*/ 730250 h 1758950"/>
                    <a:gd name="connsiteX41" fmla="*/ 1003300 w 1143000"/>
                    <a:gd name="connsiteY41" fmla="*/ 723900 h 1758950"/>
                    <a:gd name="connsiteX42" fmla="*/ 933450 w 1143000"/>
                    <a:gd name="connsiteY42" fmla="*/ 730250 h 1758950"/>
                    <a:gd name="connsiteX43" fmla="*/ 895350 w 1143000"/>
                    <a:gd name="connsiteY43" fmla="*/ 698500 h 1758950"/>
                    <a:gd name="connsiteX44" fmla="*/ 895350 w 1143000"/>
                    <a:gd name="connsiteY44" fmla="*/ 527050 h 1758950"/>
                    <a:gd name="connsiteX45" fmla="*/ 908050 w 1143000"/>
                    <a:gd name="connsiteY45" fmla="*/ 476250 h 1758950"/>
                    <a:gd name="connsiteX46" fmla="*/ 800100 w 1143000"/>
                    <a:gd name="connsiteY46" fmla="*/ 374650 h 1758950"/>
                    <a:gd name="connsiteX47" fmla="*/ 787400 w 1143000"/>
                    <a:gd name="connsiteY47" fmla="*/ 355600 h 1758950"/>
                    <a:gd name="connsiteX48" fmla="*/ 755650 w 1143000"/>
                    <a:gd name="connsiteY48" fmla="*/ 260350 h 1758950"/>
                    <a:gd name="connsiteX49" fmla="*/ 723900 w 1143000"/>
                    <a:gd name="connsiteY49" fmla="*/ 171450 h 1758950"/>
                    <a:gd name="connsiteX50" fmla="*/ 704850 w 1143000"/>
                    <a:gd name="connsiteY50" fmla="*/ 76200 h 1758950"/>
                    <a:gd name="connsiteX51" fmla="*/ 647700 w 1143000"/>
                    <a:gd name="connsiteY51" fmla="*/ 6350 h 1758950"/>
                    <a:gd name="connsiteX52" fmla="*/ 114300 w 1143000"/>
                    <a:gd name="connsiteY52" fmla="*/ 0 h 1758950"/>
                    <a:gd name="connsiteX0" fmla="*/ 114300 w 1136650"/>
                    <a:gd name="connsiteY0" fmla="*/ 0 h 1758950"/>
                    <a:gd name="connsiteX1" fmla="*/ 63500 w 1136650"/>
                    <a:gd name="connsiteY1" fmla="*/ 12700 h 1758950"/>
                    <a:gd name="connsiteX2" fmla="*/ 25400 w 1136650"/>
                    <a:gd name="connsiteY2" fmla="*/ 50800 h 1758950"/>
                    <a:gd name="connsiteX3" fmla="*/ 0 w 1136650"/>
                    <a:gd name="connsiteY3" fmla="*/ 120650 h 1758950"/>
                    <a:gd name="connsiteX4" fmla="*/ 19050 w 1136650"/>
                    <a:gd name="connsiteY4" fmla="*/ 184150 h 1758950"/>
                    <a:gd name="connsiteX5" fmla="*/ 88900 w 1136650"/>
                    <a:gd name="connsiteY5" fmla="*/ 247650 h 1758950"/>
                    <a:gd name="connsiteX6" fmla="*/ 127000 w 1136650"/>
                    <a:gd name="connsiteY6" fmla="*/ 317500 h 1758950"/>
                    <a:gd name="connsiteX7" fmla="*/ 139700 w 1136650"/>
                    <a:gd name="connsiteY7" fmla="*/ 368300 h 1758950"/>
                    <a:gd name="connsiteX8" fmla="*/ 139700 w 1136650"/>
                    <a:gd name="connsiteY8" fmla="*/ 444500 h 1758950"/>
                    <a:gd name="connsiteX9" fmla="*/ 133350 w 1136650"/>
                    <a:gd name="connsiteY9" fmla="*/ 527050 h 1758950"/>
                    <a:gd name="connsiteX10" fmla="*/ 165100 w 1136650"/>
                    <a:gd name="connsiteY10" fmla="*/ 596900 h 1758950"/>
                    <a:gd name="connsiteX11" fmla="*/ 184150 w 1136650"/>
                    <a:gd name="connsiteY11" fmla="*/ 603250 h 1758950"/>
                    <a:gd name="connsiteX12" fmla="*/ 222250 w 1136650"/>
                    <a:gd name="connsiteY12" fmla="*/ 622300 h 1758950"/>
                    <a:gd name="connsiteX13" fmla="*/ 285750 w 1136650"/>
                    <a:gd name="connsiteY13" fmla="*/ 641350 h 1758950"/>
                    <a:gd name="connsiteX14" fmla="*/ 330200 w 1136650"/>
                    <a:gd name="connsiteY14" fmla="*/ 666750 h 1758950"/>
                    <a:gd name="connsiteX15" fmla="*/ 330200 w 1136650"/>
                    <a:gd name="connsiteY15" fmla="*/ 730250 h 1758950"/>
                    <a:gd name="connsiteX16" fmla="*/ 374650 w 1136650"/>
                    <a:gd name="connsiteY16" fmla="*/ 793750 h 1758950"/>
                    <a:gd name="connsiteX17" fmla="*/ 361950 w 1136650"/>
                    <a:gd name="connsiteY17" fmla="*/ 869950 h 1758950"/>
                    <a:gd name="connsiteX18" fmla="*/ 361950 w 1136650"/>
                    <a:gd name="connsiteY18" fmla="*/ 958850 h 1758950"/>
                    <a:gd name="connsiteX19" fmla="*/ 317500 w 1136650"/>
                    <a:gd name="connsiteY19" fmla="*/ 1009650 h 1758950"/>
                    <a:gd name="connsiteX20" fmla="*/ 196850 w 1136650"/>
                    <a:gd name="connsiteY20" fmla="*/ 1079500 h 1758950"/>
                    <a:gd name="connsiteX21" fmla="*/ 139700 w 1136650"/>
                    <a:gd name="connsiteY21" fmla="*/ 1085850 h 1758950"/>
                    <a:gd name="connsiteX22" fmla="*/ 57150 w 1136650"/>
                    <a:gd name="connsiteY22" fmla="*/ 1117600 h 1758950"/>
                    <a:gd name="connsiteX23" fmla="*/ 12700 w 1136650"/>
                    <a:gd name="connsiteY23" fmla="*/ 1193800 h 1758950"/>
                    <a:gd name="connsiteX24" fmla="*/ 12700 w 1136650"/>
                    <a:gd name="connsiteY24" fmla="*/ 1276350 h 1758950"/>
                    <a:gd name="connsiteX25" fmla="*/ 6350 w 1136650"/>
                    <a:gd name="connsiteY25" fmla="*/ 1327150 h 1758950"/>
                    <a:gd name="connsiteX26" fmla="*/ 69850 w 1136650"/>
                    <a:gd name="connsiteY26" fmla="*/ 1347787 h 1758950"/>
                    <a:gd name="connsiteX27" fmla="*/ 349250 w 1136650"/>
                    <a:gd name="connsiteY27" fmla="*/ 1631950 h 1758950"/>
                    <a:gd name="connsiteX28" fmla="*/ 552450 w 1136650"/>
                    <a:gd name="connsiteY28" fmla="*/ 1758950 h 1758950"/>
                    <a:gd name="connsiteX29" fmla="*/ 838200 w 1136650"/>
                    <a:gd name="connsiteY29" fmla="*/ 1727200 h 1758950"/>
                    <a:gd name="connsiteX30" fmla="*/ 945357 w 1136650"/>
                    <a:gd name="connsiteY30" fmla="*/ 1558925 h 1758950"/>
                    <a:gd name="connsiteX31" fmla="*/ 981869 w 1136650"/>
                    <a:gd name="connsiteY31" fmla="*/ 1500188 h 1758950"/>
                    <a:gd name="connsiteX32" fmla="*/ 1004887 w 1136650"/>
                    <a:gd name="connsiteY32" fmla="*/ 1436687 h 1758950"/>
                    <a:gd name="connsiteX33" fmla="*/ 958850 w 1136650"/>
                    <a:gd name="connsiteY33" fmla="*/ 1386682 h 1758950"/>
                    <a:gd name="connsiteX34" fmla="*/ 939800 w 1136650"/>
                    <a:gd name="connsiteY34" fmla="*/ 1323182 h 1758950"/>
                    <a:gd name="connsiteX35" fmla="*/ 970756 w 1136650"/>
                    <a:gd name="connsiteY35" fmla="*/ 1249362 h 1758950"/>
                    <a:gd name="connsiteX36" fmla="*/ 1136650 w 1136650"/>
                    <a:gd name="connsiteY36" fmla="*/ 1079500 h 1758950"/>
                    <a:gd name="connsiteX37" fmla="*/ 983456 w 1136650"/>
                    <a:gd name="connsiteY37" fmla="*/ 1048544 h 1758950"/>
                    <a:gd name="connsiteX38" fmla="*/ 1027907 w 1136650"/>
                    <a:gd name="connsiteY38" fmla="*/ 964406 h 1758950"/>
                    <a:gd name="connsiteX39" fmla="*/ 1079500 w 1136650"/>
                    <a:gd name="connsiteY39" fmla="*/ 857250 h 1758950"/>
                    <a:gd name="connsiteX40" fmla="*/ 1054100 w 1136650"/>
                    <a:gd name="connsiteY40" fmla="*/ 730250 h 1758950"/>
                    <a:gd name="connsiteX41" fmla="*/ 1003300 w 1136650"/>
                    <a:gd name="connsiteY41" fmla="*/ 723900 h 1758950"/>
                    <a:gd name="connsiteX42" fmla="*/ 933450 w 1136650"/>
                    <a:gd name="connsiteY42" fmla="*/ 730250 h 1758950"/>
                    <a:gd name="connsiteX43" fmla="*/ 895350 w 1136650"/>
                    <a:gd name="connsiteY43" fmla="*/ 698500 h 1758950"/>
                    <a:gd name="connsiteX44" fmla="*/ 895350 w 1136650"/>
                    <a:gd name="connsiteY44" fmla="*/ 527050 h 1758950"/>
                    <a:gd name="connsiteX45" fmla="*/ 908050 w 1136650"/>
                    <a:gd name="connsiteY45" fmla="*/ 476250 h 1758950"/>
                    <a:gd name="connsiteX46" fmla="*/ 800100 w 1136650"/>
                    <a:gd name="connsiteY46" fmla="*/ 374650 h 1758950"/>
                    <a:gd name="connsiteX47" fmla="*/ 787400 w 1136650"/>
                    <a:gd name="connsiteY47" fmla="*/ 355600 h 1758950"/>
                    <a:gd name="connsiteX48" fmla="*/ 755650 w 1136650"/>
                    <a:gd name="connsiteY48" fmla="*/ 260350 h 1758950"/>
                    <a:gd name="connsiteX49" fmla="*/ 723900 w 1136650"/>
                    <a:gd name="connsiteY49" fmla="*/ 171450 h 1758950"/>
                    <a:gd name="connsiteX50" fmla="*/ 704850 w 1136650"/>
                    <a:gd name="connsiteY50" fmla="*/ 76200 h 1758950"/>
                    <a:gd name="connsiteX51" fmla="*/ 647700 w 1136650"/>
                    <a:gd name="connsiteY51" fmla="*/ 6350 h 1758950"/>
                    <a:gd name="connsiteX52" fmla="*/ 114300 w 113665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33450 w 1079500"/>
                    <a:gd name="connsiteY42" fmla="*/ 730250 h 1758950"/>
                    <a:gd name="connsiteX43" fmla="*/ 895350 w 1079500"/>
                    <a:gd name="connsiteY43" fmla="*/ 698500 h 1758950"/>
                    <a:gd name="connsiteX44" fmla="*/ 895350 w 1079500"/>
                    <a:gd name="connsiteY44" fmla="*/ 527050 h 1758950"/>
                    <a:gd name="connsiteX45" fmla="*/ 908050 w 1079500"/>
                    <a:gd name="connsiteY45" fmla="*/ 476250 h 1758950"/>
                    <a:gd name="connsiteX46" fmla="*/ 800100 w 1079500"/>
                    <a:gd name="connsiteY46" fmla="*/ 374650 h 1758950"/>
                    <a:gd name="connsiteX47" fmla="*/ 787400 w 1079500"/>
                    <a:gd name="connsiteY47" fmla="*/ 355600 h 1758950"/>
                    <a:gd name="connsiteX48" fmla="*/ 755650 w 1079500"/>
                    <a:gd name="connsiteY48" fmla="*/ 260350 h 1758950"/>
                    <a:gd name="connsiteX49" fmla="*/ 723900 w 1079500"/>
                    <a:gd name="connsiteY49" fmla="*/ 171450 h 1758950"/>
                    <a:gd name="connsiteX50" fmla="*/ 704850 w 1079500"/>
                    <a:gd name="connsiteY50" fmla="*/ 76200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33450 w 1079500"/>
                    <a:gd name="connsiteY42" fmla="*/ 730250 h 1758950"/>
                    <a:gd name="connsiteX43" fmla="*/ 895350 w 1079500"/>
                    <a:gd name="connsiteY43" fmla="*/ 698500 h 1758950"/>
                    <a:gd name="connsiteX44" fmla="*/ 895350 w 1079500"/>
                    <a:gd name="connsiteY44" fmla="*/ 527050 h 1758950"/>
                    <a:gd name="connsiteX45" fmla="*/ 908050 w 1079500"/>
                    <a:gd name="connsiteY45" fmla="*/ 476250 h 1758950"/>
                    <a:gd name="connsiteX46" fmla="*/ 800100 w 1079500"/>
                    <a:gd name="connsiteY46" fmla="*/ 374650 h 1758950"/>
                    <a:gd name="connsiteX47" fmla="*/ 787400 w 1079500"/>
                    <a:gd name="connsiteY47" fmla="*/ 355600 h 1758950"/>
                    <a:gd name="connsiteX48" fmla="*/ 755650 w 1079500"/>
                    <a:gd name="connsiteY48" fmla="*/ 260350 h 1758950"/>
                    <a:gd name="connsiteX49" fmla="*/ 723900 w 1079500"/>
                    <a:gd name="connsiteY49" fmla="*/ 171450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33450 w 1079500"/>
                    <a:gd name="connsiteY42" fmla="*/ 730250 h 1758950"/>
                    <a:gd name="connsiteX43" fmla="*/ 895350 w 1079500"/>
                    <a:gd name="connsiteY43" fmla="*/ 698500 h 1758950"/>
                    <a:gd name="connsiteX44" fmla="*/ 895350 w 1079500"/>
                    <a:gd name="connsiteY44" fmla="*/ 527050 h 1758950"/>
                    <a:gd name="connsiteX45" fmla="*/ 908050 w 1079500"/>
                    <a:gd name="connsiteY45" fmla="*/ 476250 h 1758950"/>
                    <a:gd name="connsiteX46" fmla="*/ 800100 w 1079500"/>
                    <a:gd name="connsiteY46" fmla="*/ 374650 h 1758950"/>
                    <a:gd name="connsiteX47" fmla="*/ 787400 w 1079500"/>
                    <a:gd name="connsiteY47" fmla="*/ 355600 h 1758950"/>
                    <a:gd name="connsiteX48" fmla="*/ 755650 w 1079500"/>
                    <a:gd name="connsiteY48" fmla="*/ 260350 h 1758950"/>
                    <a:gd name="connsiteX49" fmla="*/ 695325 w 1079500"/>
                    <a:gd name="connsiteY49" fmla="*/ 226219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33450 w 1079500"/>
                    <a:gd name="connsiteY42" fmla="*/ 730250 h 1758950"/>
                    <a:gd name="connsiteX43" fmla="*/ 895350 w 1079500"/>
                    <a:gd name="connsiteY43" fmla="*/ 698500 h 1758950"/>
                    <a:gd name="connsiteX44" fmla="*/ 895350 w 1079500"/>
                    <a:gd name="connsiteY44" fmla="*/ 527050 h 1758950"/>
                    <a:gd name="connsiteX45" fmla="*/ 908050 w 1079500"/>
                    <a:gd name="connsiteY45" fmla="*/ 476250 h 1758950"/>
                    <a:gd name="connsiteX46" fmla="*/ 800100 w 1079500"/>
                    <a:gd name="connsiteY46" fmla="*/ 374650 h 1758950"/>
                    <a:gd name="connsiteX47" fmla="*/ 787400 w 1079500"/>
                    <a:gd name="connsiteY47" fmla="*/ 355600 h 1758950"/>
                    <a:gd name="connsiteX48" fmla="*/ 717550 w 1079500"/>
                    <a:gd name="connsiteY48" fmla="*/ 284162 h 1758950"/>
                    <a:gd name="connsiteX49" fmla="*/ 695325 w 1079500"/>
                    <a:gd name="connsiteY49" fmla="*/ 226219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33450 w 1079500"/>
                    <a:gd name="connsiteY42" fmla="*/ 730250 h 1758950"/>
                    <a:gd name="connsiteX43" fmla="*/ 895350 w 1079500"/>
                    <a:gd name="connsiteY43" fmla="*/ 698500 h 1758950"/>
                    <a:gd name="connsiteX44" fmla="*/ 895350 w 1079500"/>
                    <a:gd name="connsiteY44" fmla="*/ 527050 h 1758950"/>
                    <a:gd name="connsiteX45" fmla="*/ 908050 w 1079500"/>
                    <a:gd name="connsiteY45" fmla="*/ 476250 h 1758950"/>
                    <a:gd name="connsiteX46" fmla="*/ 800100 w 1079500"/>
                    <a:gd name="connsiteY46" fmla="*/ 374650 h 1758950"/>
                    <a:gd name="connsiteX47" fmla="*/ 720725 w 1079500"/>
                    <a:gd name="connsiteY47" fmla="*/ 377031 h 1758950"/>
                    <a:gd name="connsiteX48" fmla="*/ 717550 w 1079500"/>
                    <a:gd name="connsiteY48" fmla="*/ 284162 h 1758950"/>
                    <a:gd name="connsiteX49" fmla="*/ 695325 w 1079500"/>
                    <a:gd name="connsiteY49" fmla="*/ 226219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33450 w 1079500"/>
                    <a:gd name="connsiteY42" fmla="*/ 730250 h 1758950"/>
                    <a:gd name="connsiteX43" fmla="*/ 895350 w 1079500"/>
                    <a:gd name="connsiteY43" fmla="*/ 698500 h 1758950"/>
                    <a:gd name="connsiteX44" fmla="*/ 895350 w 1079500"/>
                    <a:gd name="connsiteY44" fmla="*/ 527050 h 1758950"/>
                    <a:gd name="connsiteX45" fmla="*/ 908050 w 1079500"/>
                    <a:gd name="connsiteY45" fmla="*/ 476250 h 1758950"/>
                    <a:gd name="connsiteX46" fmla="*/ 792956 w 1079500"/>
                    <a:gd name="connsiteY46" fmla="*/ 429419 h 1758950"/>
                    <a:gd name="connsiteX47" fmla="*/ 720725 w 1079500"/>
                    <a:gd name="connsiteY47" fmla="*/ 377031 h 1758950"/>
                    <a:gd name="connsiteX48" fmla="*/ 717550 w 1079500"/>
                    <a:gd name="connsiteY48" fmla="*/ 284162 h 1758950"/>
                    <a:gd name="connsiteX49" fmla="*/ 695325 w 1079500"/>
                    <a:gd name="connsiteY49" fmla="*/ 226219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33450 w 1079500"/>
                    <a:gd name="connsiteY42" fmla="*/ 730250 h 1758950"/>
                    <a:gd name="connsiteX43" fmla="*/ 895350 w 1079500"/>
                    <a:gd name="connsiteY43" fmla="*/ 698500 h 1758950"/>
                    <a:gd name="connsiteX44" fmla="*/ 895350 w 1079500"/>
                    <a:gd name="connsiteY44" fmla="*/ 527050 h 1758950"/>
                    <a:gd name="connsiteX45" fmla="*/ 872332 w 1079500"/>
                    <a:gd name="connsiteY45" fmla="*/ 497681 h 1758950"/>
                    <a:gd name="connsiteX46" fmla="*/ 792956 w 1079500"/>
                    <a:gd name="connsiteY46" fmla="*/ 429419 h 1758950"/>
                    <a:gd name="connsiteX47" fmla="*/ 720725 w 1079500"/>
                    <a:gd name="connsiteY47" fmla="*/ 377031 h 1758950"/>
                    <a:gd name="connsiteX48" fmla="*/ 717550 w 1079500"/>
                    <a:gd name="connsiteY48" fmla="*/ 284162 h 1758950"/>
                    <a:gd name="connsiteX49" fmla="*/ 695325 w 1079500"/>
                    <a:gd name="connsiteY49" fmla="*/ 226219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33450 w 1079500"/>
                    <a:gd name="connsiteY42" fmla="*/ 730250 h 1758950"/>
                    <a:gd name="connsiteX43" fmla="*/ 895350 w 1079500"/>
                    <a:gd name="connsiteY43" fmla="*/ 698500 h 1758950"/>
                    <a:gd name="connsiteX44" fmla="*/ 828675 w 1079500"/>
                    <a:gd name="connsiteY44" fmla="*/ 619919 h 1758950"/>
                    <a:gd name="connsiteX45" fmla="*/ 872332 w 1079500"/>
                    <a:gd name="connsiteY45" fmla="*/ 497681 h 1758950"/>
                    <a:gd name="connsiteX46" fmla="*/ 792956 w 1079500"/>
                    <a:gd name="connsiteY46" fmla="*/ 429419 h 1758950"/>
                    <a:gd name="connsiteX47" fmla="*/ 720725 w 1079500"/>
                    <a:gd name="connsiteY47" fmla="*/ 377031 h 1758950"/>
                    <a:gd name="connsiteX48" fmla="*/ 717550 w 1079500"/>
                    <a:gd name="connsiteY48" fmla="*/ 284162 h 1758950"/>
                    <a:gd name="connsiteX49" fmla="*/ 695325 w 1079500"/>
                    <a:gd name="connsiteY49" fmla="*/ 226219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33450 w 1079500"/>
                    <a:gd name="connsiteY42" fmla="*/ 730250 h 1758950"/>
                    <a:gd name="connsiteX43" fmla="*/ 873919 w 1079500"/>
                    <a:gd name="connsiteY43" fmla="*/ 712787 h 1758950"/>
                    <a:gd name="connsiteX44" fmla="*/ 828675 w 1079500"/>
                    <a:gd name="connsiteY44" fmla="*/ 619919 h 1758950"/>
                    <a:gd name="connsiteX45" fmla="*/ 872332 w 1079500"/>
                    <a:gd name="connsiteY45" fmla="*/ 497681 h 1758950"/>
                    <a:gd name="connsiteX46" fmla="*/ 792956 w 1079500"/>
                    <a:gd name="connsiteY46" fmla="*/ 429419 h 1758950"/>
                    <a:gd name="connsiteX47" fmla="*/ 720725 w 1079500"/>
                    <a:gd name="connsiteY47" fmla="*/ 377031 h 1758950"/>
                    <a:gd name="connsiteX48" fmla="*/ 717550 w 1079500"/>
                    <a:gd name="connsiteY48" fmla="*/ 284162 h 1758950"/>
                    <a:gd name="connsiteX49" fmla="*/ 695325 w 1079500"/>
                    <a:gd name="connsiteY49" fmla="*/ 226219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852487 w 1079500"/>
                    <a:gd name="connsiteY42" fmla="*/ 787400 h 1758950"/>
                    <a:gd name="connsiteX43" fmla="*/ 873919 w 1079500"/>
                    <a:gd name="connsiteY43" fmla="*/ 712787 h 1758950"/>
                    <a:gd name="connsiteX44" fmla="*/ 828675 w 1079500"/>
                    <a:gd name="connsiteY44" fmla="*/ 619919 h 1758950"/>
                    <a:gd name="connsiteX45" fmla="*/ 872332 w 1079500"/>
                    <a:gd name="connsiteY45" fmla="*/ 497681 h 1758950"/>
                    <a:gd name="connsiteX46" fmla="*/ 792956 w 1079500"/>
                    <a:gd name="connsiteY46" fmla="*/ 429419 h 1758950"/>
                    <a:gd name="connsiteX47" fmla="*/ 720725 w 1079500"/>
                    <a:gd name="connsiteY47" fmla="*/ 377031 h 1758950"/>
                    <a:gd name="connsiteX48" fmla="*/ 717550 w 1079500"/>
                    <a:gd name="connsiteY48" fmla="*/ 284162 h 1758950"/>
                    <a:gd name="connsiteX49" fmla="*/ 695325 w 1079500"/>
                    <a:gd name="connsiteY49" fmla="*/ 226219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835819 w 1079500"/>
                    <a:gd name="connsiteY42" fmla="*/ 775494 h 1758950"/>
                    <a:gd name="connsiteX43" fmla="*/ 873919 w 1079500"/>
                    <a:gd name="connsiteY43" fmla="*/ 712787 h 1758950"/>
                    <a:gd name="connsiteX44" fmla="*/ 828675 w 1079500"/>
                    <a:gd name="connsiteY44" fmla="*/ 619919 h 1758950"/>
                    <a:gd name="connsiteX45" fmla="*/ 872332 w 1079500"/>
                    <a:gd name="connsiteY45" fmla="*/ 497681 h 1758950"/>
                    <a:gd name="connsiteX46" fmla="*/ 792956 w 1079500"/>
                    <a:gd name="connsiteY46" fmla="*/ 429419 h 1758950"/>
                    <a:gd name="connsiteX47" fmla="*/ 720725 w 1079500"/>
                    <a:gd name="connsiteY47" fmla="*/ 377031 h 1758950"/>
                    <a:gd name="connsiteX48" fmla="*/ 717550 w 1079500"/>
                    <a:gd name="connsiteY48" fmla="*/ 284162 h 1758950"/>
                    <a:gd name="connsiteX49" fmla="*/ 695325 w 1079500"/>
                    <a:gd name="connsiteY49" fmla="*/ 226219 h 1758950"/>
                    <a:gd name="connsiteX50" fmla="*/ 671513 w 1079500"/>
                    <a:gd name="connsiteY50" fmla="*/ 121444 h 1758950"/>
                    <a:gd name="connsiteX51" fmla="*/ 647700 w 1079500"/>
                    <a:gd name="connsiteY51" fmla="*/ 6350 h 1758950"/>
                    <a:gd name="connsiteX52" fmla="*/ 114300 w 1079500"/>
                    <a:gd name="connsiteY52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891381 w 1079500"/>
                    <a:gd name="connsiteY42" fmla="*/ 777875 h 1758950"/>
                    <a:gd name="connsiteX43" fmla="*/ 835819 w 1079500"/>
                    <a:gd name="connsiteY43" fmla="*/ 775494 h 1758950"/>
                    <a:gd name="connsiteX44" fmla="*/ 873919 w 1079500"/>
                    <a:gd name="connsiteY44" fmla="*/ 712787 h 1758950"/>
                    <a:gd name="connsiteX45" fmla="*/ 828675 w 1079500"/>
                    <a:gd name="connsiteY45" fmla="*/ 619919 h 1758950"/>
                    <a:gd name="connsiteX46" fmla="*/ 872332 w 1079500"/>
                    <a:gd name="connsiteY46" fmla="*/ 497681 h 1758950"/>
                    <a:gd name="connsiteX47" fmla="*/ 792956 w 1079500"/>
                    <a:gd name="connsiteY47" fmla="*/ 429419 h 1758950"/>
                    <a:gd name="connsiteX48" fmla="*/ 720725 w 1079500"/>
                    <a:gd name="connsiteY48" fmla="*/ 377031 h 1758950"/>
                    <a:gd name="connsiteX49" fmla="*/ 717550 w 1079500"/>
                    <a:gd name="connsiteY49" fmla="*/ 284162 h 1758950"/>
                    <a:gd name="connsiteX50" fmla="*/ 695325 w 1079500"/>
                    <a:gd name="connsiteY50" fmla="*/ 226219 h 1758950"/>
                    <a:gd name="connsiteX51" fmla="*/ 671513 w 1079500"/>
                    <a:gd name="connsiteY51" fmla="*/ 121444 h 1758950"/>
                    <a:gd name="connsiteX52" fmla="*/ 647700 w 1079500"/>
                    <a:gd name="connsiteY52" fmla="*/ 6350 h 1758950"/>
                    <a:gd name="connsiteX53" fmla="*/ 114300 w 1079500"/>
                    <a:gd name="connsiteY53" fmla="*/ 0 h 1758950"/>
                    <a:gd name="connsiteX0" fmla="*/ 114300 w 1079500"/>
                    <a:gd name="connsiteY0" fmla="*/ 0 h 1758950"/>
                    <a:gd name="connsiteX1" fmla="*/ 63500 w 1079500"/>
                    <a:gd name="connsiteY1" fmla="*/ 12700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55675 w 1079500"/>
                    <a:gd name="connsiteY42" fmla="*/ 732631 h 1758950"/>
                    <a:gd name="connsiteX43" fmla="*/ 891381 w 1079500"/>
                    <a:gd name="connsiteY43" fmla="*/ 777875 h 1758950"/>
                    <a:gd name="connsiteX44" fmla="*/ 835819 w 1079500"/>
                    <a:gd name="connsiteY44" fmla="*/ 775494 h 1758950"/>
                    <a:gd name="connsiteX45" fmla="*/ 873919 w 1079500"/>
                    <a:gd name="connsiteY45" fmla="*/ 712787 h 1758950"/>
                    <a:gd name="connsiteX46" fmla="*/ 828675 w 1079500"/>
                    <a:gd name="connsiteY46" fmla="*/ 619919 h 1758950"/>
                    <a:gd name="connsiteX47" fmla="*/ 872332 w 1079500"/>
                    <a:gd name="connsiteY47" fmla="*/ 497681 h 1758950"/>
                    <a:gd name="connsiteX48" fmla="*/ 792956 w 1079500"/>
                    <a:gd name="connsiteY48" fmla="*/ 429419 h 1758950"/>
                    <a:gd name="connsiteX49" fmla="*/ 720725 w 1079500"/>
                    <a:gd name="connsiteY49" fmla="*/ 377031 h 1758950"/>
                    <a:gd name="connsiteX50" fmla="*/ 717550 w 1079500"/>
                    <a:gd name="connsiteY50" fmla="*/ 284162 h 1758950"/>
                    <a:gd name="connsiteX51" fmla="*/ 695325 w 1079500"/>
                    <a:gd name="connsiteY51" fmla="*/ 226219 h 1758950"/>
                    <a:gd name="connsiteX52" fmla="*/ 671513 w 1079500"/>
                    <a:gd name="connsiteY52" fmla="*/ 121444 h 1758950"/>
                    <a:gd name="connsiteX53" fmla="*/ 647700 w 1079500"/>
                    <a:gd name="connsiteY53" fmla="*/ 6350 h 1758950"/>
                    <a:gd name="connsiteX54" fmla="*/ 114300 w 1079500"/>
                    <a:gd name="connsiteY54" fmla="*/ 0 h 1758950"/>
                    <a:gd name="connsiteX0" fmla="*/ 114300 w 1079500"/>
                    <a:gd name="connsiteY0" fmla="*/ 0 h 1758950"/>
                    <a:gd name="connsiteX1" fmla="*/ 87313 w 1079500"/>
                    <a:gd name="connsiteY1" fmla="*/ 74612 h 1758950"/>
                    <a:gd name="connsiteX2" fmla="*/ 25400 w 1079500"/>
                    <a:gd name="connsiteY2" fmla="*/ 50800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55675 w 1079500"/>
                    <a:gd name="connsiteY42" fmla="*/ 732631 h 1758950"/>
                    <a:gd name="connsiteX43" fmla="*/ 891381 w 1079500"/>
                    <a:gd name="connsiteY43" fmla="*/ 777875 h 1758950"/>
                    <a:gd name="connsiteX44" fmla="*/ 835819 w 1079500"/>
                    <a:gd name="connsiteY44" fmla="*/ 775494 h 1758950"/>
                    <a:gd name="connsiteX45" fmla="*/ 873919 w 1079500"/>
                    <a:gd name="connsiteY45" fmla="*/ 712787 h 1758950"/>
                    <a:gd name="connsiteX46" fmla="*/ 828675 w 1079500"/>
                    <a:gd name="connsiteY46" fmla="*/ 619919 h 1758950"/>
                    <a:gd name="connsiteX47" fmla="*/ 872332 w 1079500"/>
                    <a:gd name="connsiteY47" fmla="*/ 497681 h 1758950"/>
                    <a:gd name="connsiteX48" fmla="*/ 792956 w 1079500"/>
                    <a:gd name="connsiteY48" fmla="*/ 429419 h 1758950"/>
                    <a:gd name="connsiteX49" fmla="*/ 720725 w 1079500"/>
                    <a:gd name="connsiteY49" fmla="*/ 377031 h 1758950"/>
                    <a:gd name="connsiteX50" fmla="*/ 717550 w 1079500"/>
                    <a:gd name="connsiteY50" fmla="*/ 284162 h 1758950"/>
                    <a:gd name="connsiteX51" fmla="*/ 695325 w 1079500"/>
                    <a:gd name="connsiteY51" fmla="*/ 226219 h 1758950"/>
                    <a:gd name="connsiteX52" fmla="*/ 671513 w 1079500"/>
                    <a:gd name="connsiteY52" fmla="*/ 121444 h 1758950"/>
                    <a:gd name="connsiteX53" fmla="*/ 647700 w 1079500"/>
                    <a:gd name="connsiteY53" fmla="*/ 6350 h 1758950"/>
                    <a:gd name="connsiteX54" fmla="*/ 114300 w 1079500"/>
                    <a:gd name="connsiteY54" fmla="*/ 0 h 1758950"/>
                    <a:gd name="connsiteX0" fmla="*/ 114300 w 1079500"/>
                    <a:gd name="connsiteY0" fmla="*/ 0 h 1758950"/>
                    <a:gd name="connsiteX1" fmla="*/ 87313 w 1079500"/>
                    <a:gd name="connsiteY1" fmla="*/ 74612 h 1758950"/>
                    <a:gd name="connsiteX2" fmla="*/ 113507 w 1079500"/>
                    <a:gd name="connsiteY2" fmla="*/ 117475 h 1758950"/>
                    <a:gd name="connsiteX3" fmla="*/ 0 w 1079500"/>
                    <a:gd name="connsiteY3" fmla="*/ 120650 h 1758950"/>
                    <a:gd name="connsiteX4" fmla="*/ 19050 w 1079500"/>
                    <a:gd name="connsiteY4" fmla="*/ 184150 h 1758950"/>
                    <a:gd name="connsiteX5" fmla="*/ 88900 w 1079500"/>
                    <a:gd name="connsiteY5" fmla="*/ 247650 h 1758950"/>
                    <a:gd name="connsiteX6" fmla="*/ 127000 w 1079500"/>
                    <a:gd name="connsiteY6" fmla="*/ 317500 h 1758950"/>
                    <a:gd name="connsiteX7" fmla="*/ 139700 w 1079500"/>
                    <a:gd name="connsiteY7" fmla="*/ 368300 h 1758950"/>
                    <a:gd name="connsiteX8" fmla="*/ 139700 w 1079500"/>
                    <a:gd name="connsiteY8" fmla="*/ 444500 h 1758950"/>
                    <a:gd name="connsiteX9" fmla="*/ 133350 w 1079500"/>
                    <a:gd name="connsiteY9" fmla="*/ 527050 h 1758950"/>
                    <a:gd name="connsiteX10" fmla="*/ 165100 w 1079500"/>
                    <a:gd name="connsiteY10" fmla="*/ 596900 h 1758950"/>
                    <a:gd name="connsiteX11" fmla="*/ 184150 w 1079500"/>
                    <a:gd name="connsiteY11" fmla="*/ 603250 h 1758950"/>
                    <a:gd name="connsiteX12" fmla="*/ 222250 w 1079500"/>
                    <a:gd name="connsiteY12" fmla="*/ 622300 h 1758950"/>
                    <a:gd name="connsiteX13" fmla="*/ 285750 w 1079500"/>
                    <a:gd name="connsiteY13" fmla="*/ 641350 h 1758950"/>
                    <a:gd name="connsiteX14" fmla="*/ 330200 w 1079500"/>
                    <a:gd name="connsiteY14" fmla="*/ 666750 h 1758950"/>
                    <a:gd name="connsiteX15" fmla="*/ 330200 w 1079500"/>
                    <a:gd name="connsiteY15" fmla="*/ 730250 h 1758950"/>
                    <a:gd name="connsiteX16" fmla="*/ 374650 w 1079500"/>
                    <a:gd name="connsiteY16" fmla="*/ 793750 h 1758950"/>
                    <a:gd name="connsiteX17" fmla="*/ 361950 w 1079500"/>
                    <a:gd name="connsiteY17" fmla="*/ 869950 h 1758950"/>
                    <a:gd name="connsiteX18" fmla="*/ 361950 w 1079500"/>
                    <a:gd name="connsiteY18" fmla="*/ 958850 h 1758950"/>
                    <a:gd name="connsiteX19" fmla="*/ 317500 w 1079500"/>
                    <a:gd name="connsiteY19" fmla="*/ 1009650 h 1758950"/>
                    <a:gd name="connsiteX20" fmla="*/ 196850 w 1079500"/>
                    <a:gd name="connsiteY20" fmla="*/ 1079500 h 1758950"/>
                    <a:gd name="connsiteX21" fmla="*/ 139700 w 1079500"/>
                    <a:gd name="connsiteY21" fmla="*/ 1085850 h 1758950"/>
                    <a:gd name="connsiteX22" fmla="*/ 57150 w 1079500"/>
                    <a:gd name="connsiteY22" fmla="*/ 1117600 h 1758950"/>
                    <a:gd name="connsiteX23" fmla="*/ 12700 w 1079500"/>
                    <a:gd name="connsiteY23" fmla="*/ 1193800 h 1758950"/>
                    <a:gd name="connsiteX24" fmla="*/ 12700 w 1079500"/>
                    <a:gd name="connsiteY24" fmla="*/ 1276350 h 1758950"/>
                    <a:gd name="connsiteX25" fmla="*/ 6350 w 1079500"/>
                    <a:gd name="connsiteY25" fmla="*/ 1327150 h 1758950"/>
                    <a:gd name="connsiteX26" fmla="*/ 69850 w 1079500"/>
                    <a:gd name="connsiteY26" fmla="*/ 1347787 h 1758950"/>
                    <a:gd name="connsiteX27" fmla="*/ 349250 w 1079500"/>
                    <a:gd name="connsiteY27" fmla="*/ 1631950 h 1758950"/>
                    <a:gd name="connsiteX28" fmla="*/ 552450 w 1079500"/>
                    <a:gd name="connsiteY28" fmla="*/ 1758950 h 1758950"/>
                    <a:gd name="connsiteX29" fmla="*/ 838200 w 1079500"/>
                    <a:gd name="connsiteY29" fmla="*/ 1727200 h 1758950"/>
                    <a:gd name="connsiteX30" fmla="*/ 945357 w 1079500"/>
                    <a:gd name="connsiteY30" fmla="*/ 1558925 h 1758950"/>
                    <a:gd name="connsiteX31" fmla="*/ 981869 w 1079500"/>
                    <a:gd name="connsiteY31" fmla="*/ 1500188 h 1758950"/>
                    <a:gd name="connsiteX32" fmla="*/ 1004887 w 1079500"/>
                    <a:gd name="connsiteY32" fmla="*/ 1436687 h 1758950"/>
                    <a:gd name="connsiteX33" fmla="*/ 958850 w 1079500"/>
                    <a:gd name="connsiteY33" fmla="*/ 1386682 h 1758950"/>
                    <a:gd name="connsiteX34" fmla="*/ 939800 w 1079500"/>
                    <a:gd name="connsiteY34" fmla="*/ 1323182 h 1758950"/>
                    <a:gd name="connsiteX35" fmla="*/ 970756 w 1079500"/>
                    <a:gd name="connsiteY35" fmla="*/ 1249362 h 1758950"/>
                    <a:gd name="connsiteX36" fmla="*/ 986631 w 1079500"/>
                    <a:gd name="connsiteY36" fmla="*/ 1136650 h 1758950"/>
                    <a:gd name="connsiteX37" fmla="*/ 983456 w 1079500"/>
                    <a:gd name="connsiteY37" fmla="*/ 1048544 h 1758950"/>
                    <a:gd name="connsiteX38" fmla="*/ 1027907 w 1079500"/>
                    <a:gd name="connsiteY38" fmla="*/ 964406 h 1758950"/>
                    <a:gd name="connsiteX39" fmla="*/ 1079500 w 1079500"/>
                    <a:gd name="connsiteY39" fmla="*/ 857250 h 1758950"/>
                    <a:gd name="connsiteX40" fmla="*/ 1054100 w 1079500"/>
                    <a:gd name="connsiteY40" fmla="*/ 730250 h 1758950"/>
                    <a:gd name="connsiteX41" fmla="*/ 1003300 w 1079500"/>
                    <a:gd name="connsiteY41" fmla="*/ 723900 h 1758950"/>
                    <a:gd name="connsiteX42" fmla="*/ 955675 w 1079500"/>
                    <a:gd name="connsiteY42" fmla="*/ 732631 h 1758950"/>
                    <a:gd name="connsiteX43" fmla="*/ 891381 w 1079500"/>
                    <a:gd name="connsiteY43" fmla="*/ 777875 h 1758950"/>
                    <a:gd name="connsiteX44" fmla="*/ 835819 w 1079500"/>
                    <a:gd name="connsiteY44" fmla="*/ 775494 h 1758950"/>
                    <a:gd name="connsiteX45" fmla="*/ 873919 w 1079500"/>
                    <a:gd name="connsiteY45" fmla="*/ 712787 h 1758950"/>
                    <a:gd name="connsiteX46" fmla="*/ 828675 w 1079500"/>
                    <a:gd name="connsiteY46" fmla="*/ 619919 h 1758950"/>
                    <a:gd name="connsiteX47" fmla="*/ 872332 w 1079500"/>
                    <a:gd name="connsiteY47" fmla="*/ 497681 h 1758950"/>
                    <a:gd name="connsiteX48" fmla="*/ 792956 w 1079500"/>
                    <a:gd name="connsiteY48" fmla="*/ 429419 h 1758950"/>
                    <a:gd name="connsiteX49" fmla="*/ 720725 w 1079500"/>
                    <a:gd name="connsiteY49" fmla="*/ 377031 h 1758950"/>
                    <a:gd name="connsiteX50" fmla="*/ 717550 w 1079500"/>
                    <a:gd name="connsiteY50" fmla="*/ 284162 h 1758950"/>
                    <a:gd name="connsiteX51" fmla="*/ 695325 w 1079500"/>
                    <a:gd name="connsiteY51" fmla="*/ 226219 h 1758950"/>
                    <a:gd name="connsiteX52" fmla="*/ 671513 w 1079500"/>
                    <a:gd name="connsiteY52" fmla="*/ 121444 h 1758950"/>
                    <a:gd name="connsiteX53" fmla="*/ 647700 w 1079500"/>
                    <a:gd name="connsiteY53" fmla="*/ 6350 h 1758950"/>
                    <a:gd name="connsiteX54" fmla="*/ 114300 w 107950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12700 w 1073150"/>
                    <a:gd name="connsiteY4" fmla="*/ 184150 h 1758950"/>
                    <a:gd name="connsiteX5" fmla="*/ 82550 w 1073150"/>
                    <a:gd name="connsiteY5" fmla="*/ 247650 h 1758950"/>
                    <a:gd name="connsiteX6" fmla="*/ 120650 w 1073150"/>
                    <a:gd name="connsiteY6" fmla="*/ 317500 h 1758950"/>
                    <a:gd name="connsiteX7" fmla="*/ 133350 w 1073150"/>
                    <a:gd name="connsiteY7" fmla="*/ 368300 h 1758950"/>
                    <a:gd name="connsiteX8" fmla="*/ 133350 w 1073150"/>
                    <a:gd name="connsiteY8" fmla="*/ 444500 h 1758950"/>
                    <a:gd name="connsiteX9" fmla="*/ 127000 w 1073150"/>
                    <a:gd name="connsiteY9" fmla="*/ 527050 h 1758950"/>
                    <a:gd name="connsiteX10" fmla="*/ 158750 w 1073150"/>
                    <a:gd name="connsiteY10" fmla="*/ 596900 h 1758950"/>
                    <a:gd name="connsiteX11" fmla="*/ 177800 w 1073150"/>
                    <a:gd name="connsiteY11" fmla="*/ 603250 h 1758950"/>
                    <a:gd name="connsiteX12" fmla="*/ 215900 w 1073150"/>
                    <a:gd name="connsiteY12" fmla="*/ 622300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82550 w 1073150"/>
                    <a:gd name="connsiteY5" fmla="*/ 247650 h 1758950"/>
                    <a:gd name="connsiteX6" fmla="*/ 120650 w 1073150"/>
                    <a:gd name="connsiteY6" fmla="*/ 317500 h 1758950"/>
                    <a:gd name="connsiteX7" fmla="*/ 133350 w 1073150"/>
                    <a:gd name="connsiteY7" fmla="*/ 368300 h 1758950"/>
                    <a:gd name="connsiteX8" fmla="*/ 133350 w 1073150"/>
                    <a:gd name="connsiteY8" fmla="*/ 444500 h 1758950"/>
                    <a:gd name="connsiteX9" fmla="*/ 127000 w 1073150"/>
                    <a:gd name="connsiteY9" fmla="*/ 527050 h 1758950"/>
                    <a:gd name="connsiteX10" fmla="*/ 158750 w 1073150"/>
                    <a:gd name="connsiteY10" fmla="*/ 596900 h 1758950"/>
                    <a:gd name="connsiteX11" fmla="*/ 177800 w 1073150"/>
                    <a:gd name="connsiteY11" fmla="*/ 603250 h 1758950"/>
                    <a:gd name="connsiteX12" fmla="*/ 215900 w 1073150"/>
                    <a:gd name="connsiteY12" fmla="*/ 622300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120650 w 1073150"/>
                    <a:gd name="connsiteY6" fmla="*/ 317500 h 1758950"/>
                    <a:gd name="connsiteX7" fmla="*/ 133350 w 1073150"/>
                    <a:gd name="connsiteY7" fmla="*/ 368300 h 1758950"/>
                    <a:gd name="connsiteX8" fmla="*/ 133350 w 1073150"/>
                    <a:gd name="connsiteY8" fmla="*/ 444500 h 1758950"/>
                    <a:gd name="connsiteX9" fmla="*/ 127000 w 1073150"/>
                    <a:gd name="connsiteY9" fmla="*/ 527050 h 1758950"/>
                    <a:gd name="connsiteX10" fmla="*/ 158750 w 1073150"/>
                    <a:gd name="connsiteY10" fmla="*/ 596900 h 1758950"/>
                    <a:gd name="connsiteX11" fmla="*/ 177800 w 1073150"/>
                    <a:gd name="connsiteY11" fmla="*/ 603250 h 1758950"/>
                    <a:gd name="connsiteX12" fmla="*/ 215900 w 1073150"/>
                    <a:gd name="connsiteY12" fmla="*/ 622300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133350 w 1073150"/>
                    <a:gd name="connsiteY7" fmla="*/ 368300 h 1758950"/>
                    <a:gd name="connsiteX8" fmla="*/ 133350 w 1073150"/>
                    <a:gd name="connsiteY8" fmla="*/ 444500 h 1758950"/>
                    <a:gd name="connsiteX9" fmla="*/ 127000 w 1073150"/>
                    <a:gd name="connsiteY9" fmla="*/ 527050 h 1758950"/>
                    <a:gd name="connsiteX10" fmla="*/ 158750 w 1073150"/>
                    <a:gd name="connsiteY10" fmla="*/ 596900 h 1758950"/>
                    <a:gd name="connsiteX11" fmla="*/ 177800 w 1073150"/>
                    <a:gd name="connsiteY11" fmla="*/ 603250 h 1758950"/>
                    <a:gd name="connsiteX12" fmla="*/ 215900 w 1073150"/>
                    <a:gd name="connsiteY12" fmla="*/ 622300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33350 w 1073150"/>
                    <a:gd name="connsiteY8" fmla="*/ 444500 h 1758950"/>
                    <a:gd name="connsiteX9" fmla="*/ 127000 w 1073150"/>
                    <a:gd name="connsiteY9" fmla="*/ 527050 h 1758950"/>
                    <a:gd name="connsiteX10" fmla="*/ 158750 w 1073150"/>
                    <a:gd name="connsiteY10" fmla="*/ 596900 h 1758950"/>
                    <a:gd name="connsiteX11" fmla="*/ 177800 w 1073150"/>
                    <a:gd name="connsiteY11" fmla="*/ 603250 h 1758950"/>
                    <a:gd name="connsiteX12" fmla="*/ 215900 w 1073150"/>
                    <a:gd name="connsiteY12" fmla="*/ 622300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127000 w 1073150"/>
                    <a:gd name="connsiteY9" fmla="*/ 527050 h 1758950"/>
                    <a:gd name="connsiteX10" fmla="*/ 158750 w 1073150"/>
                    <a:gd name="connsiteY10" fmla="*/ 596900 h 1758950"/>
                    <a:gd name="connsiteX11" fmla="*/ 177800 w 1073150"/>
                    <a:gd name="connsiteY11" fmla="*/ 603250 h 1758950"/>
                    <a:gd name="connsiteX12" fmla="*/ 215900 w 1073150"/>
                    <a:gd name="connsiteY12" fmla="*/ 622300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158750 w 1073150"/>
                    <a:gd name="connsiteY10" fmla="*/ 596900 h 1758950"/>
                    <a:gd name="connsiteX11" fmla="*/ 177800 w 1073150"/>
                    <a:gd name="connsiteY11" fmla="*/ 603250 h 1758950"/>
                    <a:gd name="connsiteX12" fmla="*/ 215900 w 1073150"/>
                    <a:gd name="connsiteY12" fmla="*/ 622300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177800 w 1073150"/>
                    <a:gd name="connsiteY11" fmla="*/ 603250 h 1758950"/>
                    <a:gd name="connsiteX12" fmla="*/ 215900 w 1073150"/>
                    <a:gd name="connsiteY12" fmla="*/ 622300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215900 w 1073150"/>
                    <a:gd name="connsiteY12" fmla="*/ 622300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279400 w 1073150"/>
                    <a:gd name="connsiteY13" fmla="*/ 641350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362744 w 1073150"/>
                    <a:gd name="connsiteY13" fmla="*/ 648494 h 1758950"/>
                    <a:gd name="connsiteX14" fmla="*/ 323850 w 1073150"/>
                    <a:gd name="connsiteY14" fmla="*/ 666750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362744 w 1073150"/>
                    <a:gd name="connsiteY13" fmla="*/ 648494 h 1758950"/>
                    <a:gd name="connsiteX14" fmla="*/ 383381 w 1073150"/>
                    <a:gd name="connsiteY14" fmla="*/ 728662 h 1758950"/>
                    <a:gd name="connsiteX15" fmla="*/ 323850 w 1073150"/>
                    <a:gd name="connsiteY15" fmla="*/ 730250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362744 w 1073150"/>
                    <a:gd name="connsiteY13" fmla="*/ 648494 h 1758950"/>
                    <a:gd name="connsiteX14" fmla="*/ 383381 w 1073150"/>
                    <a:gd name="connsiteY14" fmla="*/ 728662 h 1758950"/>
                    <a:gd name="connsiteX15" fmla="*/ 500063 w 1073150"/>
                    <a:gd name="connsiteY15" fmla="*/ 737394 h 1758950"/>
                    <a:gd name="connsiteX16" fmla="*/ 368300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362744 w 1073150"/>
                    <a:gd name="connsiteY13" fmla="*/ 648494 h 1758950"/>
                    <a:gd name="connsiteX14" fmla="*/ 383381 w 1073150"/>
                    <a:gd name="connsiteY14" fmla="*/ 728662 h 1758950"/>
                    <a:gd name="connsiteX15" fmla="*/ 500063 w 1073150"/>
                    <a:gd name="connsiteY15" fmla="*/ 737394 h 1758950"/>
                    <a:gd name="connsiteX16" fmla="*/ 496887 w 1073150"/>
                    <a:gd name="connsiteY16" fmla="*/ 793750 h 1758950"/>
                    <a:gd name="connsiteX17" fmla="*/ 355600 w 1073150"/>
                    <a:gd name="connsiteY17" fmla="*/ 869950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362744 w 1073150"/>
                    <a:gd name="connsiteY13" fmla="*/ 648494 h 1758950"/>
                    <a:gd name="connsiteX14" fmla="*/ 383381 w 1073150"/>
                    <a:gd name="connsiteY14" fmla="*/ 728662 h 1758950"/>
                    <a:gd name="connsiteX15" fmla="*/ 500063 w 1073150"/>
                    <a:gd name="connsiteY15" fmla="*/ 737394 h 1758950"/>
                    <a:gd name="connsiteX16" fmla="*/ 496887 w 1073150"/>
                    <a:gd name="connsiteY16" fmla="*/ 793750 h 1758950"/>
                    <a:gd name="connsiteX17" fmla="*/ 438944 w 1073150"/>
                    <a:gd name="connsiteY17" fmla="*/ 874712 h 1758950"/>
                    <a:gd name="connsiteX18" fmla="*/ 355600 w 1073150"/>
                    <a:gd name="connsiteY18" fmla="*/ 958850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362744 w 1073150"/>
                    <a:gd name="connsiteY13" fmla="*/ 648494 h 1758950"/>
                    <a:gd name="connsiteX14" fmla="*/ 383381 w 1073150"/>
                    <a:gd name="connsiteY14" fmla="*/ 728662 h 1758950"/>
                    <a:gd name="connsiteX15" fmla="*/ 500063 w 1073150"/>
                    <a:gd name="connsiteY15" fmla="*/ 737394 h 1758950"/>
                    <a:gd name="connsiteX16" fmla="*/ 496887 w 1073150"/>
                    <a:gd name="connsiteY16" fmla="*/ 793750 h 1758950"/>
                    <a:gd name="connsiteX17" fmla="*/ 438944 w 1073150"/>
                    <a:gd name="connsiteY17" fmla="*/ 874712 h 1758950"/>
                    <a:gd name="connsiteX18" fmla="*/ 391319 w 1073150"/>
                    <a:gd name="connsiteY18" fmla="*/ 880269 h 1758950"/>
                    <a:gd name="connsiteX19" fmla="*/ 311150 w 1073150"/>
                    <a:gd name="connsiteY19" fmla="*/ 1009650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362744 w 1073150"/>
                    <a:gd name="connsiteY13" fmla="*/ 648494 h 1758950"/>
                    <a:gd name="connsiteX14" fmla="*/ 383381 w 1073150"/>
                    <a:gd name="connsiteY14" fmla="*/ 728662 h 1758950"/>
                    <a:gd name="connsiteX15" fmla="*/ 500063 w 1073150"/>
                    <a:gd name="connsiteY15" fmla="*/ 737394 h 1758950"/>
                    <a:gd name="connsiteX16" fmla="*/ 496887 w 1073150"/>
                    <a:gd name="connsiteY16" fmla="*/ 793750 h 1758950"/>
                    <a:gd name="connsiteX17" fmla="*/ 438944 w 1073150"/>
                    <a:gd name="connsiteY17" fmla="*/ 874712 h 1758950"/>
                    <a:gd name="connsiteX18" fmla="*/ 391319 w 1073150"/>
                    <a:gd name="connsiteY18" fmla="*/ 880269 h 1758950"/>
                    <a:gd name="connsiteX19" fmla="*/ 361156 w 1073150"/>
                    <a:gd name="connsiteY19" fmla="*/ 947737 h 1758950"/>
                    <a:gd name="connsiteX20" fmla="*/ 190500 w 1073150"/>
                    <a:gd name="connsiteY20" fmla="*/ 1079500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362744 w 1073150"/>
                    <a:gd name="connsiteY13" fmla="*/ 648494 h 1758950"/>
                    <a:gd name="connsiteX14" fmla="*/ 383381 w 1073150"/>
                    <a:gd name="connsiteY14" fmla="*/ 728662 h 1758950"/>
                    <a:gd name="connsiteX15" fmla="*/ 500063 w 1073150"/>
                    <a:gd name="connsiteY15" fmla="*/ 737394 h 1758950"/>
                    <a:gd name="connsiteX16" fmla="*/ 496887 w 1073150"/>
                    <a:gd name="connsiteY16" fmla="*/ 793750 h 1758950"/>
                    <a:gd name="connsiteX17" fmla="*/ 438944 w 1073150"/>
                    <a:gd name="connsiteY17" fmla="*/ 874712 h 1758950"/>
                    <a:gd name="connsiteX18" fmla="*/ 391319 w 1073150"/>
                    <a:gd name="connsiteY18" fmla="*/ 880269 h 1758950"/>
                    <a:gd name="connsiteX19" fmla="*/ 361156 w 1073150"/>
                    <a:gd name="connsiteY19" fmla="*/ 947737 h 1758950"/>
                    <a:gd name="connsiteX20" fmla="*/ 409575 w 1073150"/>
                    <a:gd name="connsiteY20" fmla="*/ 1072357 h 1758950"/>
                    <a:gd name="connsiteX21" fmla="*/ 133350 w 1073150"/>
                    <a:gd name="connsiteY21" fmla="*/ 1085850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7950 w 1073150"/>
                    <a:gd name="connsiteY0" fmla="*/ 0 h 1758950"/>
                    <a:gd name="connsiteX1" fmla="*/ 80963 w 1073150"/>
                    <a:gd name="connsiteY1" fmla="*/ 74612 h 1758950"/>
                    <a:gd name="connsiteX2" fmla="*/ 107157 w 1073150"/>
                    <a:gd name="connsiteY2" fmla="*/ 117475 h 1758950"/>
                    <a:gd name="connsiteX3" fmla="*/ 134144 w 1073150"/>
                    <a:gd name="connsiteY3" fmla="*/ 201612 h 1758950"/>
                    <a:gd name="connsiteX4" fmla="*/ 203200 w 1073150"/>
                    <a:gd name="connsiteY4" fmla="*/ 265113 h 1758950"/>
                    <a:gd name="connsiteX5" fmla="*/ 223044 w 1073150"/>
                    <a:gd name="connsiteY5" fmla="*/ 326231 h 1758950"/>
                    <a:gd name="connsiteX6" fmla="*/ 211138 w 1073150"/>
                    <a:gd name="connsiteY6" fmla="*/ 407987 h 1758950"/>
                    <a:gd name="connsiteX7" fmla="*/ 209550 w 1073150"/>
                    <a:gd name="connsiteY7" fmla="*/ 473075 h 1758950"/>
                    <a:gd name="connsiteX8" fmla="*/ 180975 w 1073150"/>
                    <a:gd name="connsiteY8" fmla="*/ 515938 h 1758950"/>
                    <a:gd name="connsiteX9" fmla="*/ 229394 w 1073150"/>
                    <a:gd name="connsiteY9" fmla="*/ 550863 h 1758950"/>
                    <a:gd name="connsiteX10" fmla="*/ 318294 w 1073150"/>
                    <a:gd name="connsiteY10" fmla="*/ 575469 h 1758950"/>
                    <a:gd name="connsiteX11" fmla="*/ 377825 w 1073150"/>
                    <a:gd name="connsiteY11" fmla="*/ 567531 h 1758950"/>
                    <a:gd name="connsiteX12" fmla="*/ 392113 w 1073150"/>
                    <a:gd name="connsiteY12" fmla="*/ 634206 h 1758950"/>
                    <a:gd name="connsiteX13" fmla="*/ 362744 w 1073150"/>
                    <a:gd name="connsiteY13" fmla="*/ 648494 h 1758950"/>
                    <a:gd name="connsiteX14" fmla="*/ 383381 w 1073150"/>
                    <a:gd name="connsiteY14" fmla="*/ 728662 h 1758950"/>
                    <a:gd name="connsiteX15" fmla="*/ 500063 w 1073150"/>
                    <a:gd name="connsiteY15" fmla="*/ 737394 h 1758950"/>
                    <a:gd name="connsiteX16" fmla="*/ 496887 w 1073150"/>
                    <a:gd name="connsiteY16" fmla="*/ 793750 h 1758950"/>
                    <a:gd name="connsiteX17" fmla="*/ 438944 w 1073150"/>
                    <a:gd name="connsiteY17" fmla="*/ 874712 h 1758950"/>
                    <a:gd name="connsiteX18" fmla="*/ 391319 w 1073150"/>
                    <a:gd name="connsiteY18" fmla="*/ 880269 h 1758950"/>
                    <a:gd name="connsiteX19" fmla="*/ 361156 w 1073150"/>
                    <a:gd name="connsiteY19" fmla="*/ 947737 h 1758950"/>
                    <a:gd name="connsiteX20" fmla="*/ 409575 w 1073150"/>
                    <a:gd name="connsiteY20" fmla="*/ 1072357 h 1758950"/>
                    <a:gd name="connsiteX21" fmla="*/ 264318 w 1073150"/>
                    <a:gd name="connsiteY21" fmla="*/ 1112043 h 1758950"/>
                    <a:gd name="connsiteX22" fmla="*/ 50800 w 1073150"/>
                    <a:gd name="connsiteY22" fmla="*/ 1117600 h 1758950"/>
                    <a:gd name="connsiteX23" fmla="*/ 6350 w 1073150"/>
                    <a:gd name="connsiteY23" fmla="*/ 1193800 h 1758950"/>
                    <a:gd name="connsiteX24" fmla="*/ 6350 w 1073150"/>
                    <a:gd name="connsiteY24" fmla="*/ 1276350 h 1758950"/>
                    <a:gd name="connsiteX25" fmla="*/ 0 w 1073150"/>
                    <a:gd name="connsiteY25" fmla="*/ 1327150 h 1758950"/>
                    <a:gd name="connsiteX26" fmla="*/ 63500 w 1073150"/>
                    <a:gd name="connsiteY26" fmla="*/ 1347787 h 1758950"/>
                    <a:gd name="connsiteX27" fmla="*/ 342900 w 1073150"/>
                    <a:gd name="connsiteY27" fmla="*/ 1631950 h 1758950"/>
                    <a:gd name="connsiteX28" fmla="*/ 546100 w 1073150"/>
                    <a:gd name="connsiteY28" fmla="*/ 1758950 h 1758950"/>
                    <a:gd name="connsiteX29" fmla="*/ 831850 w 1073150"/>
                    <a:gd name="connsiteY29" fmla="*/ 1727200 h 1758950"/>
                    <a:gd name="connsiteX30" fmla="*/ 939007 w 1073150"/>
                    <a:gd name="connsiteY30" fmla="*/ 1558925 h 1758950"/>
                    <a:gd name="connsiteX31" fmla="*/ 975519 w 1073150"/>
                    <a:gd name="connsiteY31" fmla="*/ 1500188 h 1758950"/>
                    <a:gd name="connsiteX32" fmla="*/ 998537 w 1073150"/>
                    <a:gd name="connsiteY32" fmla="*/ 1436687 h 1758950"/>
                    <a:gd name="connsiteX33" fmla="*/ 952500 w 1073150"/>
                    <a:gd name="connsiteY33" fmla="*/ 1386682 h 1758950"/>
                    <a:gd name="connsiteX34" fmla="*/ 933450 w 1073150"/>
                    <a:gd name="connsiteY34" fmla="*/ 1323182 h 1758950"/>
                    <a:gd name="connsiteX35" fmla="*/ 964406 w 1073150"/>
                    <a:gd name="connsiteY35" fmla="*/ 1249362 h 1758950"/>
                    <a:gd name="connsiteX36" fmla="*/ 980281 w 1073150"/>
                    <a:gd name="connsiteY36" fmla="*/ 1136650 h 1758950"/>
                    <a:gd name="connsiteX37" fmla="*/ 977106 w 1073150"/>
                    <a:gd name="connsiteY37" fmla="*/ 1048544 h 1758950"/>
                    <a:gd name="connsiteX38" fmla="*/ 1021557 w 1073150"/>
                    <a:gd name="connsiteY38" fmla="*/ 964406 h 1758950"/>
                    <a:gd name="connsiteX39" fmla="*/ 1073150 w 1073150"/>
                    <a:gd name="connsiteY39" fmla="*/ 857250 h 1758950"/>
                    <a:gd name="connsiteX40" fmla="*/ 1047750 w 1073150"/>
                    <a:gd name="connsiteY40" fmla="*/ 730250 h 1758950"/>
                    <a:gd name="connsiteX41" fmla="*/ 996950 w 1073150"/>
                    <a:gd name="connsiteY41" fmla="*/ 723900 h 1758950"/>
                    <a:gd name="connsiteX42" fmla="*/ 949325 w 1073150"/>
                    <a:gd name="connsiteY42" fmla="*/ 732631 h 1758950"/>
                    <a:gd name="connsiteX43" fmla="*/ 885031 w 1073150"/>
                    <a:gd name="connsiteY43" fmla="*/ 777875 h 1758950"/>
                    <a:gd name="connsiteX44" fmla="*/ 829469 w 1073150"/>
                    <a:gd name="connsiteY44" fmla="*/ 775494 h 1758950"/>
                    <a:gd name="connsiteX45" fmla="*/ 867569 w 1073150"/>
                    <a:gd name="connsiteY45" fmla="*/ 712787 h 1758950"/>
                    <a:gd name="connsiteX46" fmla="*/ 822325 w 1073150"/>
                    <a:gd name="connsiteY46" fmla="*/ 619919 h 1758950"/>
                    <a:gd name="connsiteX47" fmla="*/ 865982 w 1073150"/>
                    <a:gd name="connsiteY47" fmla="*/ 497681 h 1758950"/>
                    <a:gd name="connsiteX48" fmla="*/ 786606 w 1073150"/>
                    <a:gd name="connsiteY48" fmla="*/ 429419 h 1758950"/>
                    <a:gd name="connsiteX49" fmla="*/ 714375 w 1073150"/>
                    <a:gd name="connsiteY49" fmla="*/ 377031 h 1758950"/>
                    <a:gd name="connsiteX50" fmla="*/ 711200 w 1073150"/>
                    <a:gd name="connsiteY50" fmla="*/ 284162 h 1758950"/>
                    <a:gd name="connsiteX51" fmla="*/ 688975 w 1073150"/>
                    <a:gd name="connsiteY51" fmla="*/ 226219 h 1758950"/>
                    <a:gd name="connsiteX52" fmla="*/ 665163 w 1073150"/>
                    <a:gd name="connsiteY52" fmla="*/ 121444 h 1758950"/>
                    <a:gd name="connsiteX53" fmla="*/ 641350 w 1073150"/>
                    <a:gd name="connsiteY53" fmla="*/ 6350 h 1758950"/>
                    <a:gd name="connsiteX54" fmla="*/ 107950 w 1073150"/>
                    <a:gd name="connsiteY54" fmla="*/ 0 h 1758950"/>
                    <a:gd name="connsiteX0" fmla="*/ 101600 w 1066800"/>
                    <a:gd name="connsiteY0" fmla="*/ 0 h 1758950"/>
                    <a:gd name="connsiteX1" fmla="*/ 74613 w 1066800"/>
                    <a:gd name="connsiteY1" fmla="*/ 74612 h 1758950"/>
                    <a:gd name="connsiteX2" fmla="*/ 100807 w 1066800"/>
                    <a:gd name="connsiteY2" fmla="*/ 117475 h 1758950"/>
                    <a:gd name="connsiteX3" fmla="*/ 127794 w 1066800"/>
                    <a:gd name="connsiteY3" fmla="*/ 201612 h 1758950"/>
                    <a:gd name="connsiteX4" fmla="*/ 196850 w 1066800"/>
                    <a:gd name="connsiteY4" fmla="*/ 265113 h 1758950"/>
                    <a:gd name="connsiteX5" fmla="*/ 216694 w 1066800"/>
                    <a:gd name="connsiteY5" fmla="*/ 326231 h 1758950"/>
                    <a:gd name="connsiteX6" fmla="*/ 204788 w 1066800"/>
                    <a:gd name="connsiteY6" fmla="*/ 407987 h 1758950"/>
                    <a:gd name="connsiteX7" fmla="*/ 203200 w 1066800"/>
                    <a:gd name="connsiteY7" fmla="*/ 473075 h 1758950"/>
                    <a:gd name="connsiteX8" fmla="*/ 174625 w 1066800"/>
                    <a:gd name="connsiteY8" fmla="*/ 515938 h 1758950"/>
                    <a:gd name="connsiteX9" fmla="*/ 223044 w 1066800"/>
                    <a:gd name="connsiteY9" fmla="*/ 550863 h 1758950"/>
                    <a:gd name="connsiteX10" fmla="*/ 311944 w 1066800"/>
                    <a:gd name="connsiteY10" fmla="*/ 575469 h 1758950"/>
                    <a:gd name="connsiteX11" fmla="*/ 371475 w 1066800"/>
                    <a:gd name="connsiteY11" fmla="*/ 567531 h 1758950"/>
                    <a:gd name="connsiteX12" fmla="*/ 385763 w 1066800"/>
                    <a:gd name="connsiteY12" fmla="*/ 634206 h 1758950"/>
                    <a:gd name="connsiteX13" fmla="*/ 356394 w 1066800"/>
                    <a:gd name="connsiteY13" fmla="*/ 648494 h 1758950"/>
                    <a:gd name="connsiteX14" fmla="*/ 377031 w 1066800"/>
                    <a:gd name="connsiteY14" fmla="*/ 728662 h 1758950"/>
                    <a:gd name="connsiteX15" fmla="*/ 493713 w 1066800"/>
                    <a:gd name="connsiteY15" fmla="*/ 737394 h 1758950"/>
                    <a:gd name="connsiteX16" fmla="*/ 490537 w 1066800"/>
                    <a:gd name="connsiteY16" fmla="*/ 793750 h 1758950"/>
                    <a:gd name="connsiteX17" fmla="*/ 432594 w 1066800"/>
                    <a:gd name="connsiteY17" fmla="*/ 874712 h 1758950"/>
                    <a:gd name="connsiteX18" fmla="*/ 384969 w 1066800"/>
                    <a:gd name="connsiteY18" fmla="*/ 880269 h 1758950"/>
                    <a:gd name="connsiteX19" fmla="*/ 354806 w 1066800"/>
                    <a:gd name="connsiteY19" fmla="*/ 947737 h 1758950"/>
                    <a:gd name="connsiteX20" fmla="*/ 403225 w 1066800"/>
                    <a:gd name="connsiteY20" fmla="*/ 1072357 h 1758950"/>
                    <a:gd name="connsiteX21" fmla="*/ 257968 w 1066800"/>
                    <a:gd name="connsiteY21" fmla="*/ 1112043 h 1758950"/>
                    <a:gd name="connsiteX22" fmla="*/ 44450 w 1066800"/>
                    <a:gd name="connsiteY22" fmla="*/ 1117600 h 1758950"/>
                    <a:gd name="connsiteX23" fmla="*/ 0 w 1066800"/>
                    <a:gd name="connsiteY23" fmla="*/ 1193800 h 1758950"/>
                    <a:gd name="connsiteX24" fmla="*/ 0 w 1066800"/>
                    <a:gd name="connsiteY24" fmla="*/ 1276350 h 1758950"/>
                    <a:gd name="connsiteX25" fmla="*/ 62707 w 1066800"/>
                    <a:gd name="connsiteY25" fmla="*/ 1286669 h 1758950"/>
                    <a:gd name="connsiteX26" fmla="*/ 57150 w 1066800"/>
                    <a:gd name="connsiteY26" fmla="*/ 1347787 h 1758950"/>
                    <a:gd name="connsiteX27" fmla="*/ 336550 w 1066800"/>
                    <a:gd name="connsiteY27" fmla="*/ 1631950 h 1758950"/>
                    <a:gd name="connsiteX28" fmla="*/ 539750 w 1066800"/>
                    <a:gd name="connsiteY28" fmla="*/ 1758950 h 1758950"/>
                    <a:gd name="connsiteX29" fmla="*/ 825500 w 1066800"/>
                    <a:gd name="connsiteY29" fmla="*/ 1727200 h 1758950"/>
                    <a:gd name="connsiteX30" fmla="*/ 932657 w 1066800"/>
                    <a:gd name="connsiteY30" fmla="*/ 1558925 h 1758950"/>
                    <a:gd name="connsiteX31" fmla="*/ 969169 w 1066800"/>
                    <a:gd name="connsiteY31" fmla="*/ 1500188 h 1758950"/>
                    <a:gd name="connsiteX32" fmla="*/ 992187 w 1066800"/>
                    <a:gd name="connsiteY32" fmla="*/ 1436687 h 1758950"/>
                    <a:gd name="connsiteX33" fmla="*/ 946150 w 1066800"/>
                    <a:gd name="connsiteY33" fmla="*/ 1386682 h 1758950"/>
                    <a:gd name="connsiteX34" fmla="*/ 927100 w 1066800"/>
                    <a:gd name="connsiteY34" fmla="*/ 1323182 h 1758950"/>
                    <a:gd name="connsiteX35" fmla="*/ 958056 w 1066800"/>
                    <a:gd name="connsiteY35" fmla="*/ 1249362 h 1758950"/>
                    <a:gd name="connsiteX36" fmla="*/ 973931 w 1066800"/>
                    <a:gd name="connsiteY36" fmla="*/ 1136650 h 1758950"/>
                    <a:gd name="connsiteX37" fmla="*/ 970756 w 1066800"/>
                    <a:gd name="connsiteY37" fmla="*/ 1048544 h 1758950"/>
                    <a:gd name="connsiteX38" fmla="*/ 1015207 w 1066800"/>
                    <a:gd name="connsiteY38" fmla="*/ 964406 h 1758950"/>
                    <a:gd name="connsiteX39" fmla="*/ 1066800 w 1066800"/>
                    <a:gd name="connsiteY39" fmla="*/ 857250 h 1758950"/>
                    <a:gd name="connsiteX40" fmla="*/ 1041400 w 1066800"/>
                    <a:gd name="connsiteY40" fmla="*/ 730250 h 1758950"/>
                    <a:gd name="connsiteX41" fmla="*/ 990600 w 1066800"/>
                    <a:gd name="connsiteY41" fmla="*/ 723900 h 1758950"/>
                    <a:gd name="connsiteX42" fmla="*/ 942975 w 1066800"/>
                    <a:gd name="connsiteY42" fmla="*/ 732631 h 1758950"/>
                    <a:gd name="connsiteX43" fmla="*/ 878681 w 1066800"/>
                    <a:gd name="connsiteY43" fmla="*/ 777875 h 1758950"/>
                    <a:gd name="connsiteX44" fmla="*/ 823119 w 1066800"/>
                    <a:gd name="connsiteY44" fmla="*/ 775494 h 1758950"/>
                    <a:gd name="connsiteX45" fmla="*/ 861219 w 1066800"/>
                    <a:gd name="connsiteY45" fmla="*/ 712787 h 1758950"/>
                    <a:gd name="connsiteX46" fmla="*/ 815975 w 1066800"/>
                    <a:gd name="connsiteY46" fmla="*/ 619919 h 1758950"/>
                    <a:gd name="connsiteX47" fmla="*/ 859632 w 1066800"/>
                    <a:gd name="connsiteY47" fmla="*/ 497681 h 1758950"/>
                    <a:gd name="connsiteX48" fmla="*/ 780256 w 1066800"/>
                    <a:gd name="connsiteY48" fmla="*/ 429419 h 1758950"/>
                    <a:gd name="connsiteX49" fmla="*/ 708025 w 1066800"/>
                    <a:gd name="connsiteY49" fmla="*/ 377031 h 1758950"/>
                    <a:gd name="connsiteX50" fmla="*/ 704850 w 1066800"/>
                    <a:gd name="connsiteY50" fmla="*/ 284162 h 1758950"/>
                    <a:gd name="connsiteX51" fmla="*/ 682625 w 1066800"/>
                    <a:gd name="connsiteY51" fmla="*/ 226219 h 1758950"/>
                    <a:gd name="connsiteX52" fmla="*/ 658813 w 1066800"/>
                    <a:gd name="connsiteY52" fmla="*/ 121444 h 1758950"/>
                    <a:gd name="connsiteX53" fmla="*/ 635000 w 1066800"/>
                    <a:gd name="connsiteY53" fmla="*/ 6350 h 1758950"/>
                    <a:gd name="connsiteX54" fmla="*/ 101600 w 1066800"/>
                    <a:gd name="connsiteY54" fmla="*/ 0 h 1758950"/>
                    <a:gd name="connsiteX0" fmla="*/ 101600 w 1066800"/>
                    <a:gd name="connsiteY0" fmla="*/ 0 h 1758950"/>
                    <a:gd name="connsiteX1" fmla="*/ 74613 w 1066800"/>
                    <a:gd name="connsiteY1" fmla="*/ 74612 h 1758950"/>
                    <a:gd name="connsiteX2" fmla="*/ 100807 w 1066800"/>
                    <a:gd name="connsiteY2" fmla="*/ 117475 h 1758950"/>
                    <a:gd name="connsiteX3" fmla="*/ 127794 w 1066800"/>
                    <a:gd name="connsiteY3" fmla="*/ 201612 h 1758950"/>
                    <a:gd name="connsiteX4" fmla="*/ 196850 w 1066800"/>
                    <a:gd name="connsiteY4" fmla="*/ 265113 h 1758950"/>
                    <a:gd name="connsiteX5" fmla="*/ 216694 w 1066800"/>
                    <a:gd name="connsiteY5" fmla="*/ 326231 h 1758950"/>
                    <a:gd name="connsiteX6" fmla="*/ 204788 w 1066800"/>
                    <a:gd name="connsiteY6" fmla="*/ 407987 h 1758950"/>
                    <a:gd name="connsiteX7" fmla="*/ 203200 w 1066800"/>
                    <a:gd name="connsiteY7" fmla="*/ 473075 h 1758950"/>
                    <a:gd name="connsiteX8" fmla="*/ 174625 w 1066800"/>
                    <a:gd name="connsiteY8" fmla="*/ 515938 h 1758950"/>
                    <a:gd name="connsiteX9" fmla="*/ 223044 w 1066800"/>
                    <a:gd name="connsiteY9" fmla="*/ 550863 h 1758950"/>
                    <a:gd name="connsiteX10" fmla="*/ 311944 w 1066800"/>
                    <a:gd name="connsiteY10" fmla="*/ 575469 h 1758950"/>
                    <a:gd name="connsiteX11" fmla="*/ 371475 w 1066800"/>
                    <a:gd name="connsiteY11" fmla="*/ 567531 h 1758950"/>
                    <a:gd name="connsiteX12" fmla="*/ 385763 w 1066800"/>
                    <a:gd name="connsiteY12" fmla="*/ 634206 h 1758950"/>
                    <a:gd name="connsiteX13" fmla="*/ 356394 w 1066800"/>
                    <a:gd name="connsiteY13" fmla="*/ 648494 h 1758950"/>
                    <a:gd name="connsiteX14" fmla="*/ 377031 w 1066800"/>
                    <a:gd name="connsiteY14" fmla="*/ 728662 h 1758950"/>
                    <a:gd name="connsiteX15" fmla="*/ 493713 w 1066800"/>
                    <a:gd name="connsiteY15" fmla="*/ 737394 h 1758950"/>
                    <a:gd name="connsiteX16" fmla="*/ 490537 w 1066800"/>
                    <a:gd name="connsiteY16" fmla="*/ 793750 h 1758950"/>
                    <a:gd name="connsiteX17" fmla="*/ 432594 w 1066800"/>
                    <a:gd name="connsiteY17" fmla="*/ 874712 h 1758950"/>
                    <a:gd name="connsiteX18" fmla="*/ 384969 w 1066800"/>
                    <a:gd name="connsiteY18" fmla="*/ 880269 h 1758950"/>
                    <a:gd name="connsiteX19" fmla="*/ 354806 w 1066800"/>
                    <a:gd name="connsiteY19" fmla="*/ 947737 h 1758950"/>
                    <a:gd name="connsiteX20" fmla="*/ 403225 w 1066800"/>
                    <a:gd name="connsiteY20" fmla="*/ 1072357 h 1758950"/>
                    <a:gd name="connsiteX21" fmla="*/ 257968 w 1066800"/>
                    <a:gd name="connsiteY21" fmla="*/ 1112043 h 1758950"/>
                    <a:gd name="connsiteX22" fmla="*/ 44450 w 1066800"/>
                    <a:gd name="connsiteY22" fmla="*/ 1117600 h 1758950"/>
                    <a:gd name="connsiteX23" fmla="*/ 0 w 1066800"/>
                    <a:gd name="connsiteY23" fmla="*/ 1193800 h 1758950"/>
                    <a:gd name="connsiteX24" fmla="*/ 83344 w 1066800"/>
                    <a:gd name="connsiteY24" fmla="*/ 1235869 h 1758950"/>
                    <a:gd name="connsiteX25" fmla="*/ 62707 w 1066800"/>
                    <a:gd name="connsiteY25" fmla="*/ 1286669 h 1758950"/>
                    <a:gd name="connsiteX26" fmla="*/ 57150 w 1066800"/>
                    <a:gd name="connsiteY26" fmla="*/ 1347787 h 1758950"/>
                    <a:gd name="connsiteX27" fmla="*/ 336550 w 1066800"/>
                    <a:gd name="connsiteY27" fmla="*/ 1631950 h 1758950"/>
                    <a:gd name="connsiteX28" fmla="*/ 539750 w 1066800"/>
                    <a:gd name="connsiteY28" fmla="*/ 1758950 h 1758950"/>
                    <a:gd name="connsiteX29" fmla="*/ 825500 w 1066800"/>
                    <a:gd name="connsiteY29" fmla="*/ 1727200 h 1758950"/>
                    <a:gd name="connsiteX30" fmla="*/ 932657 w 1066800"/>
                    <a:gd name="connsiteY30" fmla="*/ 1558925 h 1758950"/>
                    <a:gd name="connsiteX31" fmla="*/ 969169 w 1066800"/>
                    <a:gd name="connsiteY31" fmla="*/ 1500188 h 1758950"/>
                    <a:gd name="connsiteX32" fmla="*/ 992187 w 1066800"/>
                    <a:gd name="connsiteY32" fmla="*/ 1436687 h 1758950"/>
                    <a:gd name="connsiteX33" fmla="*/ 946150 w 1066800"/>
                    <a:gd name="connsiteY33" fmla="*/ 1386682 h 1758950"/>
                    <a:gd name="connsiteX34" fmla="*/ 927100 w 1066800"/>
                    <a:gd name="connsiteY34" fmla="*/ 1323182 h 1758950"/>
                    <a:gd name="connsiteX35" fmla="*/ 958056 w 1066800"/>
                    <a:gd name="connsiteY35" fmla="*/ 1249362 h 1758950"/>
                    <a:gd name="connsiteX36" fmla="*/ 973931 w 1066800"/>
                    <a:gd name="connsiteY36" fmla="*/ 1136650 h 1758950"/>
                    <a:gd name="connsiteX37" fmla="*/ 970756 w 1066800"/>
                    <a:gd name="connsiteY37" fmla="*/ 1048544 h 1758950"/>
                    <a:gd name="connsiteX38" fmla="*/ 1015207 w 1066800"/>
                    <a:gd name="connsiteY38" fmla="*/ 964406 h 1758950"/>
                    <a:gd name="connsiteX39" fmla="*/ 1066800 w 1066800"/>
                    <a:gd name="connsiteY39" fmla="*/ 857250 h 1758950"/>
                    <a:gd name="connsiteX40" fmla="*/ 1041400 w 1066800"/>
                    <a:gd name="connsiteY40" fmla="*/ 730250 h 1758950"/>
                    <a:gd name="connsiteX41" fmla="*/ 990600 w 1066800"/>
                    <a:gd name="connsiteY41" fmla="*/ 723900 h 1758950"/>
                    <a:gd name="connsiteX42" fmla="*/ 942975 w 1066800"/>
                    <a:gd name="connsiteY42" fmla="*/ 732631 h 1758950"/>
                    <a:gd name="connsiteX43" fmla="*/ 878681 w 1066800"/>
                    <a:gd name="connsiteY43" fmla="*/ 777875 h 1758950"/>
                    <a:gd name="connsiteX44" fmla="*/ 823119 w 1066800"/>
                    <a:gd name="connsiteY44" fmla="*/ 775494 h 1758950"/>
                    <a:gd name="connsiteX45" fmla="*/ 861219 w 1066800"/>
                    <a:gd name="connsiteY45" fmla="*/ 712787 h 1758950"/>
                    <a:gd name="connsiteX46" fmla="*/ 815975 w 1066800"/>
                    <a:gd name="connsiteY46" fmla="*/ 619919 h 1758950"/>
                    <a:gd name="connsiteX47" fmla="*/ 859632 w 1066800"/>
                    <a:gd name="connsiteY47" fmla="*/ 497681 h 1758950"/>
                    <a:gd name="connsiteX48" fmla="*/ 780256 w 1066800"/>
                    <a:gd name="connsiteY48" fmla="*/ 429419 h 1758950"/>
                    <a:gd name="connsiteX49" fmla="*/ 708025 w 1066800"/>
                    <a:gd name="connsiteY49" fmla="*/ 377031 h 1758950"/>
                    <a:gd name="connsiteX50" fmla="*/ 704850 w 1066800"/>
                    <a:gd name="connsiteY50" fmla="*/ 284162 h 1758950"/>
                    <a:gd name="connsiteX51" fmla="*/ 682625 w 1066800"/>
                    <a:gd name="connsiteY51" fmla="*/ 226219 h 1758950"/>
                    <a:gd name="connsiteX52" fmla="*/ 658813 w 1066800"/>
                    <a:gd name="connsiteY52" fmla="*/ 121444 h 1758950"/>
                    <a:gd name="connsiteX53" fmla="*/ 635000 w 1066800"/>
                    <a:gd name="connsiteY53" fmla="*/ 6350 h 1758950"/>
                    <a:gd name="connsiteX54" fmla="*/ 101600 w 1066800"/>
                    <a:gd name="connsiteY54" fmla="*/ 0 h 1758950"/>
                    <a:gd name="connsiteX0" fmla="*/ 57150 w 1022350"/>
                    <a:gd name="connsiteY0" fmla="*/ 0 h 1758950"/>
                    <a:gd name="connsiteX1" fmla="*/ 30163 w 1022350"/>
                    <a:gd name="connsiteY1" fmla="*/ 74612 h 1758950"/>
                    <a:gd name="connsiteX2" fmla="*/ 56357 w 1022350"/>
                    <a:gd name="connsiteY2" fmla="*/ 117475 h 1758950"/>
                    <a:gd name="connsiteX3" fmla="*/ 83344 w 1022350"/>
                    <a:gd name="connsiteY3" fmla="*/ 201612 h 1758950"/>
                    <a:gd name="connsiteX4" fmla="*/ 152400 w 1022350"/>
                    <a:gd name="connsiteY4" fmla="*/ 265113 h 1758950"/>
                    <a:gd name="connsiteX5" fmla="*/ 172244 w 1022350"/>
                    <a:gd name="connsiteY5" fmla="*/ 326231 h 1758950"/>
                    <a:gd name="connsiteX6" fmla="*/ 160338 w 1022350"/>
                    <a:gd name="connsiteY6" fmla="*/ 407987 h 1758950"/>
                    <a:gd name="connsiteX7" fmla="*/ 158750 w 1022350"/>
                    <a:gd name="connsiteY7" fmla="*/ 473075 h 1758950"/>
                    <a:gd name="connsiteX8" fmla="*/ 130175 w 1022350"/>
                    <a:gd name="connsiteY8" fmla="*/ 515938 h 1758950"/>
                    <a:gd name="connsiteX9" fmla="*/ 178594 w 1022350"/>
                    <a:gd name="connsiteY9" fmla="*/ 550863 h 1758950"/>
                    <a:gd name="connsiteX10" fmla="*/ 267494 w 1022350"/>
                    <a:gd name="connsiteY10" fmla="*/ 575469 h 1758950"/>
                    <a:gd name="connsiteX11" fmla="*/ 327025 w 1022350"/>
                    <a:gd name="connsiteY11" fmla="*/ 567531 h 1758950"/>
                    <a:gd name="connsiteX12" fmla="*/ 341313 w 1022350"/>
                    <a:gd name="connsiteY12" fmla="*/ 634206 h 1758950"/>
                    <a:gd name="connsiteX13" fmla="*/ 311944 w 1022350"/>
                    <a:gd name="connsiteY13" fmla="*/ 648494 h 1758950"/>
                    <a:gd name="connsiteX14" fmla="*/ 332581 w 1022350"/>
                    <a:gd name="connsiteY14" fmla="*/ 728662 h 1758950"/>
                    <a:gd name="connsiteX15" fmla="*/ 449263 w 1022350"/>
                    <a:gd name="connsiteY15" fmla="*/ 737394 h 1758950"/>
                    <a:gd name="connsiteX16" fmla="*/ 446087 w 1022350"/>
                    <a:gd name="connsiteY16" fmla="*/ 793750 h 1758950"/>
                    <a:gd name="connsiteX17" fmla="*/ 388144 w 1022350"/>
                    <a:gd name="connsiteY17" fmla="*/ 874712 h 1758950"/>
                    <a:gd name="connsiteX18" fmla="*/ 340519 w 1022350"/>
                    <a:gd name="connsiteY18" fmla="*/ 880269 h 1758950"/>
                    <a:gd name="connsiteX19" fmla="*/ 310356 w 1022350"/>
                    <a:gd name="connsiteY19" fmla="*/ 947737 h 1758950"/>
                    <a:gd name="connsiteX20" fmla="*/ 358775 w 1022350"/>
                    <a:gd name="connsiteY20" fmla="*/ 1072357 h 1758950"/>
                    <a:gd name="connsiteX21" fmla="*/ 213518 w 1022350"/>
                    <a:gd name="connsiteY21" fmla="*/ 1112043 h 1758950"/>
                    <a:gd name="connsiteX22" fmla="*/ 0 w 1022350"/>
                    <a:gd name="connsiteY22" fmla="*/ 1117600 h 1758950"/>
                    <a:gd name="connsiteX23" fmla="*/ 41275 w 1022350"/>
                    <a:gd name="connsiteY23" fmla="*/ 1177132 h 1758950"/>
                    <a:gd name="connsiteX24" fmla="*/ 38894 w 1022350"/>
                    <a:gd name="connsiteY24" fmla="*/ 1235869 h 1758950"/>
                    <a:gd name="connsiteX25" fmla="*/ 18257 w 1022350"/>
                    <a:gd name="connsiteY25" fmla="*/ 1286669 h 1758950"/>
                    <a:gd name="connsiteX26" fmla="*/ 12700 w 1022350"/>
                    <a:gd name="connsiteY26" fmla="*/ 1347787 h 1758950"/>
                    <a:gd name="connsiteX27" fmla="*/ 292100 w 1022350"/>
                    <a:gd name="connsiteY27" fmla="*/ 1631950 h 1758950"/>
                    <a:gd name="connsiteX28" fmla="*/ 495300 w 1022350"/>
                    <a:gd name="connsiteY28" fmla="*/ 1758950 h 1758950"/>
                    <a:gd name="connsiteX29" fmla="*/ 781050 w 1022350"/>
                    <a:gd name="connsiteY29" fmla="*/ 1727200 h 1758950"/>
                    <a:gd name="connsiteX30" fmla="*/ 888207 w 1022350"/>
                    <a:gd name="connsiteY30" fmla="*/ 1558925 h 1758950"/>
                    <a:gd name="connsiteX31" fmla="*/ 924719 w 1022350"/>
                    <a:gd name="connsiteY31" fmla="*/ 1500188 h 1758950"/>
                    <a:gd name="connsiteX32" fmla="*/ 947737 w 1022350"/>
                    <a:gd name="connsiteY32" fmla="*/ 1436687 h 1758950"/>
                    <a:gd name="connsiteX33" fmla="*/ 901700 w 1022350"/>
                    <a:gd name="connsiteY33" fmla="*/ 1386682 h 1758950"/>
                    <a:gd name="connsiteX34" fmla="*/ 882650 w 1022350"/>
                    <a:gd name="connsiteY34" fmla="*/ 1323182 h 1758950"/>
                    <a:gd name="connsiteX35" fmla="*/ 913606 w 1022350"/>
                    <a:gd name="connsiteY35" fmla="*/ 1249362 h 1758950"/>
                    <a:gd name="connsiteX36" fmla="*/ 929481 w 1022350"/>
                    <a:gd name="connsiteY36" fmla="*/ 1136650 h 1758950"/>
                    <a:gd name="connsiteX37" fmla="*/ 926306 w 1022350"/>
                    <a:gd name="connsiteY37" fmla="*/ 1048544 h 1758950"/>
                    <a:gd name="connsiteX38" fmla="*/ 970757 w 1022350"/>
                    <a:gd name="connsiteY38" fmla="*/ 964406 h 1758950"/>
                    <a:gd name="connsiteX39" fmla="*/ 1022350 w 1022350"/>
                    <a:gd name="connsiteY39" fmla="*/ 857250 h 1758950"/>
                    <a:gd name="connsiteX40" fmla="*/ 996950 w 1022350"/>
                    <a:gd name="connsiteY40" fmla="*/ 730250 h 1758950"/>
                    <a:gd name="connsiteX41" fmla="*/ 946150 w 1022350"/>
                    <a:gd name="connsiteY41" fmla="*/ 723900 h 1758950"/>
                    <a:gd name="connsiteX42" fmla="*/ 898525 w 1022350"/>
                    <a:gd name="connsiteY42" fmla="*/ 732631 h 1758950"/>
                    <a:gd name="connsiteX43" fmla="*/ 834231 w 1022350"/>
                    <a:gd name="connsiteY43" fmla="*/ 777875 h 1758950"/>
                    <a:gd name="connsiteX44" fmla="*/ 778669 w 1022350"/>
                    <a:gd name="connsiteY44" fmla="*/ 775494 h 1758950"/>
                    <a:gd name="connsiteX45" fmla="*/ 816769 w 1022350"/>
                    <a:gd name="connsiteY45" fmla="*/ 712787 h 1758950"/>
                    <a:gd name="connsiteX46" fmla="*/ 771525 w 1022350"/>
                    <a:gd name="connsiteY46" fmla="*/ 619919 h 1758950"/>
                    <a:gd name="connsiteX47" fmla="*/ 815182 w 1022350"/>
                    <a:gd name="connsiteY47" fmla="*/ 497681 h 1758950"/>
                    <a:gd name="connsiteX48" fmla="*/ 735806 w 1022350"/>
                    <a:gd name="connsiteY48" fmla="*/ 429419 h 1758950"/>
                    <a:gd name="connsiteX49" fmla="*/ 663575 w 1022350"/>
                    <a:gd name="connsiteY49" fmla="*/ 377031 h 1758950"/>
                    <a:gd name="connsiteX50" fmla="*/ 660400 w 1022350"/>
                    <a:gd name="connsiteY50" fmla="*/ 284162 h 1758950"/>
                    <a:gd name="connsiteX51" fmla="*/ 638175 w 1022350"/>
                    <a:gd name="connsiteY51" fmla="*/ 226219 h 1758950"/>
                    <a:gd name="connsiteX52" fmla="*/ 614363 w 1022350"/>
                    <a:gd name="connsiteY52" fmla="*/ 121444 h 1758950"/>
                    <a:gd name="connsiteX53" fmla="*/ 590550 w 1022350"/>
                    <a:gd name="connsiteY53" fmla="*/ 6350 h 1758950"/>
                    <a:gd name="connsiteX54" fmla="*/ 57150 w 1022350"/>
                    <a:gd name="connsiteY54" fmla="*/ 0 h 1758950"/>
                    <a:gd name="connsiteX0" fmla="*/ 44450 w 1009650"/>
                    <a:gd name="connsiteY0" fmla="*/ 0 h 1758950"/>
                    <a:gd name="connsiteX1" fmla="*/ 17463 w 1009650"/>
                    <a:gd name="connsiteY1" fmla="*/ 74612 h 1758950"/>
                    <a:gd name="connsiteX2" fmla="*/ 43657 w 1009650"/>
                    <a:gd name="connsiteY2" fmla="*/ 117475 h 1758950"/>
                    <a:gd name="connsiteX3" fmla="*/ 70644 w 1009650"/>
                    <a:gd name="connsiteY3" fmla="*/ 201612 h 1758950"/>
                    <a:gd name="connsiteX4" fmla="*/ 139700 w 1009650"/>
                    <a:gd name="connsiteY4" fmla="*/ 265113 h 1758950"/>
                    <a:gd name="connsiteX5" fmla="*/ 159544 w 1009650"/>
                    <a:gd name="connsiteY5" fmla="*/ 326231 h 1758950"/>
                    <a:gd name="connsiteX6" fmla="*/ 147638 w 1009650"/>
                    <a:gd name="connsiteY6" fmla="*/ 407987 h 1758950"/>
                    <a:gd name="connsiteX7" fmla="*/ 146050 w 1009650"/>
                    <a:gd name="connsiteY7" fmla="*/ 473075 h 1758950"/>
                    <a:gd name="connsiteX8" fmla="*/ 117475 w 1009650"/>
                    <a:gd name="connsiteY8" fmla="*/ 515938 h 1758950"/>
                    <a:gd name="connsiteX9" fmla="*/ 165894 w 1009650"/>
                    <a:gd name="connsiteY9" fmla="*/ 550863 h 1758950"/>
                    <a:gd name="connsiteX10" fmla="*/ 254794 w 1009650"/>
                    <a:gd name="connsiteY10" fmla="*/ 575469 h 1758950"/>
                    <a:gd name="connsiteX11" fmla="*/ 314325 w 1009650"/>
                    <a:gd name="connsiteY11" fmla="*/ 567531 h 1758950"/>
                    <a:gd name="connsiteX12" fmla="*/ 328613 w 1009650"/>
                    <a:gd name="connsiteY12" fmla="*/ 634206 h 1758950"/>
                    <a:gd name="connsiteX13" fmla="*/ 299244 w 1009650"/>
                    <a:gd name="connsiteY13" fmla="*/ 648494 h 1758950"/>
                    <a:gd name="connsiteX14" fmla="*/ 319881 w 1009650"/>
                    <a:gd name="connsiteY14" fmla="*/ 728662 h 1758950"/>
                    <a:gd name="connsiteX15" fmla="*/ 436563 w 1009650"/>
                    <a:gd name="connsiteY15" fmla="*/ 737394 h 1758950"/>
                    <a:gd name="connsiteX16" fmla="*/ 433387 w 1009650"/>
                    <a:gd name="connsiteY16" fmla="*/ 793750 h 1758950"/>
                    <a:gd name="connsiteX17" fmla="*/ 375444 w 1009650"/>
                    <a:gd name="connsiteY17" fmla="*/ 874712 h 1758950"/>
                    <a:gd name="connsiteX18" fmla="*/ 327819 w 1009650"/>
                    <a:gd name="connsiteY18" fmla="*/ 880269 h 1758950"/>
                    <a:gd name="connsiteX19" fmla="*/ 297656 w 1009650"/>
                    <a:gd name="connsiteY19" fmla="*/ 947737 h 1758950"/>
                    <a:gd name="connsiteX20" fmla="*/ 346075 w 1009650"/>
                    <a:gd name="connsiteY20" fmla="*/ 1072357 h 1758950"/>
                    <a:gd name="connsiteX21" fmla="*/ 200818 w 1009650"/>
                    <a:gd name="connsiteY21" fmla="*/ 1112043 h 1758950"/>
                    <a:gd name="connsiteX22" fmla="*/ 58737 w 1009650"/>
                    <a:gd name="connsiteY22" fmla="*/ 1119982 h 1758950"/>
                    <a:gd name="connsiteX23" fmla="*/ 28575 w 1009650"/>
                    <a:gd name="connsiteY23" fmla="*/ 1177132 h 1758950"/>
                    <a:gd name="connsiteX24" fmla="*/ 26194 w 1009650"/>
                    <a:gd name="connsiteY24" fmla="*/ 1235869 h 1758950"/>
                    <a:gd name="connsiteX25" fmla="*/ 5557 w 1009650"/>
                    <a:gd name="connsiteY25" fmla="*/ 1286669 h 1758950"/>
                    <a:gd name="connsiteX26" fmla="*/ 0 w 1009650"/>
                    <a:gd name="connsiteY26" fmla="*/ 1347787 h 1758950"/>
                    <a:gd name="connsiteX27" fmla="*/ 279400 w 1009650"/>
                    <a:gd name="connsiteY27" fmla="*/ 1631950 h 1758950"/>
                    <a:gd name="connsiteX28" fmla="*/ 482600 w 1009650"/>
                    <a:gd name="connsiteY28" fmla="*/ 1758950 h 1758950"/>
                    <a:gd name="connsiteX29" fmla="*/ 768350 w 1009650"/>
                    <a:gd name="connsiteY29" fmla="*/ 1727200 h 1758950"/>
                    <a:gd name="connsiteX30" fmla="*/ 875507 w 1009650"/>
                    <a:gd name="connsiteY30" fmla="*/ 1558925 h 1758950"/>
                    <a:gd name="connsiteX31" fmla="*/ 912019 w 1009650"/>
                    <a:gd name="connsiteY31" fmla="*/ 1500188 h 1758950"/>
                    <a:gd name="connsiteX32" fmla="*/ 935037 w 1009650"/>
                    <a:gd name="connsiteY32" fmla="*/ 1436687 h 1758950"/>
                    <a:gd name="connsiteX33" fmla="*/ 889000 w 1009650"/>
                    <a:gd name="connsiteY33" fmla="*/ 1386682 h 1758950"/>
                    <a:gd name="connsiteX34" fmla="*/ 869950 w 1009650"/>
                    <a:gd name="connsiteY34" fmla="*/ 1323182 h 1758950"/>
                    <a:gd name="connsiteX35" fmla="*/ 900906 w 1009650"/>
                    <a:gd name="connsiteY35" fmla="*/ 1249362 h 1758950"/>
                    <a:gd name="connsiteX36" fmla="*/ 916781 w 1009650"/>
                    <a:gd name="connsiteY36" fmla="*/ 1136650 h 1758950"/>
                    <a:gd name="connsiteX37" fmla="*/ 913606 w 1009650"/>
                    <a:gd name="connsiteY37" fmla="*/ 1048544 h 1758950"/>
                    <a:gd name="connsiteX38" fmla="*/ 958057 w 1009650"/>
                    <a:gd name="connsiteY38" fmla="*/ 964406 h 1758950"/>
                    <a:gd name="connsiteX39" fmla="*/ 1009650 w 1009650"/>
                    <a:gd name="connsiteY39" fmla="*/ 857250 h 1758950"/>
                    <a:gd name="connsiteX40" fmla="*/ 984250 w 1009650"/>
                    <a:gd name="connsiteY40" fmla="*/ 730250 h 1758950"/>
                    <a:gd name="connsiteX41" fmla="*/ 933450 w 1009650"/>
                    <a:gd name="connsiteY41" fmla="*/ 723900 h 1758950"/>
                    <a:gd name="connsiteX42" fmla="*/ 885825 w 1009650"/>
                    <a:gd name="connsiteY42" fmla="*/ 732631 h 1758950"/>
                    <a:gd name="connsiteX43" fmla="*/ 821531 w 1009650"/>
                    <a:gd name="connsiteY43" fmla="*/ 777875 h 1758950"/>
                    <a:gd name="connsiteX44" fmla="*/ 765969 w 1009650"/>
                    <a:gd name="connsiteY44" fmla="*/ 775494 h 1758950"/>
                    <a:gd name="connsiteX45" fmla="*/ 804069 w 1009650"/>
                    <a:gd name="connsiteY45" fmla="*/ 712787 h 1758950"/>
                    <a:gd name="connsiteX46" fmla="*/ 758825 w 1009650"/>
                    <a:gd name="connsiteY46" fmla="*/ 619919 h 1758950"/>
                    <a:gd name="connsiteX47" fmla="*/ 802482 w 1009650"/>
                    <a:gd name="connsiteY47" fmla="*/ 497681 h 1758950"/>
                    <a:gd name="connsiteX48" fmla="*/ 723106 w 1009650"/>
                    <a:gd name="connsiteY48" fmla="*/ 429419 h 1758950"/>
                    <a:gd name="connsiteX49" fmla="*/ 650875 w 1009650"/>
                    <a:gd name="connsiteY49" fmla="*/ 377031 h 1758950"/>
                    <a:gd name="connsiteX50" fmla="*/ 647700 w 1009650"/>
                    <a:gd name="connsiteY50" fmla="*/ 284162 h 1758950"/>
                    <a:gd name="connsiteX51" fmla="*/ 625475 w 1009650"/>
                    <a:gd name="connsiteY51" fmla="*/ 226219 h 1758950"/>
                    <a:gd name="connsiteX52" fmla="*/ 601663 w 1009650"/>
                    <a:gd name="connsiteY52" fmla="*/ 121444 h 1758950"/>
                    <a:gd name="connsiteX53" fmla="*/ 577850 w 1009650"/>
                    <a:gd name="connsiteY53" fmla="*/ 6350 h 1758950"/>
                    <a:gd name="connsiteX54" fmla="*/ 44450 w 1009650"/>
                    <a:gd name="connsiteY54" fmla="*/ 0 h 175895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</a:cxnLst>
                  <a:rect l="l" t="t" r="r" b="b"/>
                  <a:pathLst>
                    <a:path w="1009650" h="1758950">
                      <a:moveTo>
                        <a:pt x="44450" y="0"/>
                      </a:moveTo>
                      <a:lnTo>
                        <a:pt x="17463" y="74612"/>
                      </a:lnTo>
                      <a:lnTo>
                        <a:pt x="43657" y="117475"/>
                      </a:lnTo>
                      <a:lnTo>
                        <a:pt x="70644" y="201612"/>
                      </a:lnTo>
                      <a:lnTo>
                        <a:pt x="139700" y="265113"/>
                      </a:lnTo>
                      <a:lnTo>
                        <a:pt x="159544" y="326231"/>
                      </a:lnTo>
                      <a:lnTo>
                        <a:pt x="147638" y="407987"/>
                      </a:lnTo>
                      <a:cubicBezTo>
                        <a:pt x="147109" y="429683"/>
                        <a:pt x="146579" y="451379"/>
                        <a:pt x="146050" y="473075"/>
                      </a:cubicBezTo>
                      <a:lnTo>
                        <a:pt x="117475" y="515938"/>
                      </a:lnTo>
                      <a:lnTo>
                        <a:pt x="165894" y="550863"/>
                      </a:lnTo>
                      <a:lnTo>
                        <a:pt x="254794" y="575469"/>
                      </a:lnTo>
                      <a:lnTo>
                        <a:pt x="314325" y="567531"/>
                      </a:lnTo>
                      <a:lnTo>
                        <a:pt x="328613" y="634206"/>
                      </a:lnTo>
                      <a:lnTo>
                        <a:pt x="299244" y="648494"/>
                      </a:lnTo>
                      <a:lnTo>
                        <a:pt x="319881" y="728662"/>
                      </a:lnTo>
                      <a:lnTo>
                        <a:pt x="436563" y="737394"/>
                      </a:lnTo>
                      <a:lnTo>
                        <a:pt x="433387" y="793750"/>
                      </a:lnTo>
                      <a:lnTo>
                        <a:pt x="375444" y="874712"/>
                      </a:lnTo>
                      <a:lnTo>
                        <a:pt x="327819" y="880269"/>
                      </a:lnTo>
                      <a:lnTo>
                        <a:pt x="297656" y="947737"/>
                      </a:lnTo>
                      <a:lnTo>
                        <a:pt x="346075" y="1072357"/>
                      </a:lnTo>
                      <a:lnTo>
                        <a:pt x="200818" y="1112043"/>
                      </a:lnTo>
                      <a:lnTo>
                        <a:pt x="58737" y="1119982"/>
                      </a:lnTo>
                      <a:lnTo>
                        <a:pt x="28575" y="1177132"/>
                      </a:lnTo>
                      <a:cubicBezTo>
                        <a:pt x="27781" y="1196711"/>
                        <a:pt x="26988" y="1216290"/>
                        <a:pt x="26194" y="1235869"/>
                      </a:cubicBezTo>
                      <a:lnTo>
                        <a:pt x="5557" y="1286669"/>
                      </a:lnTo>
                      <a:lnTo>
                        <a:pt x="0" y="1347787"/>
                      </a:lnTo>
                      <a:lnTo>
                        <a:pt x="279400" y="1631950"/>
                      </a:lnTo>
                      <a:lnTo>
                        <a:pt x="482600" y="1758950"/>
                      </a:lnTo>
                      <a:lnTo>
                        <a:pt x="768350" y="1727200"/>
                      </a:lnTo>
                      <a:lnTo>
                        <a:pt x="875507" y="1558925"/>
                      </a:lnTo>
                      <a:lnTo>
                        <a:pt x="912019" y="1500188"/>
                      </a:lnTo>
                      <a:lnTo>
                        <a:pt x="935037" y="1436687"/>
                      </a:lnTo>
                      <a:lnTo>
                        <a:pt x="889000" y="1386682"/>
                      </a:lnTo>
                      <a:lnTo>
                        <a:pt x="869950" y="1323182"/>
                      </a:lnTo>
                      <a:lnTo>
                        <a:pt x="900906" y="1249362"/>
                      </a:lnTo>
                      <a:lnTo>
                        <a:pt x="916781" y="1136650"/>
                      </a:lnTo>
                      <a:lnTo>
                        <a:pt x="913606" y="1048544"/>
                      </a:lnTo>
                      <a:lnTo>
                        <a:pt x="958057" y="964406"/>
                      </a:lnTo>
                      <a:lnTo>
                        <a:pt x="1009650" y="857250"/>
                      </a:lnTo>
                      <a:lnTo>
                        <a:pt x="984250" y="730250"/>
                      </a:lnTo>
                      <a:lnTo>
                        <a:pt x="933450" y="723900"/>
                      </a:lnTo>
                      <a:cubicBezTo>
                        <a:pt x="918633" y="725884"/>
                        <a:pt x="904478" y="723635"/>
                        <a:pt x="885825" y="732631"/>
                      </a:cubicBezTo>
                      <a:cubicBezTo>
                        <a:pt x="867172" y="741627"/>
                        <a:pt x="843094" y="772319"/>
                        <a:pt x="821531" y="777875"/>
                      </a:cubicBezTo>
                      <a:lnTo>
                        <a:pt x="765969" y="775494"/>
                      </a:lnTo>
                      <a:lnTo>
                        <a:pt x="804069" y="712787"/>
                      </a:lnTo>
                      <a:lnTo>
                        <a:pt x="758825" y="619919"/>
                      </a:lnTo>
                      <a:lnTo>
                        <a:pt x="802482" y="497681"/>
                      </a:lnTo>
                      <a:lnTo>
                        <a:pt x="723106" y="429419"/>
                      </a:lnTo>
                      <a:lnTo>
                        <a:pt x="650875" y="377031"/>
                      </a:lnTo>
                      <a:lnTo>
                        <a:pt x="647700" y="284162"/>
                      </a:lnTo>
                      <a:lnTo>
                        <a:pt x="625475" y="226219"/>
                      </a:lnTo>
                      <a:lnTo>
                        <a:pt x="601663" y="121444"/>
                      </a:lnTo>
                      <a:lnTo>
                        <a:pt x="577850" y="6350"/>
                      </a:lnTo>
                      <a:lnTo>
                        <a:pt x="44450" y="0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3" name="Freeform 92"/>
                <p:cNvSpPr/>
                <p:nvPr/>
              </p:nvSpPr>
              <p:spPr>
                <a:xfrm>
                  <a:off x="5762625" y="4431507"/>
                  <a:ext cx="1966913" cy="1843086"/>
                </a:xfrm>
                <a:custGeom>
                  <a:avLst/>
                  <a:gdLst>
                    <a:gd name="connsiteX0" fmla="*/ 1657350 w 2162175"/>
                    <a:gd name="connsiteY0" fmla="*/ 209550 h 1943100"/>
                    <a:gd name="connsiteX1" fmla="*/ 1333500 w 2162175"/>
                    <a:gd name="connsiteY1" fmla="*/ 190500 h 1943100"/>
                    <a:gd name="connsiteX2" fmla="*/ 1181100 w 2162175"/>
                    <a:gd name="connsiteY2" fmla="*/ 219075 h 1943100"/>
                    <a:gd name="connsiteX3" fmla="*/ 1038225 w 2162175"/>
                    <a:gd name="connsiteY3" fmla="*/ 161925 h 1943100"/>
                    <a:gd name="connsiteX4" fmla="*/ 895350 w 2162175"/>
                    <a:gd name="connsiteY4" fmla="*/ 95250 h 1943100"/>
                    <a:gd name="connsiteX5" fmla="*/ 771525 w 2162175"/>
                    <a:gd name="connsiteY5" fmla="*/ 57150 h 1943100"/>
                    <a:gd name="connsiteX6" fmla="*/ 647700 w 2162175"/>
                    <a:gd name="connsiteY6" fmla="*/ 0 h 1943100"/>
                    <a:gd name="connsiteX7" fmla="*/ 371475 w 2162175"/>
                    <a:gd name="connsiteY7" fmla="*/ 38100 h 1943100"/>
                    <a:gd name="connsiteX8" fmla="*/ 371475 w 2162175"/>
                    <a:gd name="connsiteY8" fmla="*/ 152400 h 1943100"/>
                    <a:gd name="connsiteX9" fmla="*/ 200025 w 2162175"/>
                    <a:gd name="connsiteY9" fmla="*/ 295275 h 1943100"/>
                    <a:gd name="connsiteX10" fmla="*/ 247650 w 2162175"/>
                    <a:gd name="connsiteY10" fmla="*/ 428625 h 1943100"/>
                    <a:gd name="connsiteX11" fmla="*/ 238125 w 2162175"/>
                    <a:gd name="connsiteY11" fmla="*/ 638175 h 1943100"/>
                    <a:gd name="connsiteX12" fmla="*/ 247650 w 2162175"/>
                    <a:gd name="connsiteY12" fmla="*/ 809625 h 1943100"/>
                    <a:gd name="connsiteX13" fmla="*/ 228600 w 2162175"/>
                    <a:gd name="connsiteY13" fmla="*/ 914400 h 1943100"/>
                    <a:gd name="connsiteX14" fmla="*/ 104775 w 2162175"/>
                    <a:gd name="connsiteY14" fmla="*/ 990600 h 1943100"/>
                    <a:gd name="connsiteX15" fmla="*/ 123825 w 2162175"/>
                    <a:gd name="connsiteY15" fmla="*/ 1057275 h 1943100"/>
                    <a:gd name="connsiteX16" fmla="*/ 19050 w 2162175"/>
                    <a:gd name="connsiteY16" fmla="*/ 1314450 h 1943100"/>
                    <a:gd name="connsiteX17" fmla="*/ 0 w 2162175"/>
                    <a:gd name="connsiteY17" fmla="*/ 1628775 h 1943100"/>
                    <a:gd name="connsiteX18" fmla="*/ 276225 w 2162175"/>
                    <a:gd name="connsiteY18" fmla="*/ 1685925 h 1943100"/>
                    <a:gd name="connsiteX19" fmla="*/ 619125 w 2162175"/>
                    <a:gd name="connsiteY19" fmla="*/ 1847850 h 1943100"/>
                    <a:gd name="connsiteX20" fmla="*/ 895350 w 2162175"/>
                    <a:gd name="connsiteY20" fmla="*/ 1943100 h 1943100"/>
                    <a:gd name="connsiteX21" fmla="*/ 1409700 w 2162175"/>
                    <a:gd name="connsiteY21" fmla="*/ 1838325 h 1943100"/>
                    <a:gd name="connsiteX22" fmla="*/ 2028825 w 2162175"/>
                    <a:gd name="connsiteY22" fmla="*/ 1685925 h 1943100"/>
                    <a:gd name="connsiteX23" fmla="*/ 2162175 w 2162175"/>
                    <a:gd name="connsiteY23" fmla="*/ 1390650 h 1943100"/>
                    <a:gd name="connsiteX24" fmla="*/ 2009775 w 2162175"/>
                    <a:gd name="connsiteY24" fmla="*/ 1314450 h 1943100"/>
                    <a:gd name="connsiteX25" fmla="*/ 1924050 w 2162175"/>
                    <a:gd name="connsiteY25" fmla="*/ 1228725 h 1943100"/>
                    <a:gd name="connsiteX26" fmla="*/ 1914525 w 2162175"/>
                    <a:gd name="connsiteY26" fmla="*/ 1085850 h 1943100"/>
                    <a:gd name="connsiteX27" fmla="*/ 1866900 w 2162175"/>
                    <a:gd name="connsiteY27" fmla="*/ 962025 h 1943100"/>
                    <a:gd name="connsiteX28" fmla="*/ 1819275 w 2162175"/>
                    <a:gd name="connsiteY28" fmla="*/ 866775 h 1943100"/>
                    <a:gd name="connsiteX29" fmla="*/ 1790700 w 2162175"/>
                    <a:gd name="connsiteY29" fmla="*/ 790575 h 1943100"/>
                    <a:gd name="connsiteX30" fmla="*/ 1743075 w 2162175"/>
                    <a:gd name="connsiteY30" fmla="*/ 666750 h 1943100"/>
                    <a:gd name="connsiteX31" fmla="*/ 1704975 w 2162175"/>
                    <a:gd name="connsiteY31" fmla="*/ 590550 h 1943100"/>
                    <a:gd name="connsiteX32" fmla="*/ 1619250 w 2162175"/>
                    <a:gd name="connsiteY32" fmla="*/ 542925 h 1943100"/>
                    <a:gd name="connsiteX33" fmla="*/ 1676400 w 2162175"/>
                    <a:gd name="connsiteY33" fmla="*/ 400050 h 1943100"/>
                    <a:gd name="connsiteX34" fmla="*/ 1657350 w 2162175"/>
                    <a:gd name="connsiteY34" fmla="*/ 209550 h 1943100"/>
                    <a:gd name="connsiteX0" fmla="*/ 1657350 w 2162175"/>
                    <a:gd name="connsiteY0" fmla="*/ 209550 h 1943100"/>
                    <a:gd name="connsiteX1" fmla="*/ 1333500 w 2162175"/>
                    <a:gd name="connsiteY1" fmla="*/ 190500 h 1943100"/>
                    <a:gd name="connsiteX2" fmla="*/ 1181100 w 2162175"/>
                    <a:gd name="connsiteY2" fmla="*/ 219075 h 1943100"/>
                    <a:gd name="connsiteX3" fmla="*/ 1038225 w 2162175"/>
                    <a:gd name="connsiteY3" fmla="*/ 161925 h 1943100"/>
                    <a:gd name="connsiteX4" fmla="*/ 895350 w 2162175"/>
                    <a:gd name="connsiteY4" fmla="*/ 95250 h 1943100"/>
                    <a:gd name="connsiteX5" fmla="*/ 771525 w 2162175"/>
                    <a:gd name="connsiteY5" fmla="*/ 57150 h 1943100"/>
                    <a:gd name="connsiteX6" fmla="*/ 647700 w 2162175"/>
                    <a:gd name="connsiteY6" fmla="*/ 0 h 1943100"/>
                    <a:gd name="connsiteX7" fmla="*/ 533400 w 2162175"/>
                    <a:gd name="connsiteY7" fmla="*/ 11906 h 1943100"/>
                    <a:gd name="connsiteX8" fmla="*/ 371475 w 2162175"/>
                    <a:gd name="connsiteY8" fmla="*/ 38100 h 1943100"/>
                    <a:gd name="connsiteX9" fmla="*/ 371475 w 2162175"/>
                    <a:gd name="connsiteY9" fmla="*/ 152400 h 1943100"/>
                    <a:gd name="connsiteX10" fmla="*/ 200025 w 2162175"/>
                    <a:gd name="connsiteY10" fmla="*/ 295275 h 1943100"/>
                    <a:gd name="connsiteX11" fmla="*/ 247650 w 2162175"/>
                    <a:gd name="connsiteY11" fmla="*/ 428625 h 1943100"/>
                    <a:gd name="connsiteX12" fmla="*/ 238125 w 2162175"/>
                    <a:gd name="connsiteY12" fmla="*/ 638175 h 1943100"/>
                    <a:gd name="connsiteX13" fmla="*/ 247650 w 2162175"/>
                    <a:gd name="connsiteY13" fmla="*/ 809625 h 1943100"/>
                    <a:gd name="connsiteX14" fmla="*/ 228600 w 2162175"/>
                    <a:gd name="connsiteY14" fmla="*/ 914400 h 1943100"/>
                    <a:gd name="connsiteX15" fmla="*/ 104775 w 2162175"/>
                    <a:gd name="connsiteY15" fmla="*/ 990600 h 1943100"/>
                    <a:gd name="connsiteX16" fmla="*/ 123825 w 2162175"/>
                    <a:gd name="connsiteY16" fmla="*/ 1057275 h 1943100"/>
                    <a:gd name="connsiteX17" fmla="*/ 19050 w 2162175"/>
                    <a:gd name="connsiteY17" fmla="*/ 1314450 h 1943100"/>
                    <a:gd name="connsiteX18" fmla="*/ 0 w 2162175"/>
                    <a:gd name="connsiteY18" fmla="*/ 1628775 h 1943100"/>
                    <a:gd name="connsiteX19" fmla="*/ 276225 w 2162175"/>
                    <a:gd name="connsiteY19" fmla="*/ 1685925 h 1943100"/>
                    <a:gd name="connsiteX20" fmla="*/ 619125 w 2162175"/>
                    <a:gd name="connsiteY20" fmla="*/ 1847850 h 1943100"/>
                    <a:gd name="connsiteX21" fmla="*/ 895350 w 2162175"/>
                    <a:gd name="connsiteY21" fmla="*/ 1943100 h 1943100"/>
                    <a:gd name="connsiteX22" fmla="*/ 1409700 w 2162175"/>
                    <a:gd name="connsiteY22" fmla="*/ 1838325 h 1943100"/>
                    <a:gd name="connsiteX23" fmla="*/ 2028825 w 2162175"/>
                    <a:gd name="connsiteY23" fmla="*/ 1685925 h 1943100"/>
                    <a:gd name="connsiteX24" fmla="*/ 2162175 w 2162175"/>
                    <a:gd name="connsiteY24" fmla="*/ 1390650 h 1943100"/>
                    <a:gd name="connsiteX25" fmla="*/ 2009775 w 2162175"/>
                    <a:gd name="connsiteY25" fmla="*/ 1314450 h 1943100"/>
                    <a:gd name="connsiteX26" fmla="*/ 1924050 w 2162175"/>
                    <a:gd name="connsiteY26" fmla="*/ 1228725 h 1943100"/>
                    <a:gd name="connsiteX27" fmla="*/ 1914525 w 2162175"/>
                    <a:gd name="connsiteY27" fmla="*/ 1085850 h 1943100"/>
                    <a:gd name="connsiteX28" fmla="*/ 1866900 w 2162175"/>
                    <a:gd name="connsiteY28" fmla="*/ 962025 h 1943100"/>
                    <a:gd name="connsiteX29" fmla="*/ 1819275 w 2162175"/>
                    <a:gd name="connsiteY29" fmla="*/ 866775 h 1943100"/>
                    <a:gd name="connsiteX30" fmla="*/ 1790700 w 2162175"/>
                    <a:gd name="connsiteY30" fmla="*/ 790575 h 1943100"/>
                    <a:gd name="connsiteX31" fmla="*/ 1743075 w 2162175"/>
                    <a:gd name="connsiteY31" fmla="*/ 666750 h 1943100"/>
                    <a:gd name="connsiteX32" fmla="*/ 1704975 w 2162175"/>
                    <a:gd name="connsiteY32" fmla="*/ 590550 h 1943100"/>
                    <a:gd name="connsiteX33" fmla="*/ 1619250 w 2162175"/>
                    <a:gd name="connsiteY33" fmla="*/ 542925 h 1943100"/>
                    <a:gd name="connsiteX34" fmla="*/ 1676400 w 2162175"/>
                    <a:gd name="connsiteY34" fmla="*/ 400050 h 1943100"/>
                    <a:gd name="connsiteX35" fmla="*/ 1657350 w 2162175"/>
                    <a:gd name="connsiteY35" fmla="*/ 209550 h 1943100"/>
                    <a:gd name="connsiteX0" fmla="*/ 1657350 w 2162175"/>
                    <a:gd name="connsiteY0" fmla="*/ 197644 h 1931194"/>
                    <a:gd name="connsiteX1" fmla="*/ 1333500 w 2162175"/>
                    <a:gd name="connsiteY1" fmla="*/ 178594 h 1931194"/>
                    <a:gd name="connsiteX2" fmla="*/ 1181100 w 2162175"/>
                    <a:gd name="connsiteY2" fmla="*/ 207169 h 1931194"/>
                    <a:gd name="connsiteX3" fmla="*/ 1038225 w 2162175"/>
                    <a:gd name="connsiteY3" fmla="*/ 150019 h 1931194"/>
                    <a:gd name="connsiteX4" fmla="*/ 895350 w 2162175"/>
                    <a:gd name="connsiteY4" fmla="*/ 83344 h 1931194"/>
                    <a:gd name="connsiteX5" fmla="*/ 771525 w 2162175"/>
                    <a:gd name="connsiteY5" fmla="*/ 45244 h 1931194"/>
                    <a:gd name="connsiteX6" fmla="*/ 642937 w 2162175"/>
                    <a:gd name="connsiteY6" fmla="*/ 38101 h 1931194"/>
                    <a:gd name="connsiteX7" fmla="*/ 533400 w 2162175"/>
                    <a:gd name="connsiteY7" fmla="*/ 0 h 1931194"/>
                    <a:gd name="connsiteX8" fmla="*/ 371475 w 2162175"/>
                    <a:gd name="connsiteY8" fmla="*/ 26194 h 1931194"/>
                    <a:gd name="connsiteX9" fmla="*/ 371475 w 2162175"/>
                    <a:gd name="connsiteY9" fmla="*/ 140494 h 1931194"/>
                    <a:gd name="connsiteX10" fmla="*/ 200025 w 2162175"/>
                    <a:gd name="connsiteY10" fmla="*/ 283369 h 1931194"/>
                    <a:gd name="connsiteX11" fmla="*/ 247650 w 2162175"/>
                    <a:gd name="connsiteY11" fmla="*/ 416719 h 1931194"/>
                    <a:gd name="connsiteX12" fmla="*/ 238125 w 2162175"/>
                    <a:gd name="connsiteY12" fmla="*/ 626269 h 1931194"/>
                    <a:gd name="connsiteX13" fmla="*/ 247650 w 2162175"/>
                    <a:gd name="connsiteY13" fmla="*/ 797719 h 1931194"/>
                    <a:gd name="connsiteX14" fmla="*/ 228600 w 2162175"/>
                    <a:gd name="connsiteY14" fmla="*/ 902494 h 1931194"/>
                    <a:gd name="connsiteX15" fmla="*/ 104775 w 2162175"/>
                    <a:gd name="connsiteY15" fmla="*/ 978694 h 1931194"/>
                    <a:gd name="connsiteX16" fmla="*/ 123825 w 2162175"/>
                    <a:gd name="connsiteY16" fmla="*/ 1045369 h 1931194"/>
                    <a:gd name="connsiteX17" fmla="*/ 19050 w 2162175"/>
                    <a:gd name="connsiteY17" fmla="*/ 1302544 h 1931194"/>
                    <a:gd name="connsiteX18" fmla="*/ 0 w 2162175"/>
                    <a:gd name="connsiteY18" fmla="*/ 1616869 h 1931194"/>
                    <a:gd name="connsiteX19" fmla="*/ 276225 w 2162175"/>
                    <a:gd name="connsiteY19" fmla="*/ 1674019 h 1931194"/>
                    <a:gd name="connsiteX20" fmla="*/ 619125 w 2162175"/>
                    <a:gd name="connsiteY20" fmla="*/ 1835944 h 1931194"/>
                    <a:gd name="connsiteX21" fmla="*/ 895350 w 2162175"/>
                    <a:gd name="connsiteY21" fmla="*/ 1931194 h 1931194"/>
                    <a:gd name="connsiteX22" fmla="*/ 1409700 w 2162175"/>
                    <a:gd name="connsiteY22" fmla="*/ 1826419 h 1931194"/>
                    <a:gd name="connsiteX23" fmla="*/ 2028825 w 2162175"/>
                    <a:gd name="connsiteY23" fmla="*/ 1674019 h 1931194"/>
                    <a:gd name="connsiteX24" fmla="*/ 2162175 w 2162175"/>
                    <a:gd name="connsiteY24" fmla="*/ 1378744 h 1931194"/>
                    <a:gd name="connsiteX25" fmla="*/ 2009775 w 2162175"/>
                    <a:gd name="connsiteY25" fmla="*/ 1302544 h 1931194"/>
                    <a:gd name="connsiteX26" fmla="*/ 1924050 w 2162175"/>
                    <a:gd name="connsiteY26" fmla="*/ 1216819 h 1931194"/>
                    <a:gd name="connsiteX27" fmla="*/ 1914525 w 2162175"/>
                    <a:gd name="connsiteY27" fmla="*/ 1073944 h 1931194"/>
                    <a:gd name="connsiteX28" fmla="*/ 1866900 w 2162175"/>
                    <a:gd name="connsiteY28" fmla="*/ 950119 h 1931194"/>
                    <a:gd name="connsiteX29" fmla="*/ 1819275 w 2162175"/>
                    <a:gd name="connsiteY29" fmla="*/ 854869 h 1931194"/>
                    <a:gd name="connsiteX30" fmla="*/ 1790700 w 2162175"/>
                    <a:gd name="connsiteY30" fmla="*/ 778669 h 1931194"/>
                    <a:gd name="connsiteX31" fmla="*/ 1743075 w 2162175"/>
                    <a:gd name="connsiteY31" fmla="*/ 654844 h 1931194"/>
                    <a:gd name="connsiteX32" fmla="*/ 1704975 w 2162175"/>
                    <a:gd name="connsiteY32" fmla="*/ 578644 h 1931194"/>
                    <a:gd name="connsiteX33" fmla="*/ 1619250 w 2162175"/>
                    <a:gd name="connsiteY33" fmla="*/ 531019 h 1931194"/>
                    <a:gd name="connsiteX34" fmla="*/ 1676400 w 2162175"/>
                    <a:gd name="connsiteY34" fmla="*/ 388144 h 1931194"/>
                    <a:gd name="connsiteX35" fmla="*/ 1657350 w 2162175"/>
                    <a:gd name="connsiteY35" fmla="*/ 197644 h 1931194"/>
                    <a:gd name="connsiteX0" fmla="*/ 1657350 w 2162175"/>
                    <a:gd name="connsiteY0" fmla="*/ 197644 h 1931194"/>
                    <a:gd name="connsiteX1" fmla="*/ 1333500 w 2162175"/>
                    <a:gd name="connsiteY1" fmla="*/ 178594 h 1931194"/>
                    <a:gd name="connsiteX2" fmla="*/ 1181100 w 2162175"/>
                    <a:gd name="connsiteY2" fmla="*/ 207169 h 1931194"/>
                    <a:gd name="connsiteX3" fmla="*/ 1038225 w 2162175"/>
                    <a:gd name="connsiteY3" fmla="*/ 150019 h 1931194"/>
                    <a:gd name="connsiteX4" fmla="*/ 895350 w 2162175"/>
                    <a:gd name="connsiteY4" fmla="*/ 83344 h 1931194"/>
                    <a:gd name="connsiteX5" fmla="*/ 738188 w 2162175"/>
                    <a:gd name="connsiteY5" fmla="*/ 119063 h 1931194"/>
                    <a:gd name="connsiteX6" fmla="*/ 642937 w 2162175"/>
                    <a:gd name="connsiteY6" fmla="*/ 38101 h 1931194"/>
                    <a:gd name="connsiteX7" fmla="*/ 533400 w 2162175"/>
                    <a:gd name="connsiteY7" fmla="*/ 0 h 1931194"/>
                    <a:gd name="connsiteX8" fmla="*/ 371475 w 2162175"/>
                    <a:gd name="connsiteY8" fmla="*/ 26194 h 1931194"/>
                    <a:gd name="connsiteX9" fmla="*/ 371475 w 2162175"/>
                    <a:gd name="connsiteY9" fmla="*/ 140494 h 1931194"/>
                    <a:gd name="connsiteX10" fmla="*/ 200025 w 2162175"/>
                    <a:gd name="connsiteY10" fmla="*/ 283369 h 1931194"/>
                    <a:gd name="connsiteX11" fmla="*/ 247650 w 2162175"/>
                    <a:gd name="connsiteY11" fmla="*/ 416719 h 1931194"/>
                    <a:gd name="connsiteX12" fmla="*/ 238125 w 2162175"/>
                    <a:gd name="connsiteY12" fmla="*/ 626269 h 1931194"/>
                    <a:gd name="connsiteX13" fmla="*/ 247650 w 2162175"/>
                    <a:gd name="connsiteY13" fmla="*/ 797719 h 1931194"/>
                    <a:gd name="connsiteX14" fmla="*/ 228600 w 2162175"/>
                    <a:gd name="connsiteY14" fmla="*/ 902494 h 1931194"/>
                    <a:gd name="connsiteX15" fmla="*/ 104775 w 2162175"/>
                    <a:gd name="connsiteY15" fmla="*/ 978694 h 1931194"/>
                    <a:gd name="connsiteX16" fmla="*/ 123825 w 2162175"/>
                    <a:gd name="connsiteY16" fmla="*/ 1045369 h 1931194"/>
                    <a:gd name="connsiteX17" fmla="*/ 19050 w 2162175"/>
                    <a:gd name="connsiteY17" fmla="*/ 1302544 h 1931194"/>
                    <a:gd name="connsiteX18" fmla="*/ 0 w 2162175"/>
                    <a:gd name="connsiteY18" fmla="*/ 1616869 h 1931194"/>
                    <a:gd name="connsiteX19" fmla="*/ 276225 w 2162175"/>
                    <a:gd name="connsiteY19" fmla="*/ 1674019 h 1931194"/>
                    <a:gd name="connsiteX20" fmla="*/ 619125 w 2162175"/>
                    <a:gd name="connsiteY20" fmla="*/ 1835944 h 1931194"/>
                    <a:gd name="connsiteX21" fmla="*/ 895350 w 2162175"/>
                    <a:gd name="connsiteY21" fmla="*/ 1931194 h 1931194"/>
                    <a:gd name="connsiteX22" fmla="*/ 1409700 w 2162175"/>
                    <a:gd name="connsiteY22" fmla="*/ 1826419 h 1931194"/>
                    <a:gd name="connsiteX23" fmla="*/ 2028825 w 2162175"/>
                    <a:gd name="connsiteY23" fmla="*/ 1674019 h 1931194"/>
                    <a:gd name="connsiteX24" fmla="*/ 2162175 w 2162175"/>
                    <a:gd name="connsiteY24" fmla="*/ 1378744 h 1931194"/>
                    <a:gd name="connsiteX25" fmla="*/ 2009775 w 2162175"/>
                    <a:gd name="connsiteY25" fmla="*/ 1302544 h 1931194"/>
                    <a:gd name="connsiteX26" fmla="*/ 1924050 w 2162175"/>
                    <a:gd name="connsiteY26" fmla="*/ 1216819 h 1931194"/>
                    <a:gd name="connsiteX27" fmla="*/ 1914525 w 2162175"/>
                    <a:gd name="connsiteY27" fmla="*/ 1073944 h 1931194"/>
                    <a:gd name="connsiteX28" fmla="*/ 1866900 w 2162175"/>
                    <a:gd name="connsiteY28" fmla="*/ 950119 h 1931194"/>
                    <a:gd name="connsiteX29" fmla="*/ 1819275 w 2162175"/>
                    <a:gd name="connsiteY29" fmla="*/ 854869 h 1931194"/>
                    <a:gd name="connsiteX30" fmla="*/ 1790700 w 2162175"/>
                    <a:gd name="connsiteY30" fmla="*/ 778669 h 1931194"/>
                    <a:gd name="connsiteX31" fmla="*/ 1743075 w 2162175"/>
                    <a:gd name="connsiteY31" fmla="*/ 654844 h 1931194"/>
                    <a:gd name="connsiteX32" fmla="*/ 1704975 w 2162175"/>
                    <a:gd name="connsiteY32" fmla="*/ 578644 h 1931194"/>
                    <a:gd name="connsiteX33" fmla="*/ 1619250 w 2162175"/>
                    <a:gd name="connsiteY33" fmla="*/ 531019 h 1931194"/>
                    <a:gd name="connsiteX34" fmla="*/ 1676400 w 2162175"/>
                    <a:gd name="connsiteY34" fmla="*/ 388144 h 1931194"/>
                    <a:gd name="connsiteX35" fmla="*/ 1657350 w 2162175"/>
                    <a:gd name="connsiteY35" fmla="*/ 197644 h 1931194"/>
                    <a:gd name="connsiteX0" fmla="*/ 1657350 w 2162175"/>
                    <a:gd name="connsiteY0" fmla="*/ 197644 h 1931194"/>
                    <a:gd name="connsiteX1" fmla="*/ 1333500 w 2162175"/>
                    <a:gd name="connsiteY1" fmla="*/ 178594 h 1931194"/>
                    <a:gd name="connsiteX2" fmla="*/ 1181100 w 2162175"/>
                    <a:gd name="connsiteY2" fmla="*/ 207169 h 1931194"/>
                    <a:gd name="connsiteX3" fmla="*/ 1038225 w 2162175"/>
                    <a:gd name="connsiteY3" fmla="*/ 150019 h 1931194"/>
                    <a:gd name="connsiteX4" fmla="*/ 916781 w 2162175"/>
                    <a:gd name="connsiteY4" fmla="*/ 166688 h 1931194"/>
                    <a:gd name="connsiteX5" fmla="*/ 738188 w 2162175"/>
                    <a:gd name="connsiteY5" fmla="*/ 119063 h 1931194"/>
                    <a:gd name="connsiteX6" fmla="*/ 642937 w 2162175"/>
                    <a:gd name="connsiteY6" fmla="*/ 38101 h 1931194"/>
                    <a:gd name="connsiteX7" fmla="*/ 533400 w 2162175"/>
                    <a:gd name="connsiteY7" fmla="*/ 0 h 1931194"/>
                    <a:gd name="connsiteX8" fmla="*/ 371475 w 2162175"/>
                    <a:gd name="connsiteY8" fmla="*/ 26194 h 1931194"/>
                    <a:gd name="connsiteX9" fmla="*/ 371475 w 2162175"/>
                    <a:gd name="connsiteY9" fmla="*/ 140494 h 1931194"/>
                    <a:gd name="connsiteX10" fmla="*/ 200025 w 2162175"/>
                    <a:gd name="connsiteY10" fmla="*/ 283369 h 1931194"/>
                    <a:gd name="connsiteX11" fmla="*/ 247650 w 2162175"/>
                    <a:gd name="connsiteY11" fmla="*/ 416719 h 1931194"/>
                    <a:gd name="connsiteX12" fmla="*/ 238125 w 2162175"/>
                    <a:gd name="connsiteY12" fmla="*/ 626269 h 1931194"/>
                    <a:gd name="connsiteX13" fmla="*/ 247650 w 2162175"/>
                    <a:gd name="connsiteY13" fmla="*/ 797719 h 1931194"/>
                    <a:gd name="connsiteX14" fmla="*/ 228600 w 2162175"/>
                    <a:gd name="connsiteY14" fmla="*/ 902494 h 1931194"/>
                    <a:gd name="connsiteX15" fmla="*/ 104775 w 2162175"/>
                    <a:gd name="connsiteY15" fmla="*/ 978694 h 1931194"/>
                    <a:gd name="connsiteX16" fmla="*/ 123825 w 2162175"/>
                    <a:gd name="connsiteY16" fmla="*/ 1045369 h 1931194"/>
                    <a:gd name="connsiteX17" fmla="*/ 19050 w 2162175"/>
                    <a:gd name="connsiteY17" fmla="*/ 1302544 h 1931194"/>
                    <a:gd name="connsiteX18" fmla="*/ 0 w 2162175"/>
                    <a:gd name="connsiteY18" fmla="*/ 1616869 h 1931194"/>
                    <a:gd name="connsiteX19" fmla="*/ 276225 w 2162175"/>
                    <a:gd name="connsiteY19" fmla="*/ 1674019 h 1931194"/>
                    <a:gd name="connsiteX20" fmla="*/ 619125 w 2162175"/>
                    <a:gd name="connsiteY20" fmla="*/ 1835944 h 1931194"/>
                    <a:gd name="connsiteX21" fmla="*/ 895350 w 2162175"/>
                    <a:gd name="connsiteY21" fmla="*/ 1931194 h 1931194"/>
                    <a:gd name="connsiteX22" fmla="*/ 1409700 w 2162175"/>
                    <a:gd name="connsiteY22" fmla="*/ 1826419 h 1931194"/>
                    <a:gd name="connsiteX23" fmla="*/ 2028825 w 2162175"/>
                    <a:gd name="connsiteY23" fmla="*/ 1674019 h 1931194"/>
                    <a:gd name="connsiteX24" fmla="*/ 2162175 w 2162175"/>
                    <a:gd name="connsiteY24" fmla="*/ 1378744 h 1931194"/>
                    <a:gd name="connsiteX25" fmla="*/ 2009775 w 2162175"/>
                    <a:gd name="connsiteY25" fmla="*/ 1302544 h 1931194"/>
                    <a:gd name="connsiteX26" fmla="*/ 1924050 w 2162175"/>
                    <a:gd name="connsiteY26" fmla="*/ 1216819 h 1931194"/>
                    <a:gd name="connsiteX27" fmla="*/ 1914525 w 2162175"/>
                    <a:gd name="connsiteY27" fmla="*/ 1073944 h 1931194"/>
                    <a:gd name="connsiteX28" fmla="*/ 1866900 w 2162175"/>
                    <a:gd name="connsiteY28" fmla="*/ 950119 h 1931194"/>
                    <a:gd name="connsiteX29" fmla="*/ 1819275 w 2162175"/>
                    <a:gd name="connsiteY29" fmla="*/ 854869 h 1931194"/>
                    <a:gd name="connsiteX30" fmla="*/ 1790700 w 2162175"/>
                    <a:gd name="connsiteY30" fmla="*/ 778669 h 1931194"/>
                    <a:gd name="connsiteX31" fmla="*/ 1743075 w 2162175"/>
                    <a:gd name="connsiteY31" fmla="*/ 654844 h 1931194"/>
                    <a:gd name="connsiteX32" fmla="*/ 1704975 w 2162175"/>
                    <a:gd name="connsiteY32" fmla="*/ 578644 h 1931194"/>
                    <a:gd name="connsiteX33" fmla="*/ 1619250 w 2162175"/>
                    <a:gd name="connsiteY33" fmla="*/ 531019 h 1931194"/>
                    <a:gd name="connsiteX34" fmla="*/ 1676400 w 2162175"/>
                    <a:gd name="connsiteY34" fmla="*/ 388144 h 1931194"/>
                    <a:gd name="connsiteX35" fmla="*/ 1657350 w 2162175"/>
                    <a:gd name="connsiteY35" fmla="*/ 197644 h 1931194"/>
                    <a:gd name="connsiteX0" fmla="*/ 1657350 w 2162175"/>
                    <a:gd name="connsiteY0" fmla="*/ 197644 h 1931194"/>
                    <a:gd name="connsiteX1" fmla="*/ 1333500 w 2162175"/>
                    <a:gd name="connsiteY1" fmla="*/ 178594 h 1931194"/>
                    <a:gd name="connsiteX2" fmla="*/ 1181100 w 2162175"/>
                    <a:gd name="connsiteY2" fmla="*/ 207169 h 1931194"/>
                    <a:gd name="connsiteX3" fmla="*/ 1042988 w 2162175"/>
                    <a:gd name="connsiteY3" fmla="*/ 254794 h 1931194"/>
                    <a:gd name="connsiteX4" fmla="*/ 916781 w 2162175"/>
                    <a:gd name="connsiteY4" fmla="*/ 166688 h 1931194"/>
                    <a:gd name="connsiteX5" fmla="*/ 738188 w 2162175"/>
                    <a:gd name="connsiteY5" fmla="*/ 119063 h 1931194"/>
                    <a:gd name="connsiteX6" fmla="*/ 642937 w 2162175"/>
                    <a:gd name="connsiteY6" fmla="*/ 38101 h 1931194"/>
                    <a:gd name="connsiteX7" fmla="*/ 533400 w 2162175"/>
                    <a:gd name="connsiteY7" fmla="*/ 0 h 1931194"/>
                    <a:gd name="connsiteX8" fmla="*/ 371475 w 2162175"/>
                    <a:gd name="connsiteY8" fmla="*/ 26194 h 1931194"/>
                    <a:gd name="connsiteX9" fmla="*/ 371475 w 2162175"/>
                    <a:gd name="connsiteY9" fmla="*/ 140494 h 1931194"/>
                    <a:gd name="connsiteX10" fmla="*/ 200025 w 2162175"/>
                    <a:gd name="connsiteY10" fmla="*/ 283369 h 1931194"/>
                    <a:gd name="connsiteX11" fmla="*/ 247650 w 2162175"/>
                    <a:gd name="connsiteY11" fmla="*/ 416719 h 1931194"/>
                    <a:gd name="connsiteX12" fmla="*/ 238125 w 2162175"/>
                    <a:gd name="connsiteY12" fmla="*/ 626269 h 1931194"/>
                    <a:gd name="connsiteX13" fmla="*/ 247650 w 2162175"/>
                    <a:gd name="connsiteY13" fmla="*/ 797719 h 1931194"/>
                    <a:gd name="connsiteX14" fmla="*/ 228600 w 2162175"/>
                    <a:gd name="connsiteY14" fmla="*/ 902494 h 1931194"/>
                    <a:gd name="connsiteX15" fmla="*/ 104775 w 2162175"/>
                    <a:gd name="connsiteY15" fmla="*/ 978694 h 1931194"/>
                    <a:gd name="connsiteX16" fmla="*/ 123825 w 2162175"/>
                    <a:gd name="connsiteY16" fmla="*/ 1045369 h 1931194"/>
                    <a:gd name="connsiteX17" fmla="*/ 19050 w 2162175"/>
                    <a:gd name="connsiteY17" fmla="*/ 1302544 h 1931194"/>
                    <a:gd name="connsiteX18" fmla="*/ 0 w 2162175"/>
                    <a:gd name="connsiteY18" fmla="*/ 1616869 h 1931194"/>
                    <a:gd name="connsiteX19" fmla="*/ 276225 w 2162175"/>
                    <a:gd name="connsiteY19" fmla="*/ 1674019 h 1931194"/>
                    <a:gd name="connsiteX20" fmla="*/ 619125 w 2162175"/>
                    <a:gd name="connsiteY20" fmla="*/ 1835944 h 1931194"/>
                    <a:gd name="connsiteX21" fmla="*/ 895350 w 2162175"/>
                    <a:gd name="connsiteY21" fmla="*/ 1931194 h 1931194"/>
                    <a:gd name="connsiteX22" fmla="*/ 1409700 w 2162175"/>
                    <a:gd name="connsiteY22" fmla="*/ 1826419 h 1931194"/>
                    <a:gd name="connsiteX23" fmla="*/ 2028825 w 2162175"/>
                    <a:gd name="connsiteY23" fmla="*/ 1674019 h 1931194"/>
                    <a:gd name="connsiteX24" fmla="*/ 2162175 w 2162175"/>
                    <a:gd name="connsiteY24" fmla="*/ 1378744 h 1931194"/>
                    <a:gd name="connsiteX25" fmla="*/ 2009775 w 2162175"/>
                    <a:gd name="connsiteY25" fmla="*/ 1302544 h 1931194"/>
                    <a:gd name="connsiteX26" fmla="*/ 1924050 w 2162175"/>
                    <a:gd name="connsiteY26" fmla="*/ 1216819 h 1931194"/>
                    <a:gd name="connsiteX27" fmla="*/ 1914525 w 2162175"/>
                    <a:gd name="connsiteY27" fmla="*/ 1073944 h 1931194"/>
                    <a:gd name="connsiteX28" fmla="*/ 1866900 w 2162175"/>
                    <a:gd name="connsiteY28" fmla="*/ 950119 h 1931194"/>
                    <a:gd name="connsiteX29" fmla="*/ 1819275 w 2162175"/>
                    <a:gd name="connsiteY29" fmla="*/ 854869 h 1931194"/>
                    <a:gd name="connsiteX30" fmla="*/ 1790700 w 2162175"/>
                    <a:gd name="connsiteY30" fmla="*/ 778669 h 1931194"/>
                    <a:gd name="connsiteX31" fmla="*/ 1743075 w 2162175"/>
                    <a:gd name="connsiteY31" fmla="*/ 654844 h 1931194"/>
                    <a:gd name="connsiteX32" fmla="*/ 1704975 w 2162175"/>
                    <a:gd name="connsiteY32" fmla="*/ 578644 h 1931194"/>
                    <a:gd name="connsiteX33" fmla="*/ 1619250 w 2162175"/>
                    <a:gd name="connsiteY33" fmla="*/ 531019 h 1931194"/>
                    <a:gd name="connsiteX34" fmla="*/ 1676400 w 2162175"/>
                    <a:gd name="connsiteY34" fmla="*/ 388144 h 1931194"/>
                    <a:gd name="connsiteX35" fmla="*/ 1657350 w 2162175"/>
                    <a:gd name="connsiteY35" fmla="*/ 197644 h 1931194"/>
                    <a:gd name="connsiteX0" fmla="*/ 1657350 w 2162175"/>
                    <a:gd name="connsiteY0" fmla="*/ 197644 h 1931194"/>
                    <a:gd name="connsiteX1" fmla="*/ 1333500 w 2162175"/>
                    <a:gd name="connsiteY1" fmla="*/ 178594 h 1931194"/>
                    <a:gd name="connsiteX2" fmla="*/ 1083469 w 2162175"/>
                    <a:gd name="connsiteY2" fmla="*/ 297656 h 1931194"/>
                    <a:gd name="connsiteX3" fmla="*/ 1042988 w 2162175"/>
                    <a:gd name="connsiteY3" fmla="*/ 254794 h 1931194"/>
                    <a:gd name="connsiteX4" fmla="*/ 916781 w 2162175"/>
                    <a:gd name="connsiteY4" fmla="*/ 166688 h 1931194"/>
                    <a:gd name="connsiteX5" fmla="*/ 738188 w 2162175"/>
                    <a:gd name="connsiteY5" fmla="*/ 119063 h 1931194"/>
                    <a:gd name="connsiteX6" fmla="*/ 642937 w 2162175"/>
                    <a:gd name="connsiteY6" fmla="*/ 38101 h 1931194"/>
                    <a:gd name="connsiteX7" fmla="*/ 533400 w 2162175"/>
                    <a:gd name="connsiteY7" fmla="*/ 0 h 1931194"/>
                    <a:gd name="connsiteX8" fmla="*/ 371475 w 2162175"/>
                    <a:gd name="connsiteY8" fmla="*/ 26194 h 1931194"/>
                    <a:gd name="connsiteX9" fmla="*/ 371475 w 2162175"/>
                    <a:gd name="connsiteY9" fmla="*/ 140494 h 1931194"/>
                    <a:gd name="connsiteX10" fmla="*/ 200025 w 2162175"/>
                    <a:gd name="connsiteY10" fmla="*/ 283369 h 1931194"/>
                    <a:gd name="connsiteX11" fmla="*/ 247650 w 2162175"/>
                    <a:gd name="connsiteY11" fmla="*/ 416719 h 1931194"/>
                    <a:gd name="connsiteX12" fmla="*/ 238125 w 2162175"/>
                    <a:gd name="connsiteY12" fmla="*/ 626269 h 1931194"/>
                    <a:gd name="connsiteX13" fmla="*/ 247650 w 2162175"/>
                    <a:gd name="connsiteY13" fmla="*/ 797719 h 1931194"/>
                    <a:gd name="connsiteX14" fmla="*/ 228600 w 2162175"/>
                    <a:gd name="connsiteY14" fmla="*/ 902494 h 1931194"/>
                    <a:gd name="connsiteX15" fmla="*/ 104775 w 2162175"/>
                    <a:gd name="connsiteY15" fmla="*/ 978694 h 1931194"/>
                    <a:gd name="connsiteX16" fmla="*/ 123825 w 2162175"/>
                    <a:gd name="connsiteY16" fmla="*/ 1045369 h 1931194"/>
                    <a:gd name="connsiteX17" fmla="*/ 19050 w 2162175"/>
                    <a:gd name="connsiteY17" fmla="*/ 1302544 h 1931194"/>
                    <a:gd name="connsiteX18" fmla="*/ 0 w 2162175"/>
                    <a:gd name="connsiteY18" fmla="*/ 1616869 h 1931194"/>
                    <a:gd name="connsiteX19" fmla="*/ 276225 w 2162175"/>
                    <a:gd name="connsiteY19" fmla="*/ 1674019 h 1931194"/>
                    <a:gd name="connsiteX20" fmla="*/ 619125 w 2162175"/>
                    <a:gd name="connsiteY20" fmla="*/ 1835944 h 1931194"/>
                    <a:gd name="connsiteX21" fmla="*/ 895350 w 2162175"/>
                    <a:gd name="connsiteY21" fmla="*/ 1931194 h 1931194"/>
                    <a:gd name="connsiteX22" fmla="*/ 1409700 w 2162175"/>
                    <a:gd name="connsiteY22" fmla="*/ 1826419 h 1931194"/>
                    <a:gd name="connsiteX23" fmla="*/ 2028825 w 2162175"/>
                    <a:gd name="connsiteY23" fmla="*/ 1674019 h 1931194"/>
                    <a:gd name="connsiteX24" fmla="*/ 2162175 w 2162175"/>
                    <a:gd name="connsiteY24" fmla="*/ 1378744 h 1931194"/>
                    <a:gd name="connsiteX25" fmla="*/ 2009775 w 2162175"/>
                    <a:gd name="connsiteY25" fmla="*/ 1302544 h 1931194"/>
                    <a:gd name="connsiteX26" fmla="*/ 1924050 w 2162175"/>
                    <a:gd name="connsiteY26" fmla="*/ 1216819 h 1931194"/>
                    <a:gd name="connsiteX27" fmla="*/ 1914525 w 2162175"/>
                    <a:gd name="connsiteY27" fmla="*/ 1073944 h 1931194"/>
                    <a:gd name="connsiteX28" fmla="*/ 1866900 w 2162175"/>
                    <a:gd name="connsiteY28" fmla="*/ 950119 h 1931194"/>
                    <a:gd name="connsiteX29" fmla="*/ 1819275 w 2162175"/>
                    <a:gd name="connsiteY29" fmla="*/ 854869 h 1931194"/>
                    <a:gd name="connsiteX30" fmla="*/ 1790700 w 2162175"/>
                    <a:gd name="connsiteY30" fmla="*/ 778669 h 1931194"/>
                    <a:gd name="connsiteX31" fmla="*/ 1743075 w 2162175"/>
                    <a:gd name="connsiteY31" fmla="*/ 654844 h 1931194"/>
                    <a:gd name="connsiteX32" fmla="*/ 1704975 w 2162175"/>
                    <a:gd name="connsiteY32" fmla="*/ 578644 h 1931194"/>
                    <a:gd name="connsiteX33" fmla="*/ 1619250 w 2162175"/>
                    <a:gd name="connsiteY33" fmla="*/ 531019 h 1931194"/>
                    <a:gd name="connsiteX34" fmla="*/ 1676400 w 2162175"/>
                    <a:gd name="connsiteY34" fmla="*/ 388144 h 1931194"/>
                    <a:gd name="connsiteX35" fmla="*/ 1657350 w 2162175"/>
                    <a:gd name="connsiteY35" fmla="*/ 197644 h 1931194"/>
                    <a:gd name="connsiteX0" fmla="*/ 1516856 w 2162175"/>
                    <a:gd name="connsiteY0" fmla="*/ 240506 h 1931194"/>
                    <a:gd name="connsiteX1" fmla="*/ 1333500 w 2162175"/>
                    <a:gd name="connsiteY1" fmla="*/ 178594 h 1931194"/>
                    <a:gd name="connsiteX2" fmla="*/ 1083469 w 2162175"/>
                    <a:gd name="connsiteY2" fmla="*/ 297656 h 1931194"/>
                    <a:gd name="connsiteX3" fmla="*/ 1042988 w 2162175"/>
                    <a:gd name="connsiteY3" fmla="*/ 254794 h 1931194"/>
                    <a:gd name="connsiteX4" fmla="*/ 916781 w 2162175"/>
                    <a:gd name="connsiteY4" fmla="*/ 166688 h 1931194"/>
                    <a:gd name="connsiteX5" fmla="*/ 738188 w 2162175"/>
                    <a:gd name="connsiteY5" fmla="*/ 119063 h 1931194"/>
                    <a:gd name="connsiteX6" fmla="*/ 642937 w 2162175"/>
                    <a:gd name="connsiteY6" fmla="*/ 38101 h 1931194"/>
                    <a:gd name="connsiteX7" fmla="*/ 533400 w 2162175"/>
                    <a:gd name="connsiteY7" fmla="*/ 0 h 1931194"/>
                    <a:gd name="connsiteX8" fmla="*/ 371475 w 2162175"/>
                    <a:gd name="connsiteY8" fmla="*/ 26194 h 1931194"/>
                    <a:gd name="connsiteX9" fmla="*/ 371475 w 2162175"/>
                    <a:gd name="connsiteY9" fmla="*/ 140494 h 1931194"/>
                    <a:gd name="connsiteX10" fmla="*/ 200025 w 2162175"/>
                    <a:gd name="connsiteY10" fmla="*/ 283369 h 1931194"/>
                    <a:gd name="connsiteX11" fmla="*/ 247650 w 2162175"/>
                    <a:gd name="connsiteY11" fmla="*/ 416719 h 1931194"/>
                    <a:gd name="connsiteX12" fmla="*/ 238125 w 2162175"/>
                    <a:gd name="connsiteY12" fmla="*/ 626269 h 1931194"/>
                    <a:gd name="connsiteX13" fmla="*/ 247650 w 2162175"/>
                    <a:gd name="connsiteY13" fmla="*/ 797719 h 1931194"/>
                    <a:gd name="connsiteX14" fmla="*/ 228600 w 2162175"/>
                    <a:gd name="connsiteY14" fmla="*/ 902494 h 1931194"/>
                    <a:gd name="connsiteX15" fmla="*/ 104775 w 2162175"/>
                    <a:gd name="connsiteY15" fmla="*/ 978694 h 1931194"/>
                    <a:gd name="connsiteX16" fmla="*/ 123825 w 2162175"/>
                    <a:gd name="connsiteY16" fmla="*/ 1045369 h 1931194"/>
                    <a:gd name="connsiteX17" fmla="*/ 19050 w 2162175"/>
                    <a:gd name="connsiteY17" fmla="*/ 1302544 h 1931194"/>
                    <a:gd name="connsiteX18" fmla="*/ 0 w 2162175"/>
                    <a:gd name="connsiteY18" fmla="*/ 1616869 h 1931194"/>
                    <a:gd name="connsiteX19" fmla="*/ 276225 w 2162175"/>
                    <a:gd name="connsiteY19" fmla="*/ 1674019 h 1931194"/>
                    <a:gd name="connsiteX20" fmla="*/ 619125 w 2162175"/>
                    <a:gd name="connsiteY20" fmla="*/ 1835944 h 1931194"/>
                    <a:gd name="connsiteX21" fmla="*/ 895350 w 2162175"/>
                    <a:gd name="connsiteY21" fmla="*/ 1931194 h 1931194"/>
                    <a:gd name="connsiteX22" fmla="*/ 1409700 w 2162175"/>
                    <a:gd name="connsiteY22" fmla="*/ 1826419 h 1931194"/>
                    <a:gd name="connsiteX23" fmla="*/ 2028825 w 2162175"/>
                    <a:gd name="connsiteY23" fmla="*/ 1674019 h 1931194"/>
                    <a:gd name="connsiteX24" fmla="*/ 2162175 w 2162175"/>
                    <a:gd name="connsiteY24" fmla="*/ 1378744 h 1931194"/>
                    <a:gd name="connsiteX25" fmla="*/ 2009775 w 2162175"/>
                    <a:gd name="connsiteY25" fmla="*/ 1302544 h 1931194"/>
                    <a:gd name="connsiteX26" fmla="*/ 1924050 w 2162175"/>
                    <a:gd name="connsiteY26" fmla="*/ 1216819 h 1931194"/>
                    <a:gd name="connsiteX27" fmla="*/ 1914525 w 2162175"/>
                    <a:gd name="connsiteY27" fmla="*/ 1073944 h 1931194"/>
                    <a:gd name="connsiteX28" fmla="*/ 1866900 w 2162175"/>
                    <a:gd name="connsiteY28" fmla="*/ 950119 h 1931194"/>
                    <a:gd name="connsiteX29" fmla="*/ 1819275 w 2162175"/>
                    <a:gd name="connsiteY29" fmla="*/ 854869 h 1931194"/>
                    <a:gd name="connsiteX30" fmla="*/ 1790700 w 2162175"/>
                    <a:gd name="connsiteY30" fmla="*/ 778669 h 1931194"/>
                    <a:gd name="connsiteX31" fmla="*/ 1743075 w 2162175"/>
                    <a:gd name="connsiteY31" fmla="*/ 654844 h 1931194"/>
                    <a:gd name="connsiteX32" fmla="*/ 1704975 w 2162175"/>
                    <a:gd name="connsiteY32" fmla="*/ 578644 h 1931194"/>
                    <a:gd name="connsiteX33" fmla="*/ 1619250 w 2162175"/>
                    <a:gd name="connsiteY33" fmla="*/ 531019 h 1931194"/>
                    <a:gd name="connsiteX34" fmla="*/ 1676400 w 2162175"/>
                    <a:gd name="connsiteY34" fmla="*/ 388144 h 1931194"/>
                    <a:gd name="connsiteX35" fmla="*/ 1516856 w 2162175"/>
                    <a:gd name="connsiteY35" fmla="*/ 240506 h 1931194"/>
                    <a:gd name="connsiteX0" fmla="*/ 1516856 w 2162175"/>
                    <a:gd name="connsiteY0" fmla="*/ 240506 h 1931194"/>
                    <a:gd name="connsiteX1" fmla="*/ 1250157 w 2162175"/>
                    <a:gd name="connsiteY1" fmla="*/ 304800 h 1931194"/>
                    <a:gd name="connsiteX2" fmla="*/ 1083469 w 2162175"/>
                    <a:gd name="connsiteY2" fmla="*/ 297656 h 1931194"/>
                    <a:gd name="connsiteX3" fmla="*/ 1042988 w 2162175"/>
                    <a:gd name="connsiteY3" fmla="*/ 254794 h 1931194"/>
                    <a:gd name="connsiteX4" fmla="*/ 916781 w 2162175"/>
                    <a:gd name="connsiteY4" fmla="*/ 166688 h 1931194"/>
                    <a:gd name="connsiteX5" fmla="*/ 738188 w 2162175"/>
                    <a:gd name="connsiteY5" fmla="*/ 119063 h 1931194"/>
                    <a:gd name="connsiteX6" fmla="*/ 642937 w 2162175"/>
                    <a:gd name="connsiteY6" fmla="*/ 38101 h 1931194"/>
                    <a:gd name="connsiteX7" fmla="*/ 533400 w 2162175"/>
                    <a:gd name="connsiteY7" fmla="*/ 0 h 1931194"/>
                    <a:gd name="connsiteX8" fmla="*/ 371475 w 2162175"/>
                    <a:gd name="connsiteY8" fmla="*/ 26194 h 1931194"/>
                    <a:gd name="connsiteX9" fmla="*/ 371475 w 2162175"/>
                    <a:gd name="connsiteY9" fmla="*/ 140494 h 1931194"/>
                    <a:gd name="connsiteX10" fmla="*/ 200025 w 2162175"/>
                    <a:gd name="connsiteY10" fmla="*/ 283369 h 1931194"/>
                    <a:gd name="connsiteX11" fmla="*/ 247650 w 2162175"/>
                    <a:gd name="connsiteY11" fmla="*/ 416719 h 1931194"/>
                    <a:gd name="connsiteX12" fmla="*/ 238125 w 2162175"/>
                    <a:gd name="connsiteY12" fmla="*/ 626269 h 1931194"/>
                    <a:gd name="connsiteX13" fmla="*/ 247650 w 2162175"/>
                    <a:gd name="connsiteY13" fmla="*/ 797719 h 1931194"/>
                    <a:gd name="connsiteX14" fmla="*/ 228600 w 2162175"/>
                    <a:gd name="connsiteY14" fmla="*/ 902494 h 1931194"/>
                    <a:gd name="connsiteX15" fmla="*/ 104775 w 2162175"/>
                    <a:gd name="connsiteY15" fmla="*/ 978694 h 1931194"/>
                    <a:gd name="connsiteX16" fmla="*/ 123825 w 2162175"/>
                    <a:gd name="connsiteY16" fmla="*/ 1045369 h 1931194"/>
                    <a:gd name="connsiteX17" fmla="*/ 19050 w 2162175"/>
                    <a:gd name="connsiteY17" fmla="*/ 1302544 h 1931194"/>
                    <a:gd name="connsiteX18" fmla="*/ 0 w 2162175"/>
                    <a:gd name="connsiteY18" fmla="*/ 1616869 h 1931194"/>
                    <a:gd name="connsiteX19" fmla="*/ 276225 w 2162175"/>
                    <a:gd name="connsiteY19" fmla="*/ 1674019 h 1931194"/>
                    <a:gd name="connsiteX20" fmla="*/ 619125 w 2162175"/>
                    <a:gd name="connsiteY20" fmla="*/ 1835944 h 1931194"/>
                    <a:gd name="connsiteX21" fmla="*/ 895350 w 2162175"/>
                    <a:gd name="connsiteY21" fmla="*/ 1931194 h 1931194"/>
                    <a:gd name="connsiteX22" fmla="*/ 1409700 w 2162175"/>
                    <a:gd name="connsiteY22" fmla="*/ 1826419 h 1931194"/>
                    <a:gd name="connsiteX23" fmla="*/ 2028825 w 2162175"/>
                    <a:gd name="connsiteY23" fmla="*/ 1674019 h 1931194"/>
                    <a:gd name="connsiteX24" fmla="*/ 2162175 w 2162175"/>
                    <a:gd name="connsiteY24" fmla="*/ 1378744 h 1931194"/>
                    <a:gd name="connsiteX25" fmla="*/ 2009775 w 2162175"/>
                    <a:gd name="connsiteY25" fmla="*/ 1302544 h 1931194"/>
                    <a:gd name="connsiteX26" fmla="*/ 1924050 w 2162175"/>
                    <a:gd name="connsiteY26" fmla="*/ 1216819 h 1931194"/>
                    <a:gd name="connsiteX27" fmla="*/ 1914525 w 2162175"/>
                    <a:gd name="connsiteY27" fmla="*/ 1073944 h 1931194"/>
                    <a:gd name="connsiteX28" fmla="*/ 1866900 w 2162175"/>
                    <a:gd name="connsiteY28" fmla="*/ 950119 h 1931194"/>
                    <a:gd name="connsiteX29" fmla="*/ 1819275 w 2162175"/>
                    <a:gd name="connsiteY29" fmla="*/ 854869 h 1931194"/>
                    <a:gd name="connsiteX30" fmla="*/ 1790700 w 2162175"/>
                    <a:gd name="connsiteY30" fmla="*/ 778669 h 1931194"/>
                    <a:gd name="connsiteX31" fmla="*/ 1743075 w 2162175"/>
                    <a:gd name="connsiteY31" fmla="*/ 654844 h 1931194"/>
                    <a:gd name="connsiteX32" fmla="*/ 1704975 w 2162175"/>
                    <a:gd name="connsiteY32" fmla="*/ 578644 h 1931194"/>
                    <a:gd name="connsiteX33" fmla="*/ 1619250 w 2162175"/>
                    <a:gd name="connsiteY33" fmla="*/ 531019 h 1931194"/>
                    <a:gd name="connsiteX34" fmla="*/ 1676400 w 2162175"/>
                    <a:gd name="connsiteY34" fmla="*/ 388144 h 1931194"/>
                    <a:gd name="connsiteX35" fmla="*/ 1516856 w 2162175"/>
                    <a:gd name="connsiteY35" fmla="*/ 240506 h 1931194"/>
                    <a:gd name="connsiteX0" fmla="*/ 1516856 w 2162175"/>
                    <a:gd name="connsiteY0" fmla="*/ 240506 h 1931194"/>
                    <a:gd name="connsiteX1" fmla="*/ 1250157 w 2162175"/>
                    <a:gd name="connsiteY1" fmla="*/ 304800 h 1931194"/>
                    <a:gd name="connsiteX2" fmla="*/ 1145381 w 2162175"/>
                    <a:gd name="connsiteY2" fmla="*/ 300038 h 1931194"/>
                    <a:gd name="connsiteX3" fmla="*/ 1083469 w 2162175"/>
                    <a:gd name="connsiteY3" fmla="*/ 297656 h 1931194"/>
                    <a:gd name="connsiteX4" fmla="*/ 1042988 w 2162175"/>
                    <a:gd name="connsiteY4" fmla="*/ 254794 h 1931194"/>
                    <a:gd name="connsiteX5" fmla="*/ 916781 w 2162175"/>
                    <a:gd name="connsiteY5" fmla="*/ 166688 h 1931194"/>
                    <a:gd name="connsiteX6" fmla="*/ 738188 w 2162175"/>
                    <a:gd name="connsiteY6" fmla="*/ 119063 h 1931194"/>
                    <a:gd name="connsiteX7" fmla="*/ 642937 w 2162175"/>
                    <a:gd name="connsiteY7" fmla="*/ 38101 h 1931194"/>
                    <a:gd name="connsiteX8" fmla="*/ 533400 w 2162175"/>
                    <a:gd name="connsiteY8" fmla="*/ 0 h 1931194"/>
                    <a:gd name="connsiteX9" fmla="*/ 371475 w 2162175"/>
                    <a:gd name="connsiteY9" fmla="*/ 26194 h 1931194"/>
                    <a:gd name="connsiteX10" fmla="*/ 371475 w 2162175"/>
                    <a:gd name="connsiteY10" fmla="*/ 140494 h 1931194"/>
                    <a:gd name="connsiteX11" fmla="*/ 200025 w 2162175"/>
                    <a:gd name="connsiteY11" fmla="*/ 283369 h 1931194"/>
                    <a:gd name="connsiteX12" fmla="*/ 247650 w 2162175"/>
                    <a:gd name="connsiteY12" fmla="*/ 416719 h 1931194"/>
                    <a:gd name="connsiteX13" fmla="*/ 238125 w 2162175"/>
                    <a:gd name="connsiteY13" fmla="*/ 626269 h 1931194"/>
                    <a:gd name="connsiteX14" fmla="*/ 247650 w 2162175"/>
                    <a:gd name="connsiteY14" fmla="*/ 797719 h 1931194"/>
                    <a:gd name="connsiteX15" fmla="*/ 228600 w 2162175"/>
                    <a:gd name="connsiteY15" fmla="*/ 902494 h 1931194"/>
                    <a:gd name="connsiteX16" fmla="*/ 104775 w 2162175"/>
                    <a:gd name="connsiteY16" fmla="*/ 978694 h 1931194"/>
                    <a:gd name="connsiteX17" fmla="*/ 123825 w 2162175"/>
                    <a:gd name="connsiteY17" fmla="*/ 1045369 h 1931194"/>
                    <a:gd name="connsiteX18" fmla="*/ 19050 w 2162175"/>
                    <a:gd name="connsiteY18" fmla="*/ 1302544 h 1931194"/>
                    <a:gd name="connsiteX19" fmla="*/ 0 w 2162175"/>
                    <a:gd name="connsiteY19" fmla="*/ 1616869 h 1931194"/>
                    <a:gd name="connsiteX20" fmla="*/ 276225 w 2162175"/>
                    <a:gd name="connsiteY20" fmla="*/ 1674019 h 1931194"/>
                    <a:gd name="connsiteX21" fmla="*/ 619125 w 2162175"/>
                    <a:gd name="connsiteY21" fmla="*/ 1835944 h 1931194"/>
                    <a:gd name="connsiteX22" fmla="*/ 895350 w 2162175"/>
                    <a:gd name="connsiteY22" fmla="*/ 1931194 h 1931194"/>
                    <a:gd name="connsiteX23" fmla="*/ 1409700 w 2162175"/>
                    <a:gd name="connsiteY23" fmla="*/ 1826419 h 1931194"/>
                    <a:gd name="connsiteX24" fmla="*/ 2028825 w 2162175"/>
                    <a:gd name="connsiteY24" fmla="*/ 1674019 h 1931194"/>
                    <a:gd name="connsiteX25" fmla="*/ 2162175 w 2162175"/>
                    <a:gd name="connsiteY25" fmla="*/ 1378744 h 1931194"/>
                    <a:gd name="connsiteX26" fmla="*/ 2009775 w 2162175"/>
                    <a:gd name="connsiteY26" fmla="*/ 1302544 h 1931194"/>
                    <a:gd name="connsiteX27" fmla="*/ 1924050 w 2162175"/>
                    <a:gd name="connsiteY27" fmla="*/ 1216819 h 1931194"/>
                    <a:gd name="connsiteX28" fmla="*/ 1914525 w 2162175"/>
                    <a:gd name="connsiteY28" fmla="*/ 1073944 h 1931194"/>
                    <a:gd name="connsiteX29" fmla="*/ 1866900 w 2162175"/>
                    <a:gd name="connsiteY29" fmla="*/ 950119 h 1931194"/>
                    <a:gd name="connsiteX30" fmla="*/ 1819275 w 2162175"/>
                    <a:gd name="connsiteY30" fmla="*/ 854869 h 1931194"/>
                    <a:gd name="connsiteX31" fmla="*/ 1790700 w 2162175"/>
                    <a:gd name="connsiteY31" fmla="*/ 778669 h 1931194"/>
                    <a:gd name="connsiteX32" fmla="*/ 1743075 w 2162175"/>
                    <a:gd name="connsiteY32" fmla="*/ 654844 h 1931194"/>
                    <a:gd name="connsiteX33" fmla="*/ 1704975 w 2162175"/>
                    <a:gd name="connsiteY33" fmla="*/ 578644 h 1931194"/>
                    <a:gd name="connsiteX34" fmla="*/ 1619250 w 2162175"/>
                    <a:gd name="connsiteY34" fmla="*/ 531019 h 1931194"/>
                    <a:gd name="connsiteX35" fmla="*/ 1676400 w 2162175"/>
                    <a:gd name="connsiteY35" fmla="*/ 388144 h 1931194"/>
                    <a:gd name="connsiteX36" fmla="*/ 1516856 w 2162175"/>
                    <a:gd name="connsiteY36" fmla="*/ 240506 h 1931194"/>
                    <a:gd name="connsiteX0" fmla="*/ 1516856 w 2162175"/>
                    <a:gd name="connsiteY0" fmla="*/ 240506 h 1931194"/>
                    <a:gd name="connsiteX1" fmla="*/ 1250157 w 2162175"/>
                    <a:gd name="connsiteY1" fmla="*/ 304800 h 1931194"/>
                    <a:gd name="connsiteX2" fmla="*/ 1088231 w 2162175"/>
                    <a:gd name="connsiteY2" fmla="*/ 361951 h 1931194"/>
                    <a:gd name="connsiteX3" fmla="*/ 1083469 w 2162175"/>
                    <a:gd name="connsiteY3" fmla="*/ 297656 h 1931194"/>
                    <a:gd name="connsiteX4" fmla="*/ 1042988 w 2162175"/>
                    <a:gd name="connsiteY4" fmla="*/ 254794 h 1931194"/>
                    <a:gd name="connsiteX5" fmla="*/ 916781 w 2162175"/>
                    <a:gd name="connsiteY5" fmla="*/ 166688 h 1931194"/>
                    <a:gd name="connsiteX6" fmla="*/ 738188 w 2162175"/>
                    <a:gd name="connsiteY6" fmla="*/ 119063 h 1931194"/>
                    <a:gd name="connsiteX7" fmla="*/ 642937 w 2162175"/>
                    <a:gd name="connsiteY7" fmla="*/ 38101 h 1931194"/>
                    <a:gd name="connsiteX8" fmla="*/ 533400 w 2162175"/>
                    <a:gd name="connsiteY8" fmla="*/ 0 h 1931194"/>
                    <a:gd name="connsiteX9" fmla="*/ 371475 w 2162175"/>
                    <a:gd name="connsiteY9" fmla="*/ 26194 h 1931194"/>
                    <a:gd name="connsiteX10" fmla="*/ 371475 w 2162175"/>
                    <a:gd name="connsiteY10" fmla="*/ 140494 h 1931194"/>
                    <a:gd name="connsiteX11" fmla="*/ 200025 w 2162175"/>
                    <a:gd name="connsiteY11" fmla="*/ 283369 h 1931194"/>
                    <a:gd name="connsiteX12" fmla="*/ 247650 w 2162175"/>
                    <a:gd name="connsiteY12" fmla="*/ 416719 h 1931194"/>
                    <a:gd name="connsiteX13" fmla="*/ 238125 w 2162175"/>
                    <a:gd name="connsiteY13" fmla="*/ 626269 h 1931194"/>
                    <a:gd name="connsiteX14" fmla="*/ 247650 w 2162175"/>
                    <a:gd name="connsiteY14" fmla="*/ 797719 h 1931194"/>
                    <a:gd name="connsiteX15" fmla="*/ 228600 w 2162175"/>
                    <a:gd name="connsiteY15" fmla="*/ 902494 h 1931194"/>
                    <a:gd name="connsiteX16" fmla="*/ 104775 w 2162175"/>
                    <a:gd name="connsiteY16" fmla="*/ 978694 h 1931194"/>
                    <a:gd name="connsiteX17" fmla="*/ 123825 w 2162175"/>
                    <a:gd name="connsiteY17" fmla="*/ 1045369 h 1931194"/>
                    <a:gd name="connsiteX18" fmla="*/ 19050 w 2162175"/>
                    <a:gd name="connsiteY18" fmla="*/ 1302544 h 1931194"/>
                    <a:gd name="connsiteX19" fmla="*/ 0 w 2162175"/>
                    <a:gd name="connsiteY19" fmla="*/ 1616869 h 1931194"/>
                    <a:gd name="connsiteX20" fmla="*/ 276225 w 2162175"/>
                    <a:gd name="connsiteY20" fmla="*/ 1674019 h 1931194"/>
                    <a:gd name="connsiteX21" fmla="*/ 619125 w 2162175"/>
                    <a:gd name="connsiteY21" fmla="*/ 1835944 h 1931194"/>
                    <a:gd name="connsiteX22" fmla="*/ 895350 w 2162175"/>
                    <a:gd name="connsiteY22" fmla="*/ 1931194 h 1931194"/>
                    <a:gd name="connsiteX23" fmla="*/ 1409700 w 2162175"/>
                    <a:gd name="connsiteY23" fmla="*/ 1826419 h 1931194"/>
                    <a:gd name="connsiteX24" fmla="*/ 2028825 w 2162175"/>
                    <a:gd name="connsiteY24" fmla="*/ 1674019 h 1931194"/>
                    <a:gd name="connsiteX25" fmla="*/ 2162175 w 2162175"/>
                    <a:gd name="connsiteY25" fmla="*/ 1378744 h 1931194"/>
                    <a:gd name="connsiteX26" fmla="*/ 2009775 w 2162175"/>
                    <a:gd name="connsiteY26" fmla="*/ 1302544 h 1931194"/>
                    <a:gd name="connsiteX27" fmla="*/ 1924050 w 2162175"/>
                    <a:gd name="connsiteY27" fmla="*/ 1216819 h 1931194"/>
                    <a:gd name="connsiteX28" fmla="*/ 1914525 w 2162175"/>
                    <a:gd name="connsiteY28" fmla="*/ 1073944 h 1931194"/>
                    <a:gd name="connsiteX29" fmla="*/ 1866900 w 2162175"/>
                    <a:gd name="connsiteY29" fmla="*/ 950119 h 1931194"/>
                    <a:gd name="connsiteX30" fmla="*/ 1819275 w 2162175"/>
                    <a:gd name="connsiteY30" fmla="*/ 854869 h 1931194"/>
                    <a:gd name="connsiteX31" fmla="*/ 1790700 w 2162175"/>
                    <a:gd name="connsiteY31" fmla="*/ 778669 h 1931194"/>
                    <a:gd name="connsiteX32" fmla="*/ 1743075 w 2162175"/>
                    <a:gd name="connsiteY32" fmla="*/ 654844 h 1931194"/>
                    <a:gd name="connsiteX33" fmla="*/ 1704975 w 2162175"/>
                    <a:gd name="connsiteY33" fmla="*/ 578644 h 1931194"/>
                    <a:gd name="connsiteX34" fmla="*/ 1619250 w 2162175"/>
                    <a:gd name="connsiteY34" fmla="*/ 531019 h 1931194"/>
                    <a:gd name="connsiteX35" fmla="*/ 1676400 w 2162175"/>
                    <a:gd name="connsiteY35" fmla="*/ 388144 h 1931194"/>
                    <a:gd name="connsiteX36" fmla="*/ 1516856 w 2162175"/>
                    <a:gd name="connsiteY36" fmla="*/ 240506 h 1931194"/>
                    <a:gd name="connsiteX0" fmla="*/ 1516856 w 2162175"/>
                    <a:gd name="connsiteY0" fmla="*/ 240506 h 1931194"/>
                    <a:gd name="connsiteX1" fmla="*/ 1250157 w 2162175"/>
                    <a:gd name="connsiteY1" fmla="*/ 304800 h 1931194"/>
                    <a:gd name="connsiteX2" fmla="*/ 1176338 w 2162175"/>
                    <a:gd name="connsiteY2" fmla="*/ 333375 h 1931194"/>
                    <a:gd name="connsiteX3" fmla="*/ 1088231 w 2162175"/>
                    <a:gd name="connsiteY3" fmla="*/ 361951 h 1931194"/>
                    <a:gd name="connsiteX4" fmla="*/ 1083469 w 2162175"/>
                    <a:gd name="connsiteY4" fmla="*/ 297656 h 1931194"/>
                    <a:gd name="connsiteX5" fmla="*/ 1042988 w 2162175"/>
                    <a:gd name="connsiteY5" fmla="*/ 254794 h 1931194"/>
                    <a:gd name="connsiteX6" fmla="*/ 916781 w 2162175"/>
                    <a:gd name="connsiteY6" fmla="*/ 166688 h 1931194"/>
                    <a:gd name="connsiteX7" fmla="*/ 738188 w 2162175"/>
                    <a:gd name="connsiteY7" fmla="*/ 119063 h 1931194"/>
                    <a:gd name="connsiteX8" fmla="*/ 642937 w 2162175"/>
                    <a:gd name="connsiteY8" fmla="*/ 38101 h 1931194"/>
                    <a:gd name="connsiteX9" fmla="*/ 533400 w 2162175"/>
                    <a:gd name="connsiteY9" fmla="*/ 0 h 1931194"/>
                    <a:gd name="connsiteX10" fmla="*/ 371475 w 2162175"/>
                    <a:gd name="connsiteY10" fmla="*/ 26194 h 1931194"/>
                    <a:gd name="connsiteX11" fmla="*/ 371475 w 2162175"/>
                    <a:gd name="connsiteY11" fmla="*/ 140494 h 1931194"/>
                    <a:gd name="connsiteX12" fmla="*/ 200025 w 2162175"/>
                    <a:gd name="connsiteY12" fmla="*/ 283369 h 1931194"/>
                    <a:gd name="connsiteX13" fmla="*/ 247650 w 2162175"/>
                    <a:gd name="connsiteY13" fmla="*/ 416719 h 1931194"/>
                    <a:gd name="connsiteX14" fmla="*/ 238125 w 2162175"/>
                    <a:gd name="connsiteY14" fmla="*/ 626269 h 1931194"/>
                    <a:gd name="connsiteX15" fmla="*/ 247650 w 2162175"/>
                    <a:gd name="connsiteY15" fmla="*/ 797719 h 1931194"/>
                    <a:gd name="connsiteX16" fmla="*/ 228600 w 2162175"/>
                    <a:gd name="connsiteY16" fmla="*/ 902494 h 1931194"/>
                    <a:gd name="connsiteX17" fmla="*/ 104775 w 2162175"/>
                    <a:gd name="connsiteY17" fmla="*/ 978694 h 1931194"/>
                    <a:gd name="connsiteX18" fmla="*/ 123825 w 2162175"/>
                    <a:gd name="connsiteY18" fmla="*/ 1045369 h 1931194"/>
                    <a:gd name="connsiteX19" fmla="*/ 19050 w 2162175"/>
                    <a:gd name="connsiteY19" fmla="*/ 1302544 h 1931194"/>
                    <a:gd name="connsiteX20" fmla="*/ 0 w 2162175"/>
                    <a:gd name="connsiteY20" fmla="*/ 1616869 h 1931194"/>
                    <a:gd name="connsiteX21" fmla="*/ 276225 w 2162175"/>
                    <a:gd name="connsiteY21" fmla="*/ 1674019 h 1931194"/>
                    <a:gd name="connsiteX22" fmla="*/ 619125 w 2162175"/>
                    <a:gd name="connsiteY22" fmla="*/ 1835944 h 1931194"/>
                    <a:gd name="connsiteX23" fmla="*/ 895350 w 2162175"/>
                    <a:gd name="connsiteY23" fmla="*/ 1931194 h 1931194"/>
                    <a:gd name="connsiteX24" fmla="*/ 1409700 w 2162175"/>
                    <a:gd name="connsiteY24" fmla="*/ 1826419 h 1931194"/>
                    <a:gd name="connsiteX25" fmla="*/ 2028825 w 2162175"/>
                    <a:gd name="connsiteY25" fmla="*/ 1674019 h 1931194"/>
                    <a:gd name="connsiteX26" fmla="*/ 2162175 w 2162175"/>
                    <a:gd name="connsiteY26" fmla="*/ 1378744 h 1931194"/>
                    <a:gd name="connsiteX27" fmla="*/ 2009775 w 2162175"/>
                    <a:gd name="connsiteY27" fmla="*/ 1302544 h 1931194"/>
                    <a:gd name="connsiteX28" fmla="*/ 1924050 w 2162175"/>
                    <a:gd name="connsiteY28" fmla="*/ 1216819 h 1931194"/>
                    <a:gd name="connsiteX29" fmla="*/ 1914525 w 2162175"/>
                    <a:gd name="connsiteY29" fmla="*/ 1073944 h 1931194"/>
                    <a:gd name="connsiteX30" fmla="*/ 1866900 w 2162175"/>
                    <a:gd name="connsiteY30" fmla="*/ 950119 h 1931194"/>
                    <a:gd name="connsiteX31" fmla="*/ 1819275 w 2162175"/>
                    <a:gd name="connsiteY31" fmla="*/ 854869 h 1931194"/>
                    <a:gd name="connsiteX32" fmla="*/ 1790700 w 2162175"/>
                    <a:gd name="connsiteY32" fmla="*/ 778669 h 1931194"/>
                    <a:gd name="connsiteX33" fmla="*/ 1743075 w 2162175"/>
                    <a:gd name="connsiteY33" fmla="*/ 654844 h 1931194"/>
                    <a:gd name="connsiteX34" fmla="*/ 1704975 w 2162175"/>
                    <a:gd name="connsiteY34" fmla="*/ 578644 h 1931194"/>
                    <a:gd name="connsiteX35" fmla="*/ 1619250 w 2162175"/>
                    <a:gd name="connsiteY35" fmla="*/ 531019 h 1931194"/>
                    <a:gd name="connsiteX36" fmla="*/ 1676400 w 2162175"/>
                    <a:gd name="connsiteY36" fmla="*/ 388144 h 1931194"/>
                    <a:gd name="connsiteX37" fmla="*/ 1516856 w 2162175"/>
                    <a:gd name="connsiteY37" fmla="*/ 240506 h 1931194"/>
                    <a:gd name="connsiteX0" fmla="*/ 1516856 w 2162175"/>
                    <a:gd name="connsiteY0" fmla="*/ 240506 h 1931194"/>
                    <a:gd name="connsiteX1" fmla="*/ 1250157 w 2162175"/>
                    <a:gd name="connsiteY1" fmla="*/ 304800 h 1931194"/>
                    <a:gd name="connsiteX2" fmla="*/ 1133476 w 2162175"/>
                    <a:gd name="connsiteY2" fmla="*/ 381000 h 1931194"/>
                    <a:gd name="connsiteX3" fmla="*/ 1088231 w 2162175"/>
                    <a:gd name="connsiteY3" fmla="*/ 361951 h 1931194"/>
                    <a:gd name="connsiteX4" fmla="*/ 1083469 w 2162175"/>
                    <a:gd name="connsiteY4" fmla="*/ 297656 h 1931194"/>
                    <a:gd name="connsiteX5" fmla="*/ 1042988 w 2162175"/>
                    <a:gd name="connsiteY5" fmla="*/ 254794 h 1931194"/>
                    <a:gd name="connsiteX6" fmla="*/ 916781 w 2162175"/>
                    <a:gd name="connsiteY6" fmla="*/ 166688 h 1931194"/>
                    <a:gd name="connsiteX7" fmla="*/ 738188 w 2162175"/>
                    <a:gd name="connsiteY7" fmla="*/ 119063 h 1931194"/>
                    <a:gd name="connsiteX8" fmla="*/ 642937 w 2162175"/>
                    <a:gd name="connsiteY8" fmla="*/ 38101 h 1931194"/>
                    <a:gd name="connsiteX9" fmla="*/ 533400 w 2162175"/>
                    <a:gd name="connsiteY9" fmla="*/ 0 h 1931194"/>
                    <a:gd name="connsiteX10" fmla="*/ 371475 w 2162175"/>
                    <a:gd name="connsiteY10" fmla="*/ 26194 h 1931194"/>
                    <a:gd name="connsiteX11" fmla="*/ 371475 w 2162175"/>
                    <a:gd name="connsiteY11" fmla="*/ 140494 h 1931194"/>
                    <a:gd name="connsiteX12" fmla="*/ 200025 w 2162175"/>
                    <a:gd name="connsiteY12" fmla="*/ 283369 h 1931194"/>
                    <a:gd name="connsiteX13" fmla="*/ 247650 w 2162175"/>
                    <a:gd name="connsiteY13" fmla="*/ 416719 h 1931194"/>
                    <a:gd name="connsiteX14" fmla="*/ 238125 w 2162175"/>
                    <a:gd name="connsiteY14" fmla="*/ 626269 h 1931194"/>
                    <a:gd name="connsiteX15" fmla="*/ 247650 w 2162175"/>
                    <a:gd name="connsiteY15" fmla="*/ 797719 h 1931194"/>
                    <a:gd name="connsiteX16" fmla="*/ 228600 w 2162175"/>
                    <a:gd name="connsiteY16" fmla="*/ 902494 h 1931194"/>
                    <a:gd name="connsiteX17" fmla="*/ 104775 w 2162175"/>
                    <a:gd name="connsiteY17" fmla="*/ 978694 h 1931194"/>
                    <a:gd name="connsiteX18" fmla="*/ 123825 w 2162175"/>
                    <a:gd name="connsiteY18" fmla="*/ 1045369 h 1931194"/>
                    <a:gd name="connsiteX19" fmla="*/ 19050 w 2162175"/>
                    <a:gd name="connsiteY19" fmla="*/ 1302544 h 1931194"/>
                    <a:gd name="connsiteX20" fmla="*/ 0 w 2162175"/>
                    <a:gd name="connsiteY20" fmla="*/ 1616869 h 1931194"/>
                    <a:gd name="connsiteX21" fmla="*/ 276225 w 2162175"/>
                    <a:gd name="connsiteY21" fmla="*/ 1674019 h 1931194"/>
                    <a:gd name="connsiteX22" fmla="*/ 619125 w 2162175"/>
                    <a:gd name="connsiteY22" fmla="*/ 1835944 h 1931194"/>
                    <a:gd name="connsiteX23" fmla="*/ 895350 w 2162175"/>
                    <a:gd name="connsiteY23" fmla="*/ 1931194 h 1931194"/>
                    <a:gd name="connsiteX24" fmla="*/ 1409700 w 2162175"/>
                    <a:gd name="connsiteY24" fmla="*/ 1826419 h 1931194"/>
                    <a:gd name="connsiteX25" fmla="*/ 2028825 w 2162175"/>
                    <a:gd name="connsiteY25" fmla="*/ 1674019 h 1931194"/>
                    <a:gd name="connsiteX26" fmla="*/ 2162175 w 2162175"/>
                    <a:gd name="connsiteY26" fmla="*/ 1378744 h 1931194"/>
                    <a:gd name="connsiteX27" fmla="*/ 2009775 w 2162175"/>
                    <a:gd name="connsiteY27" fmla="*/ 1302544 h 1931194"/>
                    <a:gd name="connsiteX28" fmla="*/ 1924050 w 2162175"/>
                    <a:gd name="connsiteY28" fmla="*/ 1216819 h 1931194"/>
                    <a:gd name="connsiteX29" fmla="*/ 1914525 w 2162175"/>
                    <a:gd name="connsiteY29" fmla="*/ 1073944 h 1931194"/>
                    <a:gd name="connsiteX30" fmla="*/ 1866900 w 2162175"/>
                    <a:gd name="connsiteY30" fmla="*/ 950119 h 1931194"/>
                    <a:gd name="connsiteX31" fmla="*/ 1819275 w 2162175"/>
                    <a:gd name="connsiteY31" fmla="*/ 854869 h 1931194"/>
                    <a:gd name="connsiteX32" fmla="*/ 1790700 w 2162175"/>
                    <a:gd name="connsiteY32" fmla="*/ 778669 h 1931194"/>
                    <a:gd name="connsiteX33" fmla="*/ 1743075 w 2162175"/>
                    <a:gd name="connsiteY33" fmla="*/ 654844 h 1931194"/>
                    <a:gd name="connsiteX34" fmla="*/ 1704975 w 2162175"/>
                    <a:gd name="connsiteY34" fmla="*/ 578644 h 1931194"/>
                    <a:gd name="connsiteX35" fmla="*/ 1619250 w 2162175"/>
                    <a:gd name="connsiteY35" fmla="*/ 531019 h 1931194"/>
                    <a:gd name="connsiteX36" fmla="*/ 1676400 w 2162175"/>
                    <a:gd name="connsiteY36" fmla="*/ 388144 h 1931194"/>
                    <a:gd name="connsiteX37" fmla="*/ 1516856 w 2162175"/>
                    <a:gd name="connsiteY37" fmla="*/ 240506 h 1931194"/>
                    <a:gd name="connsiteX0" fmla="*/ 1516856 w 2162175"/>
                    <a:gd name="connsiteY0" fmla="*/ 240506 h 1931194"/>
                    <a:gd name="connsiteX1" fmla="*/ 1250157 w 2162175"/>
                    <a:gd name="connsiteY1" fmla="*/ 304800 h 1931194"/>
                    <a:gd name="connsiteX2" fmla="*/ 1214438 w 2162175"/>
                    <a:gd name="connsiteY2" fmla="*/ 330994 h 1931194"/>
                    <a:gd name="connsiteX3" fmla="*/ 1133476 w 2162175"/>
                    <a:gd name="connsiteY3" fmla="*/ 381000 h 1931194"/>
                    <a:gd name="connsiteX4" fmla="*/ 1088231 w 2162175"/>
                    <a:gd name="connsiteY4" fmla="*/ 361951 h 1931194"/>
                    <a:gd name="connsiteX5" fmla="*/ 1083469 w 2162175"/>
                    <a:gd name="connsiteY5" fmla="*/ 297656 h 1931194"/>
                    <a:gd name="connsiteX6" fmla="*/ 1042988 w 2162175"/>
                    <a:gd name="connsiteY6" fmla="*/ 254794 h 1931194"/>
                    <a:gd name="connsiteX7" fmla="*/ 916781 w 2162175"/>
                    <a:gd name="connsiteY7" fmla="*/ 166688 h 1931194"/>
                    <a:gd name="connsiteX8" fmla="*/ 738188 w 2162175"/>
                    <a:gd name="connsiteY8" fmla="*/ 119063 h 1931194"/>
                    <a:gd name="connsiteX9" fmla="*/ 642937 w 2162175"/>
                    <a:gd name="connsiteY9" fmla="*/ 38101 h 1931194"/>
                    <a:gd name="connsiteX10" fmla="*/ 533400 w 2162175"/>
                    <a:gd name="connsiteY10" fmla="*/ 0 h 1931194"/>
                    <a:gd name="connsiteX11" fmla="*/ 371475 w 2162175"/>
                    <a:gd name="connsiteY11" fmla="*/ 26194 h 1931194"/>
                    <a:gd name="connsiteX12" fmla="*/ 371475 w 2162175"/>
                    <a:gd name="connsiteY12" fmla="*/ 140494 h 1931194"/>
                    <a:gd name="connsiteX13" fmla="*/ 200025 w 2162175"/>
                    <a:gd name="connsiteY13" fmla="*/ 283369 h 1931194"/>
                    <a:gd name="connsiteX14" fmla="*/ 247650 w 2162175"/>
                    <a:gd name="connsiteY14" fmla="*/ 416719 h 1931194"/>
                    <a:gd name="connsiteX15" fmla="*/ 238125 w 2162175"/>
                    <a:gd name="connsiteY15" fmla="*/ 626269 h 1931194"/>
                    <a:gd name="connsiteX16" fmla="*/ 247650 w 2162175"/>
                    <a:gd name="connsiteY16" fmla="*/ 797719 h 1931194"/>
                    <a:gd name="connsiteX17" fmla="*/ 228600 w 2162175"/>
                    <a:gd name="connsiteY17" fmla="*/ 902494 h 1931194"/>
                    <a:gd name="connsiteX18" fmla="*/ 104775 w 2162175"/>
                    <a:gd name="connsiteY18" fmla="*/ 978694 h 1931194"/>
                    <a:gd name="connsiteX19" fmla="*/ 123825 w 2162175"/>
                    <a:gd name="connsiteY19" fmla="*/ 1045369 h 1931194"/>
                    <a:gd name="connsiteX20" fmla="*/ 19050 w 2162175"/>
                    <a:gd name="connsiteY20" fmla="*/ 1302544 h 1931194"/>
                    <a:gd name="connsiteX21" fmla="*/ 0 w 2162175"/>
                    <a:gd name="connsiteY21" fmla="*/ 1616869 h 1931194"/>
                    <a:gd name="connsiteX22" fmla="*/ 276225 w 2162175"/>
                    <a:gd name="connsiteY22" fmla="*/ 1674019 h 1931194"/>
                    <a:gd name="connsiteX23" fmla="*/ 619125 w 2162175"/>
                    <a:gd name="connsiteY23" fmla="*/ 1835944 h 1931194"/>
                    <a:gd name="connsiteX24" fmla="*/ 895350 w 2162175"/>
                    <a:gd name="connsiteY24" fmla="*/ 1931194 h 1931194"/>
                    <a:gd name="connsiteX25" fmla="*/ 1409700 w 2162175"/>
                    <a:gd name="connsiteY25" fmla="*/ 1826419 h 1931194"/>
                    <a:gd name="connsiteX26" fmla="*/ 2028825 w 2162175"/>
                    <a:gd name="connsiteY26" fmla="*/ 1674019 h 1931194"/>
                    <a:gd name="connsiteX27" fmla="*/ 2162175 w 2162175"/>
                    <a:gd name="connsiteY27" fmla="*/ 1378744 h 1931194"/>
                    <a:gd name="connsiteX28" fmla="*/ 2009775 w 2162175"/>
                    <a:gd name="connsiteY28" fmla="*/ 1302544 h 1931194"/>
                    <a:gd name="connsiteX29" fmla="*/ 1924050 w 2162175"/>
                    <a:gd name="connsiteY29" fmla="*/ 1216819 h 1931194"/>
                    <a:gd name="connsiteX30" fmla="*/ 1914525 w 2162175"/>
                    <a:gd name="connsiteY30" fmla="*/ 1073944 h 1931194"/>
                    <a:gd name="connsiteX31" fmla="*/ 1866900 w 2162175"/>
                    <a:gd name="connsiteY31" fmla="*/ 950119 h 1931194"/>
                    <a:gd name="connsiteX32" fmla="*/ 1819275 w 2162175"/>
                    <a:gd name="connsiteY32" fmla="*/ 854869 h 1931194"/>
                    <a:gd name="connsiteX33" fmla="*/ 1790700 w 2162175"/>
                    <a:gd name="connsiteY33" fmla="*/ 778669 h 1931194"/>
                    <a:gd name="connsiteX34" fmla="*/ 1743075 w 2162175"/>
                    <a:gd name="connsiteY34" fmla="*/ 654844 h 1931194"/>
                    <a:gd name="connsiteX35" fmla="*/ 1704975 w 2162175"/>
                    <a:gd name="connsiteY35" fmla="*/ 578644 h 1931194"/>
                    <a:gd name="connsiteX36" fmla="*/ 1619250 w 2162175"/>
                    <a:gd name="connsiteY36" fmla="*/ 531019 h 1931194"/>
                    <a:gd name="connsiteX37" fmla="*/ 1676400 w 2162175"/>
                    <a:gd name="connsiteY37" fmla="*/ 388144 h 1931194"/>
                    <a:gd name="connsiteX38" fmla="*/ 1516856 w 2162175"/>
                    <a:gd name="connsiteY38" fmla="*/ 240506 h 1931194"/>
                    <a:gd name="connsiteX0" fmla="*/ 1516856 w 2162175"/>
                    <a:gd name="connsiteY0" fmla="*/ 240506 h 1931194"/>
                    <a:gd name="connsiteX1" fmla="*/ 1250157 w 2162175"/>
                    <a:gd name="connsiteY1" fmla="*/ 304800 h 1931194"/>
                    <a:gd name="connsiteX2" fmla="*/ 1181101 w 2162175"/>
                    <a:gd name="connsiteY2" fmla="*/ 283369 h 1931194"/>
                    <a:gd name="connsiteX3" fmla="*/ 1133476 w 2162175"/>
                    <a:gd name="connsiteY3" fmla="*/ 381000 h 1931194"/>
                    <a:gd name="connsiteX4" fmla="*/ 1088231 w 2162175"/>
                    <a:gd name="connsiteY4" fmla="*/ 361951 h 1931194"/>
                    <a:gd name="connsiteX5" fmla="*/ 1083469 w 2162175"/>
                    <a:gd name="connsiteY5" fmla="*/ 297656 h 1931194"/>
                    <a:gd name="connsiteX6" fmla="*/ 1042988 w 2162175"/>
                    <a:gd name="connsiteY6" fmla="*/ 254794 h 1931194"/>
                    <a:gd name="connsiteX7" fmla="*/ 916781 w 2162175"/>
                    <a:gd name="connsiteY7" fmla="*/ 166688 h 1931194"/>
                    <a:gd name="connsiteX8" fmla="*/ 738188 w 2162175"/>
                    <a:gd name="connsiteY8" fmla="*/ 119063 h 1931194"/>
                    <a:gd name="connsiteX9" fmla="*/ 642937 w 2162175"/>
                    <a:gd name="connsiteY9" fmla="*/ 38101 h 1931194"/>
                    <a:gd name="connsiteX10" fmla="*/ 533400 w 2162175"/>
                    <a:gd name="connsiteY10" fmla="*/ 0 h 1931194"/>
                    <a:gd name="connsiteX11" fmla="*/ 371475 w 2162175"/>
                    <a:gd name="connsiteY11" fmla="*/ 26194 h 1931194"/>
                    <a:gd name="connsiteX12" fmla="*/ 371475 w 2162175"/>
                    <a:gd name="connsiteY12" fmla="*/ 140494 h 1931194"/>
                    <a:gd name="connsiteX13" fmla="*/ 200025 w 2162175"/>
                    <a:gd name="connsiteY13" fmla="*/ 283369 h 1931194"/>
                    <a:gd name="connsiteX14" fmla="*/ 247650 w 2162175"/>
                    <a:gd name="connsiteY14" fmla="*/ 416719 h 1931194"/>
                    <a:gd name="connsiteX15" fmla="*/ 238125 w 2162175"/>
                    <a:gd name="connsiteY15" fmla="*/ 626269 h 1931194"/>
                    <a:gd name="connsiteX16" fmla="*/ 247650 w 2162175"/>
                    <a:gd name="connsiteY16" fmla="*/ 797719 h 1931194"/>
                    <a:gd name="connsiteX17" fmla="*/ 228600 w 2162175"/>
                    <a:gd name="connsiteY17" fmla="*/ 902494 h 1931194"/>
                    <a:gd name="connsiteX18" fmla="*/ 104775 w 2162175"/>
                    <a:gd name="connsiteY18" fmla="*/ 978694 h 1931194"/>
                    <a:gd name="connsiteX19" fmla="*/ 123825 w 2162175"/>
                    <a:gd name="connsiteY19" fmla="*/ 1045369 h 1931194"/>
                    <a:gd name="connsiteX20" fmla="*/ 19050 w 2162175"/>
                    <a:gd name="connsiteY20" fmla="*/ 1302544 h 1931194"/>
                    <a:gd name="connsiteX21" fmla="*/ 0 w 2162175"/>
                    <a:gd name="connsiteY21" fmla="*/ 1616869 h 1931194"/>
                    <a:gd name="connsiteX22" fmla="*/ 276225 w 2162175"/>
                    <a:gd name="connsiteY22" fmla="*/ 1674019 h 1931194"/>
                    <a:gd name="connsiteX23" fmla="*/ 619125 w 2162175"/>
                    <a:gd name="connsiteY23" fmla="*/ 1835944 h 1931194"/>
                    <a:gd name="connsiteX24" fmla="*/ 895350 w 2162175"/>
                    <a:gd name="connsiteY24" fmla="*/ 1931194 h 1931194"/>
                    <a:gd name="connsiteX25" fmla="*/ 1409700 w 2162175"/>
                    <a:gd name="connsiteY25" fmla="*/ 1826419 h 1931194"/>
                    <a:gd name="connsiteX26" fmla="*/ 2028825 w 2162175"/>
                    <a:gd name="connsiteY26" fmla="*/ 1674019 h 1931194"/>
                    <a:gd name="connsiteX27" fmla="*/ 2162175 w 2162175"/>
                    <a:gd name="connsiteY27" fmla="*/ 1378744 h 1931194"/>
                    <a:gd name="connsiteX28" fmla="*/ 2009775 w 2162175"/>
                    <a:gd name="connsiteY28" fmla="*/ 1302544 h 1931194"/>
                    <a:gd name="connsiteX29" fmla="*/ 1924050 w 2162175"/>
                    <a:gd name="connsiteY29" fmla="*/ 1216819 h 1931194"/>
                    <a:gd name="connsiteX30" fmla="*/ 1914525 w 2162175"/>
                    <a:gd name="connsiteY30" fmla="*/ 1073944 h 1931194"/>
                    <a:gd name="connsiteX31" fmla="*/ 1866900 w 2162175"/>
                    <a:gd name="connsiteY31" fmla="*/ 950119 h 1931194"/>
                    <a:gd name="connsiteX32" fmla="*/ 1819275 w 2162175"/>
                    <a:gd name="connsiteY32" fmla="*/ 854869 h 1931194"/>
                    <a:gd name="connsiteX33" fmla="*/ 1790700 w 2162175"/>
                    <a:gd name="connsiteY33" fmla="*/ 778669 h 1931194"/>
                    <a:gd name="connsiteX34" fmla="*/ 1743075 w 2162175"/>
                    <a:gd name="connsiteY34" fmla="*/ 654844 h 1931194"/>
                    <a:gd name="connsiteX35" fmla="*/ 1704975 w 2162175"/>
                    <a:gd name="connsiteY35" fmla="*/ 578644 h 1931194"/>
                    <a:gd name="connsiteX36" fmla="*/ 1619250 w 2162175"/>
                    <a:gd name="connsiteY36" fmla="*/ 531019 h 1931194"/>
                    <a:gd name="connsiteX37" fmla="*/ 1676400 w 2162175"/>
                    <a:gd name="connsiteY37" fmla="*/ 388144 h 1931194"/>
                    <a:gd name="connsiteX38" fmla="*/ 1516856 w 2162175"/>
                    <a:gd name="connsiteY38" fmla="*/ 240506 h 1931194"/>
                    <a:gd name="connsiteX0" fmla="*/ 1516856 w 2162175"/>
                    <a:gd name="connsiteY0" fmla="*/ 214312 h 1905000"/>
                    <a:gd name="connsiteX1" fmla="*/ 1250157 w 2162175"/>
                    <a:gd name="connsiteY1" fmla="*/ 278606 h 1905000"/>
                    <a:gd name="connsiteX2" fmla="*/ 1181101 w 2162175"/>
                    <a:gd name="connsiteY2" fmla="*/ 257175 h 1905000"/>
                    <a:gd name="connsiteX3" fmla="*/ 1133476 w 2162175"/>
                    <a:gd name="connsiteY3" fmla="*/ 354806 h 1905000"/>
                    <a:gd name="connsiteX4" fmla="*/ 1088231 w 2162175"/>
                    <a:gd name="connsiteY4" fmla="*/ 335757 h 1905000"/>
                    <a:gd name="connsiteX5" fmla="*/ 1083469 w 2162175"/>
                    <a:gd name="connsiteY5" fmla="*/ 271462 h 1905000"/>
                    <a:gd name="connsiteX6" fmla="*/ 1042988 w 2162175"/>
                    <a:gd name="connsiteY6" fmla="*/ 228600 h 1905000"/>
                    <a:gd name="connsiteX7" fmla="*/ 916781 w 2162175"/>
                    <a:gd name="connsiteY7" fmla="*/ 140494 h 1905000"/>
                    <a:gd name="connsiteX8" fmla="*/ 738188 w 2162175"/>
                    <a:gd name="connsiteY8" fmla="*/ 92869 h 1905000"/>
                    <a:gd name="connsiteX9" fmla="*/ 642937 w 2162175"/>
                    <a:gd name="connsiteY9" fmla="*/ 11907 h 1905000"/>
                    <a:gd name="connsiteX10" fmla="*/ 559594 w 2162175"/>
                    <a:gd name="connsiteY10" fmla="*/ 73819 h 1905000"/>
                    <a:gd name="connsiteX11" fmla="*/ 371475 w 2162175"/>
                    <a:gd name="connsiteY11" fmla="*/ 0 h 1905000"/>
                    <a:gd name="connsiteX12" fmla="*/ 371475 w 2162175"/>
                    <a:gd name="connsiteY12" fmla="*/ 114300 h 1905000"/>
                    <a:gd name="connsiteX13" fmla="*/ 200025 w 2162175"/>
                    <a:gd name="connsiteY13" fmla="*/ 257175 h 1905000"/>
                    <a:gd name="connsiteX14" fmla="*/ 247650 w 2162175"/>
                    <a:gd name="connsiteY14" fmla="*/ 390525 h 1905000"/>
                    <a:gd name="connsiteX15" fmla="*/ 238125 w 2162175"/>
                    <a:gd name="connsiteY15" fmla="*/ 600075 h 1905000"/>
                    <a:gd name="connsiteX16" fmla="*/ 247650 w 2162175"/>
                    <a:gd name="connsiteY16" fmla="*/ 771525 h 1905000"/>
                    <a:gd name="connsiteX17" fmla="*/ 228600 w 2162175"/>
                    <a:gd name="connsiteY17" fmla="*/ 876300 h 1905000"/>
                    <a:gd name="connsiteX18" fmla="*/ 104775 w 2162175"/>
                    <a:gd name="connsiteY18" fmla="*/ 952500 h 1905000"/>
                    <a:gd name="connsiteX19" fmla="*/ 123825 w 2162175"/>
                    <a:gd name="connsiteY19" fmla="*/ 1019175 h 1905000"/>
                    <a:gd name="connsiteX20" fmla="*/ 19050 w 2162175"/>
                    <a:gd name="connsiteY20" fmla="*/ 1276350 h 1905000"/>
                    <a:gd name="connsiteX21" fmla="*/ 0 w 2162175"/>
                    <a:gd name="connsiteY21" fmla="*/ 1590675 h 1905000"/>
                    <a:gd name="connsiteX22" fmla="*/ 276225 w 2162175"/>
                    <a:gd name="connsiteY22" fmla="*/ 1647825 h 1905000"/>
                    <a:gd name="connsiteX23" fmla="*/ 619125 w 2162175"/>
                    <a:gd name="connsiteY23" fmla="*/ 1809750 h 1905000"/>
                    <a:gd name="connsiteX24" fmla="*/ 895350 w 2162175"/>
                    <a:gd name="connsiteY24" fmla="*/ 1905000 h 1905000"/>
                    <a:gd name="connsiteX25" fmla="*/ 1409700 w 2162175"/>
                    <a:gd name="connsiteY25" fmla="*/ 1800225 h 1905000"/>
                    <a:gd name="connsiteX26" fmla="*/ 2028825 w 2162175"/>
                    <a:gd name="connsiteY26" fmla="*/ 1647825 h 1905000"/>
                    <a:gd name="connsiteX27" fmla="*/ 2162175 w 2162175"/>
                    <a:gd name="connsiteY27" fmla="*/ 1352550 h 1905000"/>
                    <a:gd name="connsiteX28" fmla="*/ 2009775 w 2162175"/>
                    <a:gd name="connsiteY28" fmla="*/ 1276350 h 1905000"/>
                    <a:gd name="connsiteX29" fmla="*/ 1924050 w 2162175"/>
                    <a:gd name="connsiteY29" fmla="*/ 1190625 h 1905000"/>
                    <a:gd name="connsiteX30" fmla="*/ 1914525 w 2162175"/>
                    <a:gd name="connsiteY30" fmla="*/ 1047750 h 1905000"/>
                    <a:gd name="connsiteX31" fmla="*/ 1866900 w 2162175"/>
                    <a:gd name="connsiteY31" fmla="*/ 923925 h 1905000"/>
                    <a:gd name="connsiteX32" fmla="*/ 1819275 w 2162175"/>
                    <a:gd name="connsiteY32" fmla="*/ 828675 h 1905000"/>
                    <a:gd name="connsiteX33" fmla="*/ 1790700 w 2162175"/>
                    <a:gd name="connsiteY33" fmla="*/ 752475 h 1905000"/>
                    <a:gd name="connsiteX34" fmla="*/ 1743075 w 2162175"/>
                    <a:gd name="connsiteY34" fmla="*/ 628650 h 1905000"/>
                    <a:gd name="connsiteX35" fmla="*/ 1704975 w 2162175"/>
                    <a:gd name="connsiteY35" fmla="*/ 552450 h 1905000"/>
                    <a:gd name="connsiteX36" fmla="*/ 1619250 w 2162175"/>
                    <a:gd name="connsiteY36" fmla="*/ 504825 h 1905000"/>
                    <a:gd name="connsiteX37" fmla="*/ 1676400 w 2162175"/>
                    <a:gd name="connsiteY37" fmla="*/ 361950 h 1905000"/>
                    <a:gd name="connsiteX38" fmla="*/ 1516856 w 2162175"/>
                    <a:gd name="connsiteY38" fmla="*/ 214312 h 1905000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71475 w 2162175"/>
                    <a:gd name="connsiteY12" fmla="*/ 102393 h 1893093"/>
                    <a:gd name="connsiteX13" fmla="*/ 200025 w 2162175"/>
                    <a:gd name="connsiteY13" fmla="*/ 245268 h 1893093"/>
                    <a:gd name="connsiteX14" fmla="*/ 247650 w 2162175"/>
                    <a:gd name="connsiteY14" fmla="*/ 378618 h 1893093"/>
                    <a:gd name="connsiteX15" fmla="*/ 238125 w 2162175"/>
                    <a:gd name="connsiteY15" fmla="*/ 588168 h 1893093"/>
                    <a:gd name="connsiteX16" fmla="*/ 247650 w 2162175"/>
                    <a:gd name="connsiteY16" fmla="*/ 759618 h 1893093"/>
                    <a:gd name="connsiteX17" fmla="*/ 228600 w 2162175"/>
                    <a:gd name="connsiteY17" fmla="*/ 864393 h 1893093"/>
                    <a:gd name="connsiteX18" fmla="*/ 104775 w 2162175"/>
                    <a:gd name="connsiteY18" fmla="*/ 940593 h 1893093"/>
                    <a:gd name="connsiteX19" fmla="*/ 123825 w 2162175"/>
                    <a:gd name="connsiteY19" fmla="*/ 1007268 h 1893093"/>
                    <a:gd name="connsiteX20" fmla="*/ 19050 w 2162175"/>
                    <a:gd name="connsiteY20" fmla="*/ 1264443 h 1893093"/>
                    <a:gd name="connsiteX21" fmla="*/ 0 w 2162175"/>
                    <a:gd name="connsiteY21" fmla="*/ 1578768 h 1893093"/>
                    <a:gd name="connsiteX22" fmla="*/ 276225 w 2162175"/>
                    <a:gd name="connsiteY22" fmla="*/ 1635918 h 1893093"/>
                    <a:gd name="connsiteX23" fmla="*/ 619125 w 2162175"/>
                    <a:gd name="connsiteY23" fmla="*/ 1797843 h 1893093"/>
                    <a:gd name="connsiteX24" fmla="*/ 895350 w 2162175"/>
                    <a:gd name="connsiteY24" fmla="*/ 1893093 h 1893093"/>
                    <a:gd name="connsiteX25" fmla="*/ 1409700 w 2162175"/>
                    <a:gd name="connsiteY25" fmla="*/ 1788318 h 1893093"/>
                    <a:gd name="connsiteX26" fmla="*/ 2028825 w 2162175"/>
                    <a:gd name="connsiteY26" fmla="*/ 1635918 h 1893093"/>
                    <a:gd name="connsiteX27" fmla="*/ 2162175 w 2162175"/>
                    <a:gd name="connsiteY27" fmla="*/ 1340643 h 1893093"/>
                    <a:gd name="connsiteX28" fmla="*/ 2009775 w 2162175"/>
                    <a:gd name="connsiteY28" fmla="*/ 1264443 h 1893093"/>
                    <a:gd name="connsiteX29" fmla="*/ 1924050 w 2162175"/>
                    <a:gd name="connsiteY29" fmla="*/ 1178718 h 1893093"/>
                    <a:gd name="connsiteX30" fmla="*/ 1914525 w 2162175"/>
                    <a:gd name="connsiteY30" fmla="*/ 1035843 h 1893093"/>
                    <a:gd name="connsiteX31" fmla="*/ 1866900 w 2162175"/>
                    <a:gd name="connsiteY31" fmla="*/ 912018 h 1893093"/>
                    <a:gd name="connsiteX32" fmla="*/ 1819275 w 2162175"/>
                    <a:gd name="connsiteY32" fmla="*/ 816768 h 1893093"/>
                    <a:gd name="connsiteX33" fmla="*/ 1790700 w 2162175"/>
                    <a:gd name="connsiteY33" fmla="*/ 740568 h 1893093"/>
                    <a:gd name="connsiteX34" fmla="*/ 1743075 w 2162175"/>
                    <a:gd name="connsiteY34" fmla="*/ 616743 h 1893093"/>
                    <a:gd name="connsiteX35" fmla="*/ 1704975 w 2162175"/>
                    <a:gd name="connsiteY35" fmla="*/ 540543 h 1893093"/>
                    <a:gd name="connsiteX36" fmla="*/ 1619250 w 2162175"/>
                    <a:gd name="connsiteY36" fmla="*/ 492918 h 1893093"/>
                    <a:gd name="connsiteX37" fmla="*/ 1676400 w 2162175"/>
                    <a:gd name="connsiteY37" fmla="*/ 350043 h 1893093"/>
                    <a:gd name="connsiteX38" fmla="*/ 1516856 w 2162175"/>
                    <a:gd name="connsiteY38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200025 w 2162175"/>
                    <a:gd name="connsiteY13" fmla="*/ 245268 h 1893093"/>
                    <a:gd name="connsiteX14" fmla="*/ 247650 w 2162175"/>
                    <a:gd name="connsiteY14" fmla="*/ 378618 h 1893093"/>
                    <a:gd name="connsiteX15" fmla="*/ 238125 w 2162175"/>
                    <a:gd name="connsiteY15" fmla="*/ 588168 h 1893093"/>
                    <a:gd name="connsiteX16" fmla="*/ 247650 w 2162175"/>
                    <a:gd name="connsiteY16" fmla="*/ 759618 h 1893093"/>
                    <a:gd name="connsiteX17" fmla="*/ 228600 w 2162175"/>
                    <a:gd name="connsiteY17" fmla="*/ 864393 h 1893093"/>
                    <a:gd name="connsiteX18" fmla="*/ 104775 w 2162175"/>
                    <a:gd name="connsiteY18" fmla="*/ 940593 h 1893093"/>
                    <a:gd name="connsiteX19" fmla="*/ 123825 w 2162175"/>
                    <a:gd name="connsiteY19" fmla="*/ 1007268 h 1893093"/>
                    <a:gd name="connsiteX20" fmla="*/ 19050 w 2162175"/>
                    <a:gd name="connsiteY20" fmla="*/ 1264443 h 1893093"/>
                    <a:gd name="connsiteX21" fmla="*/ 0 w 2162175"/>
                    <a:gd name="connsiteY21" fmla="*/ 1578768 h 1893093"/>
                    <a:gd name="connsiteX22" fmla="*/ 276225 w 2162175"/>
                    <a:gd name="connsiteY22" fmla="*/ 1635918 h 1893093"/>
                    <a:gd name="connsiteX23" fmla="*/ 619125 w 2162175"/>
                    <a:gd name="connsiteY23" fmla="*/ 1797843 h 1893093"/>
                    <a:gd name="connsiteX24" fmla="*/ 895350 w 2162175"/>
                    <a:gd name="connsiteY24" fmla="*/ 1893093 h 1893093"/>
                    <a:gd name="connsiteX25" fmla="*/ 1409700 w 2162175"/>
                    <a:gd name="connsiteY25" fmla="*/ 1788318 h 1893093"/>
                    <a:gd name="connsiteX26" fmla="*/ 2028825 w 2162175"/>
                    <a:gd name="connsiteY26" fmla="*/ 1635918 h 1893093"/>
                    <a:gd name="connsiteX27" fmla="*/ 2162175 w 2162175"/>
                    <a:gd name="connsiteY27" fmla="*/ 1340643 h 1893093"/>
                    <a:gd name="connsiteX28" fmla="*/ 2009775 w 2162175"/>
                    <a:gd name="connsiteY28" fmla="*/ 1264443 h 1893093"/>
                    <a:gd name="connsiteX29" fmla="*/ 1924050 w 2162175"/>
                    <a:gd name="connsiteY29" fmla="*/ 1178718 h 1893093"/>
                    <a:gd name="connsiteX30" fmla="*/ 1914525 w 2162175"/>
                    <a:gd name="connsiteY30" fmla="*/ 1035843 h 1893093"/>
                    <a:gd name="connsiteX31" fmla="*/ 1866900 w 2162175"/>
                    <a:gd name="connsiteY31" fmla="*/ 912018 h 1893093"/>
                    <a:gd name="connsiteX32" fmla="*/ 1819275 w 2162175"/>
                    <a:gd name="connsiteY32" fmla="*/ 816768 h 1893093"/>
                    <a:gd name="connsiteX33" fmla="*/ 1790700 w 2162175"/>
                    <a:gd name="connsiteY33" fmla="*/ 740568 h 1893093"/>
                    <a:gd name="connsiteX34" fmla="*/ 1743075 w 2162175"/>
                    <a:gd name="connsiteY34" fmla="*/ 616743 h 1893093"/>
                    <a:gd name="connsiteX35" fmla="*/ 1704975 w 2162175"/>
                    <a:gd name="connsiteY35" fmla="*/ 540543 h 1893093"/>
                    <a:gd name="connsiteX36" fmla="*/ 1619250 w 2162175"/>
                    <a:gd name="connsiteY36" fmla="*/ 492918 h 1893093"/>
                    <a:gd name="connsiteX37" fmla="*/ 1676400 w 2162175"/>
                    <a:gd name="connsiteY37" fmla="*/ 350043 h 1893093"/>
                    <a:gd name="connsiteX38" fmla="*/ 1516856 w 2162175"/>
                    <a:gd name="connsiteY38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247650 w 2162175"/>
                    <a:gd name="connsiteY14" fmla="*/ 378618 h 1893093"/>
                    <a:gd name="connsiteX15" fmla="*/ 238125 w 2162175"/>
                    <a:gd name="connsiteY15" fmla="*/ 588168 h 1893093"/>
                    <a:gd name="connsiteX16" fmla="*/ 247650 w 2162175"/>
                    <a:gd name="connsiteY16" fmla="*/ 759618 h 1893093"/>
                    <a:gd name="connsiteX17" fmla="*/ 228600 w 2162175"/>
                    <a:gd name="connsiteY17" fmla="*/ 864393 h 1893093"/>
                    <a:gd name="connsiteX18" fmla="*/ 104775 w 2162175"/>
                    <a:gd name="connsiteY18" fmla="*/ 940593 h 1893093"/>
                    <a:gd name="connsiteX19" fmla="*/ 123825 w 2162175"/>
                    <a:gd name="connsiteY19" fmla="*/ 1007268 h 1893093"/>
                    <a:gd name="connsiteX20" fmla="*/ 19050 w 2162175"/>
                    <a:gd name="connsiteY20" fmla="*/ 1264443 h 1893093"/>
                    <a:gd name="connsiteX21" fmla="*/ 0 w 2162175"/>
                    <a:gd name="connsiteY21" fmla="*/ 1578768 h 1893093"/>
                    <a:gd name="connsiteX22" fmla="*/ 276225 w 2162175"/>
                    <a:gd name="connsiteY22" fmla="*/ 1635918 h 1893093"/>
                    <a:gd name="connsiteX23" fmla="*/ 619125 w 2162175"/>
                    <a:gd name="connsiteY23" fmla="*/ 1797843 h 1893093"/>
                    <a:gd name="connsiteX24" fmla="*/ 895350 w 2162175"/>
                    <a:gd name="connsiteY24" fmla="*/ 1893093 h 1893093"/>
                    <a:gd name="connsiteX25" fmla="*/ 1409700 w 2162175"/>
                    <a:gd name="connsiteY25" fmla="*/ 1788318 h 1893093"/>
                    <a:gd name="connsiteX26" fmla="*/ 2028825 w 2162175"/>
                    <a:gd name="connsiteY26" fmla="*/ 1635918 h 1893093"/>
                    <a:gd name="connsiteX27" fmla="*/ 2162175 w 2162175"/>
                    <a:gd name="connsiteY27" fmla="*/ 1340643 h 1893093"/>
                    <a:gd name="connsiteX28" fmla="*/ 2009775 w 2162175"/>
                    <a:gd name="connsiteY28" fmla="*/ 1264443 h 1893093"/>
                    <a:gd name="connsiteX29" fmla="*/ 1924050 w 2162175"/>
                    <a:gd name="connsiteY29" fmla="*/ 1178718 h 1893093"/>
                    <a:gd name="connsiteX30" fmla="*/ 1914525 w 2162175"/>
                    <a:gd name="connsiteY30" fmla="*/ 1035843 h 1893093"/>
                    <a:gd name="connsiteX31" fmla="*/ 1866900 w 2162175"/>
                    <a:gd name="connsiteY31" fmla="*/ 912018 h 1893093"/>
                    <a:gd name="connsiteX32" fmla="*/ 1819275 w 2162175"/>
                    <a:gd name="connsiteY32" fmla="*/ 816768 h 1893093"/>
                    <a:gd name="connsiteX33" fmla="*/ 1790700 w 2162175"/>
                    <a:gd name="connsiteY33" fmla="*/ 740568 h 1893093"/>
                    <a:gd name="connsiteX34" fmla="*/ 1743075 w 2162175"/>
                    <a:gd name="connsiteY34" fmla="*/ 616743 h 1893093"/>
                    <a:gd name="connsiteX35" fmla="*/ 1704975 w 2162175"/>
                    <a:gd name="connsiteY35" fmla="*/ 540543 h 1893093"/>
                    <a:gd name="connsiteX36" fmla="*/ 1619250 w 2162175"/>
                    <a:gd name="connsiteY36" fmla="*/ 492918 h 1893093"/>
                    <a:gd name="connsiteX37" fmla="*/ 1676400 w 2162175"/>
                    <a:gd name="connsiteY37" fmla="*/ 350043 h 1893093"/>
                    <a:gd name="connsiteX38" fmla="*/ 1516856 w 2162175"/>
                    <a:gd name="connsiteY38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238125 w 2162175"/>
                    <a:gd name="connsiteY15" fmla="*/ 588168 h 1893093"/>
                    <a:gd name="connsiteX16" fmla="*/ 247650 w 2162175"/>
                    <a:gd name="connsiteY16" fmla="*/ 759618 h 1893093"/>
                    <a:gd name="connsiteX17" fmla="*/ 228600 w 2162175"/>
                    <a:gd name="connsiteY17" fmla="*/ 864393 h 1893093"/>
                    <a:gd name="connsiteX18" fmla="*/ 104775 w 2162175"/>
                    <a:gd name="connsiteY18" fmla="*/ 940593 h 1893093"/>
                    <a:gd name="connsiteX19" fmla="*/ 123825 w 2162175"/>
                    <a:gd name="connsiteY19" fmla="*/ 1007268 h 1893093"/>
                    <a:gd name="connsiteX20" fmla="*/ 19050 w 2162175"/>
                    <a:gd name="connsiteY20" fmla="*/ 1264443 h 1893093"/>
                    <a:gd name="connsiteX21" fmla="*/ 0 w 2162175"/>
                    <a:gd name="connsiteY21" fmla="*/ 1578768 h 1893093"/>
                    <a:gd name="connsiteX22" fmla="*/ 276225 w 2162175"/>
                    <a:gd name="connsiteY22" fmla="*/ 1635918 h 1893093"/>
                    <a:gd name="connsiteX23" fmla="*/ 619125 w 2162175"/>
                    <a:gd name="connsiteY23" fmla="*/ 1797843 h 1893093"/>
                    <a:gd name="connsiteX24" fmla="*/ 895350 w 2162175"/>
                    <a:gd name="connsiteY24" fmla="*/ 1893093 h 1893093"/>
                    <a:gd name="connsiteX25" fmla="*/ 1409700 w 2162175"/>
                    <a:gd name="connsiteY25" fmla="*/ 1788318 h 1893093"/>
                    <a:gd name="connsiteX26" fmla="*/ 2028825 w 2162175"/>
                    <a:gd name="connsiteY26" fmla="*/ 1635918 h 1893093"/>
                    <a:gd name="connsiteX27" fmla="*/ 2162175 w 2162175"/>
                    <a:gd name="connsiteY27" fmla="*/ 1340643 h 1893093"/>
                    <a:gd name="connsiteX28" fmla="*/ 2009775 w 2162175"/>
                    <a:gd name="connsiteY28" fmla="*/ 1264443 h 1893093"/>
                    <a:gd name="connsiteX29" fmla="*/ 1924050 w 2162175"/>
                    <a:gd name="connsiteY29" fmla="*/ 1178718 h 1893093"/>
                    <a:gd name="connsiteX30" fmla="*/ 1914525 w 2162175"/>
                    <a:gd name="connsiteY30" fmla="*/ 1035843 h 1893093"/>
                    <a:gd name="connsiteX31" fmla="*/ 1866900 w 2162175"/>
                    <a:gd name="connsiteY31" fmla="*/ 912018 h 1893093"/>
                    <a:gd name="connsiteX32" fmla="*/ 1819275 w 2162175"/>
                    <a:gd name="connsiteY32" fmla="*/ 816768 h 1893093"/>
                    <a:gd name="connsiteX33" fmla="*/ 1790700 w 2162175"/>
                    <a:gd name="connsiteY33" fmla="*/ 740568 h 1893093"/>
                    <a:gd name="connsiteX34" fmla="*/ 1743075 w 2162175"/>
                    <a:gd name="connsiteY34" fmla="*/ 616743 h 1893093"/>
                    <a:gd name="connsiteX35" fmla="*/ 1704975 w 2162175"/>
                    <a:gd name="connsiteY35" fmla="*/ 540543 h 1893093"/>
                    <a:gd name="connsiteX36" fmla="*/ 1619250 w 2162175"/>
                    <a:gd name="connsiteY36" fmla="*/ 492918 h 1893093"/>
                    <a:gd name="connsiteX37" fmla="*/ 1676400 w 2162175"/>
                    <a:gd name="connsiteY37" fmla="*/ 350043 h 1893093"/>
                    <a:gd name="connsiteX38" fmla="*/ 1516856 w 2162175"/>
                    <a:gd name="connsiteY38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238125 w 2162175"/>
                    <a:gd name="connsiteY15" fmla="*/ 588168 h 1893093"/>
                    <a:gd name="connsiteX16" fmla="*/ 247650 w 2162175"/>
                    <a:gd name="connsiteY16" fmla="*/ 759618 h 1893093"/>
                    <a:gd name="connsiteX17" fmla="*/ 228600 w 2162175"/>
                    <a:gd name="connsiteY17" fmla="*/ 864393 h 1893093"/>
                    <a:gd name="connsiteX18" fmla="*/ 104775 w 2162175"/>
                    <a:gd name="connsiteY18" fmla="*/ 940593 h 1893093"/>
                    <a:gd name="connsiteX19" fmla="*/ 216693 w 2162175"/>
                    <a:gd name="connsiteY19" fmla="*/ 990599 h 1893093"/>
                    <a:gd name="connsiteX20" fmla="*/ 19050 w 2162175"/>
                    <a:gd name="connsiteY20" fmla="*/ 1264443 h 1893093"/>
                    <a:gd name="connsiteX21" fmla="*/ 0 w 2162175"/>
                    <a:gd name="connsiteY21" fmla="*/ 1578768 h 1893093"/>
                    <a:gd name="connsiteX22" fmla="*/ 276225 w 2162175"/>
                    <a:gd name="connsiteY22" fmla="*/ 1635918 h 1893093"/>
                    <a:gd name="connsiteX23" fmla="*/ 619125 w 2162175"/>
                    <a:gd name="connsiteY23" fmla="*/ 1797843 h 1893093"/>
                    <a:gd name="connsiteX24" fmla="*/ 895350 w 2162175"/>
                    <a:gd name="connsiteY24" fmla="*/ 1893093 h 1893093"/>
                    <a:gd name="connsiteX25" fmla="*/ 1409700 w 2162175"/>
                    <a:gd name="connsiteY25" fmla="*/ 1788318 h 1893093"/>
                    <a:gd name="connsiteX26" fmla="*/ 2028825 w 2162175"/>
                    <a:gd name="connsiteY26" fmla="*/ 1635918 h 1893093"/>
                    <a:gd name="connsiteX27" fmla="*/ 2162175 w 2162175"/>
                    <a:gd name="connsiteY27" fmla="*/ 1340643 h 1893093"/>
                    <a:gd name="connsiteX28" fmla="*/ 2009775 w 2162175"/>
                    <a:gd name="connsiteY28" fmla="*/ 1264443 h 1893093"/>
                    <a:gd name="connsiteX29" fmla="*/ 1924050 w 2162175"/>
                    <a:gd name="connsiteY29" fmla="*/ 1178718 h 1893093"/>
                    <a:gd name="connsiteX30" fmla="*/ 1914525 w 2162175"/>
                    <a:gd name="connsiteY30" fmla="*/ 1035843 h 1893093"/>
                    <a:gd name="connsiteX31" fmla="*/ 1866900 w 2162175"/>
                    <a:gd name="connsiteY31" fmla="*/ 912018 h 1893093"/>
                    <a:gd name="connsiteX32" fmla="*/ 1819275 w 2162175"/>
                    <a:gd name="connsiteY32" fmla="*/ 816768 h 1893093"/>
                    <a:gd name="connsiteX33" fmla="*/ 1790700 w 2162175"/>
                    <a:gd name="connsiteY33" fmla="*/ 740568 h 1893093"/>
                    <a:gd name="connsiteX34" fmla="*/ 1743075 w 2162175"/>
                    <a:gd name="connsiteY34" fmla="*/ 616743 h 1893093"/>
                    <a:gd name="connsiteX35" fmla="*/ 1704975 w 2162175"/>
                    <a:gd name="connsiteY35" fmla="*/ 540543 h 1893093"/>
                    <a:gd name="connsiteX36" fmla="*/ 1619250 w 2162175"/>
                    <a:gd name="connsiteY36" fmla="*/ 492918 h 1893093"/>
                    <a:gd name="connsiteX37" fmla="*/ 1676400 w 2162175"/>
                    <a:gd name="connsiteY37" fmla="*/ 350043 h 1893093"/>
                    <a:gd name="connsiteX38" fmla="*/ 1516856 w 2162175"/>
                    <a:gd name="connsiteY38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238125 w 2162175"/>
                    <a:gd name="connsiteY15" fmla="*/ 588168 h 1893093"/>
                    <a:gd name="connsiteX16" fmla="*/ 247650 w 2162175"/>
                    <a:gd name="connsiteY16" fmla="*/ 759618 h 1893093"/>
                    <a:gd name="connsiteX17" fmla="*/ 228600 w 2162175"/>
                    <a:gd name="connsiteY17" fmla="*/ 864393 h 1893093"/>
                    <a:gd name="connsiteX18" fmla="*/ 257175 w 2162175"/>
                    <a:gd name="connsiteY18" fmla="*/ 902493 h 1893093"/>
                    <a:gd name="connsiteX19" fmla="*/ 216693 w 2162175"/>
                    <a:gd name="connsiteY19" fmla="*/ 990599 h 1893093"/>
                    <a:gd name="connsiteX20" fmla="*/ 19050 w 2162175"/>
                    <a:gd name="connsiteY20" fmla="*/ 1264443 h 1893093"/>
                    <a:gd name="connsiteX21" fmla="*/ 0 w 2162175"/>
                    <a:gd name="connsiteY21" fmla="*/ 1578768 h 1893093"/>
                    <a:gd name="connsiteX22" fmla="*/ 276225 w 2162175"/>
                    <a:gd name="connsiteY22" fmla="*/ 1635918 h 1893093"/>
                    <a:gd name="connsiteX23" fmla="*/ 619125 w 2162175"/>
                    <a:gd name="connsiteY23" fmla="*/ 1797843 h 1893093"/>
                    <a:gd name="connsiteX24" fmla="*/ 895350 w 2162175"/>
                    <a:gd name="connsiteY24" fmla="*/ 1893093 h 1893093"/>
                    <a:gd name="connsiteX25" fmla="*/ 1409700 w 2162175"/>
                    <a:gd name="connsiteY25" fmla="*/ 1788318 h 1893093"/>
                    <a:gd name="connsiteX26" fmla="*/ 2028825 w 2162175"/>
                    <a:gd name="connsiteY26" fmla="*/ 1635918 h 1893093"/>
                    <a:gd name="connsiteX27" fmla="*/ 2162175 w 2162175"/>
                    <a:gd name="connsiteY27" fmla="*/ 1340643 h 1893093"/>
                    <a:gd name="connsiteX28" fmla="*/ 2009775 w 2162175"/>
                    <a:gd name="connsiteY28" fmla="*/ 1264443 h 1893093"/>
                    <a:gd name="connsiteX29" fmla="*/ 1924050 w 2162175"/>
                    <a:gd name="connsiteY29" fmla="*/ 1178718 h 1893093"/>
                    <a:gd name="connsiteX30" fmla="*/ 1914525 w 2162175"/>
                    <a:gd name="connsiteY30" fmla="*/ 1035843 h 1893093"/>
                    <a:gd name="connsiteX31" fmla="*/ 1866900 w 2162175"/>
                    <a:gd name="connsiteY31" fmla="*/ 912018 h 1893093"/>
                    <a:gd name="connsiteX32" fmla="*/ 1819275 w 2162175"/>
                    <a:gd name="connsiteY32" fmla="*/ 816768 h 1893093"/>
                    <a:gd name="connsiteX33" fmla="*/ 1790700 w 2162175"/>
                    <a:gd name="connsiteY33" fmla="*/ 740568 h 1893093"/>
                    <a:gd name="connsiteX34" fmla="*/ 1743075 w 2162175"/>
                    <a:gd name="connsiteY34" fmla="*/ 616743 h 1893093"/>
                    <a:gd name="connsiteX35" fmla="*/ 1704975 w 2162175"/>
                    <a:gd name="connsiteY35" fmla="*/ 540543 h 1893093"/>
                    <a:gd name="connsiteX36" fmla="*/ 1619250 w 2162175"/>
                    <a:gd name="connsiteY36" fmla="*/ 492918 h 1893093"/>
                    <a:gd name="connsiteX37" fmla="*/ 1676400 w 2162175"/>
                    <a:gd name="connsiteY37" fmla="*/ 350043 h 1893093"/>
                    <a:gd name="connsiteX38" fmla="*/ 1516856 w 2162175"/>
                    <a:gd name="connsiteY38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238125 w 2162175"/>
                    <a:gd name="connsiteY15" fmla="*/ 588168 h 1893093"/>
                    <a:gd name="connsiteX16" fmla="*/ 247650 w 2162175"/>
                    <a:gd name="connsiteY16" fmla="*/ 759618 h 1893093"/>
                    <a:gd name="connsiteX17" fmla="*/ 314325 w 2162175"/>
                    <a:gd name="connsiteY17" fmla="*/ 804862 h 1893093"/>
                    <a:gd name="connsiteX18" fmla="*/ 257175 w 2162175"/>
                    <a:gd name="connsiteY18" fmla="*/ 902493 h 1893093"/>
                    <a:gd name="connsiteX19" fmla="*/ 216693 w 2162175"/>
                    <a:gd name="connsiteY19" fmla="*/ 990599 h 1893093"/>
                    <a:gd name="connsiteX20" fmla="*/ 19050 w 2162175"/>
                    <a:gd name="connsiteY20" fmla="*/ 1264443 h 1893093"/>
                    <a:gd name="connsiteX21" fmla="*/ 0 w 2162175"/>
                    <a:gd name="connsiteY21" fmla="*/ 1578768 h 1893093"/>
                    <a:gd name="connsiteX22" fmla="*/ 276225 w 2162175"/>
                    <a:gd name="connsiteY22" fmla="*/ 1635918 h 1893093"/>
                    <a:gd name="connsiteX23" fmla="*/ 619125 w 2162175"/>
                    <a:gd name="connsiteY23" fmla="*/ 1797843 h 1893093"/>
                    <a:gd name="connsiteX24" fmla="*/ 895350 w 2162175"/>
                    <a:gd name="connsiteY24" fmla="*/ 1893093 h 1893093"/>
                    <a:gd name="connsiteX25" fmla="*/ 1409700 w 2162175"/>
                    <a:gd name="connsiteY25" fmla="*/ 1788318 h 1893093"/>
                    <a:gd name="connsiteX26" fmla="*/ 2028825 w 2162175"/>
                    <a:gd name="connsiteY26" fmla="*/ 1635918 h 1893093"/>
                    <a:gd name="connsiteX27" fmla="*/ 2162175 w 2162175"/>
                    <a:gd name="connsiteY27" fmla="*/ 1340643 h 1893093"/>
                    <a:gd name="connsiteX28" fmla="*/ 2009775 w 2162175"/>
                    <a:gd name="connsiteY28" fmla="*/ 1264443 h 1893093"/>
                    <a:gd name="connsiteX29" fmla="*/ 1924050 w 2162175"/>
                    <a:gd name="connsiteY29" fmla="*/ 1178718 h 1893093"/>
                    <a:gd name="connsiteX30" fmla="*/ 1914525 w 2162175"/>
                    <a:gd name="connsiteY30" fmla="*/ 1035843 h 1893093"/>
                    <a:gd name="connsiteX31" fmla="*/ 1866900 w 2162175"/>
                    <a:gd name="connsiteY31" fmla="*/ 912018 h 1893093"/>
                    <a:gd name="connsiteX32" fmla="*/ 1819275 w 2162175"/>
                    <a:gd name="connsiteY32" fmla="*/ 816768 h 1893093"/>
                    <a:gd name="connsiteX33" fmla="*/ 1790700 w 2162175"/>
                    <a:gd name="connsiteY33" fmla="*/ 740568 h 1893093"/>
                    <a:gd name="connsiteX34" fmla="*/ 1743075 w 2162175"/>
                    <a:gd name="connsiteY34" fmla="*/ 616743 h 1893093"/>
                    <a:gd name="connsiteX35" fmla="*/ 1704975 w 2162175"/>
                    <a:gd name="connsiteY35" fmla="*/ 540543 h 1893093"/>
                    <a:gd name="connsiteX36" fmla="*/ 1619250 w 2162175"/>
                    <a:gd name="connsiteY36" fmla="*/ 492918 h 1893093"/>
                    <a:gd name="connsiteX37" fmla="*/ 1676400 w 2162175"/>
                    <a:gd name="connsiteY37" fmla="*/ 350043 h 1893093"/>
                    <a:gd name="connsiteX38" fmla="*/ 1516856 w 2162175"/>
                    <a:gd name="connsiteY38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238125 w 2162175"/>
                    <a:gd name="connsiteY15" fmla="*/ 588168 h 1893093"/>
                    <a:gd name="connsiteX16" fmla="*/ 247650 w 2162175"/>
                    <a:gd name="connsiteY16" fmla="*/ 759618 h 1893093"/>
                    <a:gd name="connsiteX17" fmla="*/ 314325 w 2162175"/>
                    <a:gd name="connsiteY17" fmla="*/ 804862 h 1893093"/>
                    <a:gd name="connsiteX18" fmla="*/ 280988 w 2162175"/>
                    <a:gd name="connsiteY18" fmla="*/ 859631 h 1893093"/>
                    <a:gd name="connsiteX19" fmla="*/ 257175 w 2162175"/>
                    <a:gd name="connsiteY19" fmla="*/ 902493 h 1893093"/>
                    <a:gd name="connsiteX20" fmla="*/ 216693 w 2162175"/>
                    <a:gd name="connsiteY20" fmla="*/ 990599 h 1893093"/>
                    <a:gd name="connsiteX21" fmla="*/ 19050 w 2162175"/>
                    <a:gd name="connsiteY21" fmla="*/ 1264443 h 1893093"/>
                    <a:gd name="connsiteX22" fmla="*/ 0 w 2162175"/>
                    <a:gd name="connsiteY22" fmla="*/ 1578768 h 1893093"/>
                    <a:gd name="connsiteX23" fmla="*/ 276225 w 2162175"/>
                    <a:gd name="connsiteY23" fmla="*/ 1635918 h 1893093"/>
                    <a:gd name="connsiteX24" fmla="*/ 619125 w 2162175"/>
                    <a:gd name="connsiteY24" fmla="*/ 1797843 h 1893093"/>
                    <a:gd name="connsiteX25" fmla="*/ 895350 w 2162175"/>
                    <a:gd name="connsiteY25" fmla="*/ 1893093 h 1893093"/>
                    <a:gd name="connsiteX26" fmla="*/ 1409700 w 2162175"/>
                    <a:gd name="connsiteY26" fmla="*/ 1788318 h 1893093"/>
                    <a:gd name="connsiteX27" fmla="*/ 2028825 w 2162175"/>
                    <a:gd name="connsiteY27" fmla="*/ 1635918 h 1893093"/>
                    <a:gd name="connsiteX28" fmla="*/ 2162175 w 2162175"/>
                    <a:gd name="connsiteY28" fmla="*/ 1340643 h 1893093"/>
                    <a:gd name="connsiteX29" fmla="*/ 2009775 w 2162175"/>
                    <a:gd name="connsiteY29" fmla="*/ 1264443 h 1893093"/>
                    <a:gd name="connsiteX30" fmla="*/ 1924050 w 2162175"/>
                    <a:gd name="connsiteY30" fmla="*/ 1178718 h 1893093"/>
                    <a:gd name="connsiteX31" fmla="*/ 1914525 w 2162175"/>
                    <a:gd name="connsiteY31" fmla="*/ 1035843 h 1893093"/>
                    <a:gd name="connsiteX32" fmla="*/ 1866900 w 2162175"/>
                    <a:gd name="connsiteY32" fmla="*/ 912018 h 1893093"/>
                    <a:gd name="connsiteX33" fmla="*/ 1819275 w 2162175"/>
                    <a:gd name="connsiteY33" fmla="*/ 816768 h 1893093"/>
                    <a:gd name="connsiteX34" fmla="*/ 1790700 w 2162175"/>
                    <a:gd name="connsiteY34" fmla="*/ 740568 h 1893093"/>
                    <a:gd name="connsiteX35" fmla="*/ 1743075 w 2162175"/>
                    <a:gd name="connsiteY35" fmla="*/ 616743 h 1893093"/>
                    <a:gd name="connsiteX36" fmla="*/ 1704975 w 2162175"/>
                    <a:gd name="connsiteY36" fmla="*/ 540543 h 1893093"/>
                    <a:gd name="connsiteX37" fmla="*/ 1619250 w 2162175"/>
                    <a:gd name="connsiteY37" fmla="*/ 492918 h 1893093"/>
                    <a:gd name="connsiteX38" fmla="*/ 1676400 w 2162175"/>
                    <a:gd name="connsiteY38" fmla="*/ 350043 h 1893093"/>
                    <a:gd name="connsiteX39" fmla="*/ 1516856 w 2162175"/>
                    <a:gd name="connsiteY39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238125 w 2162175"/>
                    <a:gd name="connsiteY15" fmla="*/ 588168 h 1893093"/>
                    <a:gd name="connsiteX16" fmla="*/ 247650 w 2162175"/>
                    <a:gd name="connsiteY16" fmla="*/ 759618 h 1893093"/>
                    <a:gd name="connsiteX17" fmla="*/ 314325 w 2162175"/>
                    <a:gd name="connsiteY17" fmla="*/ 804862 h 1893093"/>
                    <a:gd name="connsiteX18" fmla="*/ 264319 w 2162175"/>
                    <a:gd name="connsiteY18" fmla="*/ 850106 h 1893093"/>
                    <a:gd name="connsiteX19" fmla="*/ 257175 w 2162175"/>
                    <a:gd name="connsiteY19" fmla="*/ 902493 h 1893093"/>
                    <a:gd name="connsiteX20" fmla="*/ 216693 w 2162175"/>
                    <a:gd name="connsiteY20" fmla="*/ 990599 h 1893093"/>
                    <a:gd name="connsiteX21" fmla="*/ 19050 w 2162175"/>
                    <a:gd name="connsiteY21" fmla="*/ 1264443 h 1893093"/>
                    <a:gd name="connsiteX22" fmla="*/ 0 w 2162175"/>
                    <a:gd name="connsiteY22" fmla="*/ 1578768 h 1893093"/>
                    <a:gd name="connsiteX23" fmla="*/ 276225 w 2162175"/>
                    <a:gd name="connsiteY23" fmla="*/ 1635918 h 1893093"/>
                    <a:gd name="connsiteX24" fmla="*/ 619125 w 2162175"/>
                    <a:gd name="connsiteY24" fmla="*/ 1797843 h 1893093"/>
                    <a:gd name="connsiteX25" fmla="*/ 895350 w 2162175"/>
                    <a:gd name="connsiteY25" fmla="*/ 1893093 h 1893093"/>
                    <a:gd name="connsiteX26" fmla="*/ 1409700 w 2162175"/>
                    <a:gd name="connsiteY26" fmla="*/ 1788318 h 1893093"/>
                    <a:gd name="connsiteX27" fmla="*/ 2028825 w 2162175"/>
                    <a:gd name="connsiteY27" fmla="*/ 1635918 h 1893093"/>
                    <a:gd name="connsiteX28" fmla="*/ 2162175 w 2162175"/>
                    <a:gd name="connsiteY28" fmla="*/ 1340643 h 1893093"/>
                    <a:gd name="connsiteX29" fmla="*/ 2009775 w 2162175"/>
                    <a:gd name="connsiteY29" fmla="*/ 1264443 h 1893093"/>
                    <a:gd name="connsiteX30" fmla="*/ 1924050 w 2162175"/>
                    <a:gd name="connsiteY30" fmla="*/ 1178718 h 1893093"/>
                    <a:gd name="connsiteX31" fmla="*/ 1914525 w 2162175"/>
                    <a:gd name="connsiteY31" fmla="*/ 1035843 h 1893093"/>
                    <a:gd name="connsiteX32" fmla="*/ 1866900 w 2162175"/>
                    <a:gd name="connsiteY32" fmla="*/ 912018 h 1893093"/>
                    <a:gd name="connsiteX33" fmla="*/ 1819275 w 2162175"/>
                    <a:gd name="connsiteY33" fmla="*/ 816768 h 1893093"/>
                    <a:gd name="connsiteX34" fmla="*/ 1790700 w 2162175"/>
                    <a:gd name="connsiteY34" fmla="*/ 740568 h 1893093"/>
                    <a:gd name="connsiteX35" fmla="*/ 1743075 w 2162175"/>
                    <a:gd name="connsiteY35" fmla="*/ 616743 h 1893093"/>
                    <a:gd name="connsiteX36" fmla="*/ 1704975 w 2162175"/>
                    <a:gd name="connsiteY36" fmla="*/ 540543 h 1893093"/>
                    <a:gd name="connsiteX37" fmla="*/ 1619250 w 2162175"/>
                    <a:gd name="connsiteY37" fmla="*/ 492918 h 1893093"/>
                    <a:gd name="connsiteX38" fmla="*/ 1676400 w 2162175"/>
                    <a:gd name="connsiteY38" fmla="*/ 350043 h 1893093"/>
                    <a:gd name="connsiteX39" fmla="*/ 1516856 w 2162175"/>
                    <a:gd name="connsiteY39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238125 w 2162175"/>
                    <a:gd name="connsiteY15" fmla="*/ 588168 h 1893093"/>
                    <a:gd name="connsiteX16" fmla="*/ 319088 w 2162175"/>
                    <a:gd name="connsiteY16" fmla="*/ 738187 h 1893093"/>
                    <a:gd name="connsiteX17" fmla="*/ 314325 w 2162175"/>
                    <a:gd name="connsiteY17" fmla="*/ 804862 h 1893093"/>
                    <a:gd name="connsiteX18" fmla="*/ 264319 w 2162175"/>
                    <a:gd name="connsiteY18" fmla="*/ 850106 h 1893093"/>
                    <a:gd name="connsiteX19" fmla="*/ 257175 w 2162175"/>
                    <a:gd name="connsiteY19" fmla="*/ 902493 h 1893093"/>
                    <a:gd name="connsiteX20" fmla="*/ 216693 w 2162175"/>
                    <a:gd name="connsiteY20" fmla="*/ 990599 h 1893093"/>
                    <a:gd name="connsiteX21" fmla="*/ 19050 w 2162175"/>
                    <a:gd name="connsiteY21" fmla="*/ 1264443 h 1893093"/>
                    <a:gd name="connsiteX22" fmla="*/ 0 w 2162175"/>
                    <a:gd name="connsiteY22" fmla="*/ 1578768 h 1893093"/>
                    <a:gd name="connsiteX23" fmla="*/ 276225 w 2162175"/>
                    <a:gd name="connsiteY23" fmla="*/ 1635918 h 1893093"/>
                    <a:gd name="connsiteX24" fmla="*/ 619125 w 2162175"/>
                    <a:gd name="connsiteY24" fmla="*/ 1797843 h 1893093"/>
                    <a:gd name="connsiteX25" fmla="*/ 895350 w 2162175"/>
                    <a:gd name="connsiteY25" fmla="*/ 1893093 h 1893093"/>
                    <a:gd name="connsiteX26" fmla="*/ 1409700 w 2162175"/>
                    <a:gd name="connsiteY26" fmla="*/ 1788318 h 1893093"/>
                    <a:gd name="connsiteX27" fmla="*/ 2028825 w 2162175"/>
                    <a:gd name="connsiteY27" fmla="*/ 1635918 h 1893093"/>
                    <a:gd name="connsiteX28" fmla="*/ 2162175 w 2162175"/>
                    <a:gd name="connsiteY28" fmla="*/ 1340643 h 1893093"/>
                    <a:gd name="connsiteX29" fmla="*/ 2009775 w 2162175"/>
                    <a:gd name="connsiteY29" fmla="*/ 1264443 h 1893093"/>
                    <a:gd name="connsiteX30" fmla="*/ 1924050 w 2162175"/>
                    <a:gd name="connsiteY30" fmla="*/ 1178718 h 1893093"/>
                    <a:gd name="connsiteX31" fmla="*/ 1914525 w 2162175"/>
                    <a:gd name="connsiteY31" fmla="*/ 1035843 h 1893093"/>
                    <a:gd name="connsiteX32" fmla="*/ 1866900 w 2162175"/>
                    <a:gd name="connsiteY32" fmla="*/ 912018 h 1893093"/>
                    <a:gd name="connsiteX33" fmla="*/ 1819275 w 2162175"/>
                    <a:gd name="connsiteY33" fmla="*/ 816768 h 1893093"/>
                    <a:gd name="connsiteX34" fmla="*/ 1790700 w 2162175"/>
                    <a:gd name="connsiteY34" fmla="*/ 740568 h 1893093"/>
                    <a:gd name="connsiteX35" fmla="*/ 1743075 w 2162175"/>
                    <a:gd name="connsiteY35" fmla="*/ 616743 h 1893093"/>
                    <a:gd name="connsiteX36" fmla="*/ 1704975 w 2162175"/>
                    <a:gd name="connsiteY36" fmla="*/ 540543 h 1893093"/>
                    <a:gd name="connsiteX37" fmla="*/ 1619250 w 2162175"/>
                    <a:gd name="connsiteY37" fmla="*/ 492918 h 1893093"/>
                    <a:gd name="connsiteX38" fmla="*/ 1676400 w 2162175"/>
                    <a:gd name="connsiteY38" fmla="*/ 350043 h 1893093"/>
                    <a:gd name="connsiteX39" fmla="*/ 1516856 w 2162175"/>
                    <a:gd name="connsiteY39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376237 w 2162175"/>
                    <a:gd name="connsiteY15" fmla="*/ 723899 h 1893093"/>
                    <a:gd name="connsiteX16" fmla="*/ 319088 w 2162175"/>
                    <a:gd name="connsiteY16" fmla="*/ 738187 h 1893093"/>
                    <a:gd name="connsiteX17" fmla="*/ 314325 w 2162175"/>
                    <a:gd name="connsiteY17" fmla="*/ 804862 h 1893093"/>
                    <a:gd name="connsiteX18" fmla="*/ 264319 w 2162175"/>
                    <a:gd name="connsiteY18" fmla="*/ 850106 h 1893093"/>
                    <a:gd name="connsiteX19" fmla="*/ 257175 w 2162175"/>
                    <a:gd name="connsiteY19" fmla="*/ 902493 h 1893093"/>
                    <a:gd name="connsiteX20" fmla="*/ 216693 w 2162175"/>
                    <a:gd name="connsiteY20" fmla="*/ 990599 h 1893093"/>
                    <a:gd name="connsiteX21" fmla="*/ 19050 w 2162175"/>
                    <a:gd name="connsiteY21" fmla="*/ 1264443 h 1893093"/>
                    <a:gd name="connsiteX22" fmla="*/ 0 w 2162175"/>
                    <a:gd name="connsiteY22" fmla="*/ 1578768 h 1893093"/>
                    <a:gd name="connsiteX23" fmla="*/ 276225 w 2162175"/>
                    <a:gd name="connsiteY23" fmla="*/ 1635918 h 1893093"/>
                    <a:gd name="connsiteX24" fmla="*/ 619125 w 2162175"/>
                    <a:gd name="connsiteY24" fmla="*/ 1797843 h 1893093"/>
                    <a:gd name="connsiteX25" fmla="*/ 895350 w 2162175"/>
                    <a:gd name="connsiteY25" fmla="*/ 1893093 h 1893093"/>
                    <a:gd name="connsiteX26" fmla="*/ 1409700 w 2162175"/>
                    <a:gd name="connsiteY26" fmla="*/ 1788318 h 1893093"/>
                    <a:gd name="connsiteX27" fmla="*/ 2028825 w 2162175"/>
                    <a:gd name="connsiteY27" fmla="*/ 1635918 h 1893093"/>
                    <a:gd name="connsiteX28" fmla="*/ 2162175 w 2162175"/>
                    <a:gd name="connsiteY28" fmla="*/ 1340643 h 1893093"/>
                    <a:gd name="connsiteX29" fmla="*/ 2009775 w 2162175"/>
                    <a:gd name="connsiteY29" fmla="*/ 1264443 h 1893093"/>
                    <a:gd name="connsiteX30" fmla="*/ 1924050 w 2162175"/>
                    <a:gd name="connsiteY30" fmla="*/ 1178718 h 1893093"/>
                    <a:gd name="connsiteX31" fmla="*/ 1914525 w 2162175"/>
                    <a:gd name="connsiteY31" fmla="*/ 1035843 h 1893093"/>
                    <a:gd name="connsiteX32" fmla="*/ 1866900 w 2162175"/>
                    <a:gd name="connsiteY32" fmla="*/ 912018 h 1893093"/>
                    <a:gd name="connsiteX33" fmla="*/ 1819275 w 2162175"/>
                    <a:gd name="connsiteY33" fmla="*/ 816768 h 1893093"/>
                    <a:gd name="connsiteX34" fmla="*/ 1790700 w 2162175"/>
                    <a:gd name="connsiteY34" fmla="*/ 740568 h 1893093"/>
                    <a:gd name="connsiteX35" fmla="*/ 1743075 w 2162175"/>
                    <a:gd name="connsiteY35" fmla="*/ 616743 h 1893093"/>
                    <a:gd name="connsiteX36" fmla="*/ 1704975 w 2162175"/>
                    <a:gd name="connsiteY36" fmla="*/ 540543 h 1893093"/>
                    <a:gd name="connsiteX37" fmla="*/ 1619250 w 2162175"/>
                    <a:gd name="connsiteY37" fmla="*/ 492918 h 1893093"/>
                    <a:gd name="connsiteX38" fmla="*/ 1676400 w 2162175"/>
                    <a:gd name="connsiteY38" fmla="*/ 350043 h 1893093"/>
                    <a:gd name="connsiteX39" fmla="*/ 1516856 w 2162175"/>
                    <a:gd name="connsiteY39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326231 w 2162175"/>
                    <a:gd name="connsiteY15" fmla="*/ 619124 h 1893093"/>
                    <a:gd name="connsiteX16" fmla="*/ 376237 w 2162175"/>
                    <a:gd name="connsiteY16" fmla="*/ 723899 h 1893093"/>
                    <a:gd name="connsiteX17" fmla="*/ 319088 w 2162175"/>
                    <a:gd name="connsiteY17" fmla="*/ 738187 h 1893093"/>
                    <a:gd name="connsiteX18" fmla="*/ 314325 w 2162175"/>
                    <a:gd name="connsiteY18" fmla="*/ 804862 h 1893093"/>
                    <a:gd name="connsiteX19" fmla="*/ 264319 w 2162175"/>
                    <a:gd name="connsiteY19" fmla="*/ 850106 h 1893093"/>
                    <a:gd name="connsiteX20" fmla="*/ 257175 w 2162175"/>
                    <a:gd name="connsiteY20" fmla="*/ 902493 h 1893093"/>
                    <a:gd name="connsiteX21" fmla="*/ 216693 w 2162175"/>
                    <a:gd name="connsiteY21" fmla="*/ 990599 h 1893093"/>
                    <a:gd name="connsiteX22" fmla="*/ 19050 w 2162175"/>
                    <a:gd name="connsiteY22" fmla="*/ 1264443 h 1893093"/>
                    <a:gd name="connsiteX23" fmla="*/ 0 w 2162175"/>
                    <a:gd name="connsiteY23" fmla="*/ 1578768 h 1893093"/>
                    <a:gd name="connsiteX24" fmla="*/ 276225 w 2162175"/>
                    <a:gd name="connsiteY24" fmla="*/ 1635918 h 1893093"/>
                    <a:gd name="connsiteX25" fmla="*/ 619125 w 2162175"/>
                    <a:gd name="connsiteY25" fmla="*/ 1797843 h 1893093"/>
                    <a:gd name="connsiteX26" fmla="*/ 895350 w 2162175"/>
                    <a:gd name="connsiteY26" fmla="*/ 1893093 h 1893093"/>
                    <a:gd name="connsiteX27" fmla="*/ 1409700 w 2162175"/>
                    <a:gd name="connsiteY27" fmla="*/ 1788318 h 1893093"/>
                    <a:gd name="connsiteX28" fmla="*/ 2028825 w 2162175"/>
                    <a:gd name="connsiteY28" fmla="*/ 1635918 h 1893093"/>
                    <a:gd name="connsiteX29" fmla="*/ 2162175 w 2162175"/>
                    <a:gd name="connsiteY29" fmla="*/ 1340643 h 1893093"/>
                    <a:gd name="connsiteX30" fmla="*/ 2009775 w 2162175"/>
                    <a:gd name="connsiteY30" fmla="*/ 1264443 h 1893093"/>
                    <a:gd name="connsiteX31" fmla="*/ 1924050 w 2162175"/>
                    <a:gd name="connsiteY31" fmla="*/ 1178718 h 1893093"/>
                    <a:gd name="connsiteX32" fmla="*/ 1914525 w 2162175"/>
                    <a:gd name="connsiteY32" fmla="*/ 1035843 h 1893093"/>
                    <a:gd name="connsiteX33" fmla="*/ 1866900 w 2162175"/>
                    <a:gd name="connsiteY33" fmla="*/ 912018 h 1893093"/>
                    <a:gd name="connsiteX34" fmla="*/ 1819275 w 2162175"/>
                    <a:gd name="connsiteY34" fmla="*/ 816768 h 1893093"/>
                    <a:gd name="connsiteX35" fmla="*/ 1790700 w 2162175"/>
                    <a:gd name="connsiteY35" fmla="*/ 740568 h 1893093"/>
                    <a:gd name="connsiteX36" fmla="*/ 1743075 w 2162175"/>
                    <a:gd name="connsiteY36" fmla="*/ 616743 h 1893093"/>
                    <a:gd name="connsiteX37" fmla="*/ 1704975 w 2162175"/>
                    <a:gd name="connsiteY37" fmla="*/ 540543 h 1893093"/>
                    <a:gd name="connsiteX38" fmla="*/ 1619250 w 2162175"/>
                    <a:gd name="connsiteY38" fmla="*/ 492918 h 1893093"/>
                    <a:gd name="connsiteX39" fmla="*/ 1676400 w 2162175"/>
                    <a:gd name="connsiteY39" fmla="*/ 350043 h 1893093"/>
                    <a:gd name="connsiteX40" fmla="*/ 1516856 w 2162175"/>
                    <a:gd name="connsiteY40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326231 w 2162175"/>
                    <a:gd name="connsiteY15" fmla="*/ 619124 h 1893093"/>
                    <a:gd name="connsiteX16" fmla="*/ 350044 w 2162175"/>
                    <a:gd name="connsiteY16" fmla="*/ 700087 h 1893093"/>
                    <a:gd name="connsiteX17" fmla="*/ 376237 w 2162175"/>
                    <a:gd name="connsiteY17" fmla="*/ 723899 h 1893093"/>
                    <a:gd name="connsiteX18" fmla="*/ 319088 w 2162175"/>
                    <a:gd name="connsiteY18" fmla="*/ 738187 h 1893093"/>
                    <a:gd name="connsiteX19" fmla="*/ 314325 w 2162175"/>
                    <a:gd name="connsiteY19" fmla="*/ 804862 h 1893093"/>
                    <a:gd name="connsiteX20" fmla="*/ 264319 w 2162175"/>
                    <a:gd name="connsiteY20" fmla="*/ 850106 h 1893093"/>
                    <a:gd name="connsiteX21" fmla="*/ 257175 w 2162175"/>
                    <a:gd name="connsiteY21" fmla="*/ 902493 h 1893093"/>
                    <a:gd name="connsiteX22" fmla="*/ 216693 w 2162175"/>
                    <a:gd name="connsiteY22" fmla="*/ 990599 h 1893093"/>
                    <a:gd name="connsiteX23" fmla="*/ 19050 w 2162175"/>
                    <a:gd name="connsiteY23" fmla="*/ 1264443 h 1893093"/>
                    <a:gd name="connsiteX24" fmla="*/ 0 w 2162175"/>
                    <a:gd name="connsiteY24" fmla="*/ 1578768 h 1893093"/>
                    <a:gd name="connsiteX25" fmla="*/ 276225 w 2162175"/>
                    <a:gd name="connsiteY25" fmla="*/ 1635918 h 1893093"/>
                    <a:gd name="connsiteX26" fmla="*/ 619125 w 2162175"/>
                    <a:gd name="connsiteY26" fmla="*/ 1797843 h 1893093"/>
                    <a:gd name="connsiteX27" fmla="*/ 895350 w 2162175"/>
                    <a:gd name="connsiteY27" fmla="*/ 1893093 h 1893093"/>
                    <a:gd name="connsiteX28" fmla="*/ 1409700 w 2162175"/>
                    <a:gd name="connsiteY28" fmla="*/ 1788318 h 1893093"/>
                    <a:gd name="connsiteX29" fmla="*/ 2028825 w 2162175"/>
                    <a:gd name="connsiteY29" fmla="*/ 1635918 h 1893093"/>
                    <a:gd name="connsiteX30" fmla="*/ 2162175 w 2162175"/>
                    <a:gd name="connsiteY30" fmla="*/ 1340643 h 1893093"/>
                    <a:gd name="connsiteX31" fmla="*/ 2009775 w 2162175"/>
                    <a:gd name="connsiteY31" fmla="*/ 1264443 h 1893093"/>
                    <a:gd name="connsiteX32" fmla="*/ 1924050 w 2162175"/>
                    <a:gd name="connsiteY32" fmla="*/ 1178718 h 1893093"/>
                    <a:gd name="connsiteX33" fmla="*/ 1914525 w 2162175"/>
                    <a:gd name="connsiteY33" fmla="*/ 1035843 h 1893093"/>
                    <a:gd name="connsiteX34" fmla="*/ 1866900 w 2162175"/>
                    <a:gd name="connsiteY34" fmla="*/ 912018 h 1893093"/>
                    <a:gd name="connsiteX35" fmla="*/ 1819275 w 2162175"/>
                    <a:gd name="connsiteY35" fmla="*/ 816768 h 1893093"/>
                    <a:gd name="connsiteX36" fmla="*/ 1790700 w 2162175"/>
                    <a:gd name="connsiteY36" fmla="*/ 740568 h 1893093"/>
                    <a:gd name="connsiteX37" fmla="*/ 1743075 w 2162175"/>
                    <a:gd name="connsiteY37" fmla="*/ 616743 h 1893093"/>
                    <a:gd name="connsiteX38" fmla="*/ 1704975 w 2162175"/>
                    <a:gd name="connsiteY38" fmla="*/ 540543 h 1893093"/>
                    <a:gd name="connsiteX39" fmla="*/ 1619250 w 2162175"/>
                    <a:gd name="connsiteY39" fmla="*/ 492918 h 1893093"/>
                    <a:gd name="connsiteX40" fmla="*/ 1676400 w 2162175"/>
                    <a:gd name="connsiteY40" fmla="*/ 350043 h 1893093"/>
                    <a:gd name="connsiteX41" fmla="*/ 1516856 w 2162175"/>
                    <a:gd name="connsiteY41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354806 w 2162175"/>
                    <a:gd name="connsiteY12" fmla="*/ 345280 h 1893093"/>
                    <a:gd name="connsiteX13" fmla="*/ 373856 w 2162175"/>
                    <a:gd name="connsiteY13" fmla="*/ 419099 h 1893093"/>
                    <a:gd name="connsiteX14" fmla="*/ 311944 w 2162175"/>
                    <a:gd name="connsiteY14" fmla="*/ 554830 h 1893093"/>
                    <a:gd name="connsiteX15" fmla="*/ 326231 w 2162175"/>
                    <a:gd name="connsiteY15" fmla="*/ 619124 h 1893093"/>
                    <a:gd name="connsiteX16" fmla="*/ 352425 w 2162175"/>
                    <a:gd name="connsiteY16" fmla="*/ 640556 h 1893093"/>
                    <a:gd name="connsiteX17" fmla="*/ 350044 w 2162175"/>
                    <a:gd name="connsiteY17" fmla="*/ 700087 h 1893093"/>
                    <a:gd name="connsiteX18" fmla="*/ 376237 w 2162175"/>
                    <a:gd name="connsiteY18" fmla="*/ 723899 h 1893093"/>
                    <a:gd name="connsiteX19" fmla="*/ 319088 w 2162175"/>
                    <a:gd name="connsiteY19" fmla="*/ 738187 h 1893093"/>
                    <a:gd name="connsiteX20" fmla="*/ 314325 w 2162175"/>
                    <a:gd name="connsiteY20" fmla="*/ 804862 h 1893093"/>
                    <a:gd name="connsiteX21" fmla="*/ 264319 w 2162175"/>
                    <a:gd name="connsiteY21" fmla="*/ 850106 h 1893093"/>
                    <a:gd name="connsiteX22" fmla="*/ 257175 w 2162175"/>
                    <a:gd name="connsiteY22" fmla="*/ 902493 h 1893093"/>
                    <a:gd name="connsiteX23" fmla="*/ 216693 w 2162175"/>
                    <a:gd name="connsiteY23" fmla="*/ 990599 h 1893093"/>
                    <a:gd name="connsiteX24" fmla="*/ 19050 w 2162175"/>
                    <a:gd name="connsiteY24" fmla="*/ 1264443 h 1893093"/>
                    <a:gd name="connsiteX25" fmla="*/ 0 w 2162175"/>
                    <a:gd name="connsiteY25" fmla="*/ 1578768 h 1893093"/>
                    <a:gd name="connsiteX26" fmla="*/ 276225 w 2162175"/>
                    <a:gd name="connsiteY26" fmla="*/ 1635918 h 1893093"/>
                    <a:gd name="connsiteX27" fmla="*/ 619125 w 2162175"/>
                    <a:gd name="connsiteY27" fmla="*/ 1797843 h 1893093"/>
                    <a:gd name="connsiteX28" fmla="*/ 895350 w 2162175"/>
                    <a:gd name="connsiteY28" fmla="*/ 1893093 h 1893093"/>
                    <a:gd name="connsiteX29" fmla="*/ 1409700 w 2162175"/>
                    <a:gd name="connsiteY29" fmla="*/ 1788318 h 1893093"/>
                    <a:gd name="connsiteX30" fmla="*/ 2028825 w 2162175"/>
                    <a:gd name="connsiteY30" fmla="*/ 1635918 h 1893093"/>
                    <a:gd name="connsiteX31" fmla="*/ 2162175 w 2162175"/>
                    <a:gd name="connsiteY31" fmla="*/ 1340643 h 1893093"/>
                    <a:gd name="connsiteX32" fmla="*/ 2009775 w 2162175"/>
                    <a:gd name="connsiteY32" fmla="*/ 1264443 h 1893093"/>
                    <a:gd name="connsiteX33" fmla="*/ 1924050 w 2162175"/>
                    <a:gd name="connsiteY33" fmla="*/ 1178718 h 1893093"/>
                    <a:gd name="connsiteX34" fmla="*/ 1914525 w 2162175"/>
                    <a:gd name="connsiteY34" fmla="*/ 1035843 h 1893093"/>
                    <a:gd name="connsiteX35" fmla="*/ 1866900 w 2162175"/>
                    <a:gd name="connsiteY35" fmla="*/ 912018 h 1893093"/>
                    <a:gd name="connsiteX36" fmla="*/ 1819275 w 2162175"/>
                    <a:gd name="connsiteY36" fmla="*/ 816768 h 1893093"/>
                    <a:gd name="connsiteX37" fmla="*/ 1790700 w 2162175"/>
                    <a:gd name="connsiteY37" fmla="*/ 740568 h 1893093"/>
                    <a:gd name="connsiteX38" fmla="*/ 1743075 w 2162175"/>
                    <a:gd name="connsiteY38" fmla="*/ 616743 h 1893093"/>
                    <a:gd name="connsiteX39" fmla="*/ 1704975 w 2162175"/>
                    <a:gd name="connsiteY39" fmla="*/ 540543 h 1893093"/>
                    <a:gd name="connsiteX40" fmla="*/ 1619250 w 2162175"/>
                    <a:gd name="connsiteY40" fmla="*/ 492918 h 1893093"/>
                    <a:gd name="connsiteX41" fmla="*/ 1676400 w 2162175"/>
                    <a:gd name="connsiteY41" fmla="*/ 350043 h 1893093"/>
                    <a:gd name="connsiteX42" fmla="*/ 1516856 w 2162175"/>
                    <a:gd name="connsiteY42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26244 w 2162175"/>
                    <a:gd name="connsiteY12" fmla="*/ 252412 h 1893093"/>
                    <a:gd name="connsiteX13" fmla="*/ 354806 w 2162175"/>
                    <a:gd name="connsiteY13" fmla="*/ 345280 h 1893093"/>
                    <a:gd name="connsiteX14" fmla="*/ 373856 w 2162175"/>
                    <a:gd name="connsiteY14" fmla="*/ 419099 h 1893093"/>
                    <a:gd name="connsiteX15" fmla="*/ 311944 w 2162175"/>
                    <a:gd name="connsiteY15" fmla="*/ 554830 h 1893093"/>
                    <a:gd name="connsiteX16" fmla="*/ 326231 w 2162175"/>
                    <a:gd name="connsiteY16" fmla="*/ 619124 h 1893093"/>
                    <a:gd name="connsiteX17" fmla="*/ 352425 w 2162175"/>
                    <a:gd name="connsiteY17" fmla="*/ 640556 h 1893093"/>
                    <a:gd name="connsiteX18" fmla="*/ 350044 w 2162175"/>
                    <a:gd name="connsiteY18" fmla="*/ 700087 h 1893093"/>
                    <a:gd name="connsiteX19" fmla="*/ 376237 w 2162175"/>
                    <a:gd name="connsiteY19" fmla="*/ 723899 h 1893093"/>
                    <a:gd name="connsiteX20" fmla="*/ 319088 w 2162175"/>
                    <a:gd name="connsiteY20" fmla="*/ 738187 h 1893093"/>
                    <a:gd name="connsiteX21" fmla="*/ 314325 w 2162175"/>
                    <a:gd name="connsiteY21" fmla="*/ 804862 h 1893093"/>
                    <a:gd name="connsiteX22" fmla="*/ 264319 w 2162175"/>
                    <a:gd name="connsiteY22" fmla="*/ 850106 h 1893093"/>
                    <a:gd name="connsiteX23" fmla="*/ 257175 w 2162175"/>
                    <a:gd name="connsiteY23" fmla="*/ 902493 h 1893093"/>
                    <a:gd name="connsiteX24" fmla="*/ 216693 w 2162175"/>
                    <a:gd name="connsiteY24" fmla="*/ 990599 h 1893093"/>
                    <a:gd name="connsiteX25" fmla="*/ 19050 w 2162175"/>
                    <a:gd name="connsiteY25" fmla="*/ 1264443 h 1893093"/>
                    <a:gd name="connsiteX26" fmla="*/ 0 w 2162175"/>
                    <a:gd name="connsiteY26" fmla="*/ 1578768 h 1893093"/>
                    <a:gd name="connsiteX27" fmla="*/ 276225 w 2162175"/>
                    <a:gd name="connsiteY27" fmla="*/ 1635918 h 1893093"/>
                    <a:gd name="connsiteX28" fmla="*/ 619125 w 2162175"/>
                    <a:gd name="connsiteY28" fmla="*/ 1797843 h 1893093"/>
                    <a:gd name="connsiteX29" fmla="*/ 895350 w 2162175"/>
                    <a:gd name="connsiteY29" fmla="*/ 1893093 h 1893093"/>
                    <a:gd name="connsiteX30" fmla="*/ 1409700 w 2162175"/>
                    <a:gd name="connsiteY30" fmla="*/ 1788318 h 1893093"/>
                    <a:gd name="connsiteX31" fmla="*/ 2028825 w 2162175"/>
                    <a:gd name="connsiteY31" fmla="*/ 1635918 h 1893093"/>
                    <a:gd name="connsiteX32" fmla="*/ 2162175 w 2162175"/>
                    <a:gd name="connsiteY32" fmla="*/ 1340643 h 1893093"/>
                    <a:gd name="connsiteX33" fmla="*/ 2009775 w 2162175"/>
                    <a:gd name="connsiteY33" fmla="*/ 1264443 h 1893093"/>
                    <a:gd name="connsiteX34" fmla="*/ 1924050 w 2162175"/>
                    <a:gd name="connsiteY34" fmla="*/ 1178718 h 1893093"/>
                    <a:gd name="connsiteX35" fmla="*/ 1914525 w 2162175"/>
                    <a:gd name="connsiteY35" fmla="*/ 1035843 h 1893093"/>
                    <a:gd name="connsiteX36" fmla="*/ 1866900 w 2162175"/>
                    <a:gd name="connsiteY36" fmla="*/ 912018 h 1893093"/>
                    <a:gd name="connsiteX37" fmla="*/ 1819275 w 2162175"/>
                    <a:gd name="connsiteY37" fmla="*/ 816768 h 1893093"/>
                    <a:gd name="connsiteX38" fmla="*/ 1790700 w 2162175"/>
                    <a:gd name="connsiteY38" fmla="*/ 740568 h 1893093"/>
                    <a:gd name="connsiteX39" fmla="*/ 1743075 w 2162175"/>
                    <a:gd name="connsiteY39" fmla="*/ 616743 h 1893093"/>
                    <a:gd name="connsiteX40" fmla="*/ 1704975 w 2162175"/>
                    <a:gd name="connsiteY40" fmla="*/ 540543 h 1893093"/>
                    <a:gd name="connsiteX41" fmla="*/ 1619250 w 2162175"/>
                    <a:gd name="connsiteY41" fmla="*/ 492918 h 1893093"/>
                    <a:gd name="connsiteX42" fmla="*/ 1676400 w 2162175"/>
                    <a:gd name="connsiteY42" fmla="*/ 350043 h 1893093"/>
                    <a:gd name="connsiteX43" fmla="*/ 1516856 w 2162175"/>
                    <a:gd name="connsiteY43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743075 w 2162175"/>
                    <a:gd name="connsiteY40" fmla="*/ 616743 h 1893093"/>
                    <a:gd name="connsiteX41" fmla="*/ 1704975 w 2162175"/>
                    <a:gd name="connsiteY41" fmla="*/ 540543 h 1893093"/>
                    <a:gd name="connsiteX42" fmla="*/ 1619250 w 2162175"/>
                    <a:gd name="connsiteY42" fmla="*/ 492918 h 1893093"/>
                    <a:gd name="connsiteX43" fmla="*/ 1676400 w 2162175"/>
                    <a:gd name="connsiteY43" fmla="*/ 350043 h 1893093"/>
                    <a:gd name="connsiteX44" fmla="*/ 1516856 w 2162175"/>
                    <a:gd name="connsiteY44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743075 w 2162175"/>
                    <a:gd name="connsiteY40" fmla="*/ 616743 h 1893093"/>
                    <a:gd name="connsiteX41" fmla="*/ 1704975 w 2162175"/>
                    <a:gd name="connsiteY41" fmla="*/ 540543 h 1893093"/>
                    <a:gd name="connsiteX42" fmla="*/ 1619250 w 2162175"/>
                    <a:gd name="connsiteY42" fmla="*/ 492918 h 1893093"/>
                    <a:gd name="connsiteX43" fmla="*/ 1571625 w 2162175"/>
                    <a:gd name="connsiteY43" fmla="*/ 283368 h 1893093"/>
                    <a:gd name="connsiteX44" fmla="*/ 1516856 w 2162175"/>
                    <a:gd name="connsiteY44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743075 w 2162175"/>
                    <a:gd name="connsiteY40" fmla="*/ 616743 h 1893093"/>
                    <a:gd name="connsiteX41" fmla="*/ 1704975 w 2162175"/>
                    <a:gd name="connsiteY41" fmla="*/ 540543 h 1893093"/>
                    <a:gd name="connsiteX42" fmla="*/ 1619250 w 2162175"/>
                    <a:gd name="connsiteY42" fmla="*/ 492918 h 1893093"/>
                    <a:gd name="connsiteX43" fmla="*/ 1557338 w 2162175"/>
                    <a:gd name="connsiteY43" fmla="*/ 359568 h 1893093"/>
                    <a:gd name="connsiteX44" fmla="*/ 1571625 w 2162175"/>
                    <a:gd name="connsiteY44" fmla="*/ 283368 h 1893093"/>
                    <a:gd name="connsiteX45" fmla="*/ 1516856 w 2162175"/>
                    <a:gd name="connsiteY45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743075 w 2162175"/>
                    <a:gd name="connsiteY40" fmla="*/ 616743 h 1893093"/>
                    <a:gd name="connsiteX41" fmla="*/ 1704975 w 2162175"/>
                    <a:gd name="connsiteY41" fmla="*/ 540543 h 1893093"/>
                    <a:gd name="connsiteX42" fmla="*/ 1619250 w 2162175"/>
                    <a:gd name="connsiteY42" fmla="*/ 492918 h 1893093"/>
                    <a:gd name="connsiteX43" fmla="*/ 1602581 w 2162175"/>
                    <a:gd name="connsiteY43" fmla="*/ 411956 h 1893093"/>
                    <a:gd name="connsiteX44" fmla="*/ 1557338 w 2162175"/>
                    <a:gd name="connsiteY44" fmla="*/ 359568 h 1893093"/>
                    <a:gd name="connsiteX45" fmla="*/ 1571625 w 2162175"/>
                    <a:gd name="connsiteY45" fmla="*/ 283368 h 1893093"/>
                    <a:gd name="connsiteX46" fmla="*/ 1516856 w 2162175"/>
                    <a:gd name="connsiteY46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743075 w 2162175"/>
                    <a:gd name="connsiteY40" fmla="*/ 616743 h 1893093"/>
                    <a:gd name="connsiteX41" fmla="*/ 1704975 w 2162175"/>
                    <a:gd name="connsiteY41" fmla="*/ 540543 h 1893093"/>
                    <a:gd name="connsiteX42" fmla="*/ 1619250 w 2162175"/>
                    <a:gd name="connsiteY42" fmla="*/ 492918 h 1893093"/>
                    <a:gd name="connsiteX43" fmla="*/ 1602581 w 2162175"/>
                    <a:gd name="connsiteY43" fmla="*/ 411956 h 1893093"/>
                    <a:gd name="connsiteX44" fmla="*/ 1557338 w 2162175"/>
                    <a:gd name="connsiteY44" fmla="*/ 359568 h 1893093"/>
                    <a:gd name="connsiteX45" fmla="*/ 1571625 w 2162175"/>
                    <a:gd name="connsiteY45" fmla="*/ 283368 h 1893093"/>
                    <a:gd name="connsiteX46" fmla="*/ 1516856 w 2162175"/>
                    <a:gd name="connsiteY46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743075 w 2162175"/>
                    <a:gd name="connsiteY40" fmla="*/ 616743 h 1893093"/>
                    <a:gd name="connsiteX41" fmla="*/ 1704975 w 2162175"/>
                    <a:gd name="connsiteY41" fmla="*/ 540543 h 1893093"/>
                    <a:gd name="connsiteX42" fmla="*/ 1619250 w 2162175"/>
                    <a:gd name="connsiteY42" fmla="*/ 492918 h 1893093"/>
                    <a:gd name="connsiteX43" fmla="*/ 1557338 w 2162175"/>
                    <a:gd name="connsiteY43" fmla="*/ 485774 h 1893093"/>
                    <a:gd name="connsiteX44" fmla="*/ 1602581 w 2162175"/>
                    <a:gd name="connsiteY44" fmla="*/ 411956 h 1893093"/>
                    <a:gd name="connsiteX45" fmla="*/ 1557338 w 2162175"/>
                    <a:gd name="connsiteY45" fmla="*/ 359568 h 1893093"/>
                    <a:gd name="connsiteX46" fmla="*/ 1571625 w 2162175"/>
                    <a:gd name="connsiteY46" fmla="*/ 283368 h 1893093"/>
                    <a:gd name="connsiteX47" fmla="*/ 1516856 w 2162175"/>
                    <a:gd name="connsiteY47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743075 w 2162175"/>
                    <a:gd name="connsiteY40" fmla="*/ 616743 h 1893093"/>
                    <a:gd name="connsiteX41" fmla="*/ 1681162 w 2162175"/>
                    <a:gd name="connsiteY41" fmla="*/ 545305 h 1893093"/>
                    <a:gd name="connsiteX42" fmla="*/ 1619250 w 2162175"/>
                    <a:gd name="connsiteY42" fmla="*/ 492918 h 1893093"/>
                    <a:gd name="connsiteX43" fmla="*/ 1557338 w 2162175"/>
                    <a:gd name="connsiteY43" fmla="*/ 485774 h 1893093"/>
                    <a:gd name="connsiteX44" fmla="*/ 1602581 w 2162175"/>
                    <a:gd name="connsiteY44" fmla="*/ 411956 h 1893093"/>
                    <a:gd name="connsiteX45" fmla="*/ 1557338 w 2162175"/>
                    <a:gd name="connsiteY45" fmla="*/ 359568 h 1893093"/>
                    <a:gd name="connsiteX46" fmla="*/ 1571625 w 2162175"/>
                    <a:gd name="connsiteY46" fmla="*/ 283368 h 1893093"/>
                    <a:gd name="connsiteX47" fmla="*/ 1516856 w 2162175"/>
                    <a:gd name="connsiteY47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621631 w 2162175"/>
                    <a:gd name="connsiteY40" fmla="*/ 557212 h 1893093"/>
                    <a:gd name="connsiteX41" fmla="*/ 1681162 w 2162175"/>
                    <a:gd name="connsiteY41" fmla="*/ 545305 h 1893093"/>
                    <a:gd name="connsiteX42" fmla="*/ 1619250 w 2162175"/>
                    <a:gd name="connsiteY42" fmla="*/ 492918 h 1893093"/>
                    <a:gd name="connsiteX43" fmla="*/ 1557338 w 2162175"/>
                    <a:gd name="connsiteY43" fmla="*/ 485774 h 1893093"/>
                    <a:gd name="connsiteX44" fmla="*/ 1602581 w 2162175"/>
                    <a:gd name="connsiteY44" fmla="*/ 411956 h 1893093"/>
                    <a:gd name="connsiteX45" fmla="*/ 1557338 w 2162175"/>
                    <a:gd name="connsiteY45" fmla="*/ 359568 h 1893093"/>
                    <a:gd name="connsiteX46" fmla="*/ 1571625 w 2162175"/>
                    <a:gd name="connsiteY46" fmla="*/ 283368 h 1893093"/>
                    <a:gd name="connsiteX47" fmla="*/ 1516856 w 2162175"/>
                    <a:gd name="connsiteY47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597819 w 2162175"/>
                    <a:gd name="connsiteY40" fmla="*/ 616743 h 1893093"/>
                    <a:gd name="connsiteX41" fmla="*/ 1621631 w 2162175"/>
                    <a:gd name="connsiteY41" fmla="*/ 557212 h 1893093"/>
                    <a:gd name="connsiteX42" fmla="*/ 1681162 w 2162175"/>
                    <a:gd name="connsiteY42" fmla="*/ 545305 h 1893093"/>
                    <a:gd name="connsiteX43" fmla="*/ 1619250 w 2162175"/>
                    <a:gd name="connsiteY43" fmla="*/ 492918 h 1893093"/>
                    <a:gd name="connsiteX44" fmla="*/ 1557338 w 2162175"/>
                    <a:gd name="connsiteY44" fmla="*/ 485774 h 1893093"/>
                    <a:gd name="connsiteX45" fmla="*/ 1602581 w 2162175"/>
                    <a:gd name="connsiteY45" fmla="*/ 411956 h 1893093"/>
                    <a:gd name="connsiteX46" fmla="*/ 1557338 w 2162175"/>
                    <a:gd name="connsiteY46" fmla="*/ 359568 h 1893093"/>
                    <a:gd name="connsiteX47" fmla="*/ 1571625 w 2162175"/>
                    <a:gd name="connsiteY47" fmla="*/ 283368 h 1893093"/>
                    <a:gd name="connsiteX48" fmla="*/ 1516856 w 2162175"/>
                    <a:gd name="connsiteY48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90700 w 2162175"/>
                    <a:gd name="connsiteY39" fmla="*/ 740568 h 1893093"/>
                    <a:gd name="connsiteX40" fmla="*/ 1669256 w 2162175"/>
                    <a:gd name="connsiteY40" fmla="*/ 640556 h 1893093"/>
                    <a:gd name="connsiteX41" fmla="*/ 1597819 w 2162175"/>
                    <a:gd name="connsiteY41" fmla="*/ 616743 h 1893093"/>
                    <a:gd name="connsiteX42" fmla="*/ 1621631 w 2162175"/>
                    <a:gd name="connsiteY42" fmla="*/ 557212 h 1893093"/>
                    <a:gd name="connsiteX43" fmla="*/ 1681162 w 2162175"/>
                    <a:gd name="connsiteY43" fmla="*/ 545305 h 1893093"/>
                    <a:gd name="connsiteX44" fmla="*/ 1619250 w 2162175"/>
                    <a:gd name="connsiteY44" fmla="*/ 492918 h 1893093"/>
                    <a:gd name="connsiteX45" fmla="*/ 1557338 w 2162175"/>
                    <a:gd name="connsiteY45" fmla="*/ 485774 h 1893093"/>
                    <a:gd name="connsiteX46" fmla="*/ 1602581 w 2162175"/>
                    <a:gd name="connsiteY46" fmla="*/ 411956 h 1893093"/>
                    <a:gd name="connsiteX47" fmla="*/ 1557338 w 2162175"/>
                    <a:gd name="connsiteY47" fmla="*/ 359568 h 1893093"/>
                    <a:gd name="connsiteX48" fmla="*/ 1571625 w 2162175"/>
                    <a:gd name="connsiteY48" fmla="*/ 283368 h 1893093"/>
                    <a:gd name="connsiteX49" fmla="*/ 1516856 w 2162175"/>
                    <a:gd name="connsiteY49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28825 w 2162175"/>
                    <a:gd name="connsiteY32" fmla="*/ 1635918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16881 w 2162175"/>
                    <a:gd name="connsiteY39" fmla="*/ 719137 h 1893093"/>
                    <a:gd name="connsiteX40" fmla="*/ 1669256 w 2162175"/>
                    <a:gd name="connsiteY40" fmla="*/ 640556 h 1893093"/>
                    <a:gd name="connsiteX41" fmla="*/ 1597819 w 2162175"/>
                    <a:gd name="connsiteY41" fmla="*/ 616743 h 1893093"/>
                    <a:gd name="connsiteX42" fmla="*/ 1621631 w 2162175"/>
                    <a:gd name="connsiteY42" fmla="*/ 557212 h 1893093"/>
                    <a:gd name="connsiteX43" fmla="*/ 1681162 w 2162175"/>
                    <a:gd name="connsiteY43" fmla="*/ 545305 h 1893093"/>
                    <a:gd name="connsiteX44" fmla="*/ 1619250 w 2162175"/>
                    <a:gd name="connsiteY44" fmla="*/ 492918 h 1893093"/>
                    <a:gd name="connsiteX45" fmla="*/ 1557338 w 2162175"/>
                    <a:gd name="connsiteY45" fmla="*/ 485774 h 1893093"/>
                    <a:gd name="connsiteX46" fmla="*/ 1602581 w 2162175"/>
                    <a:gd name="connsiteY46" fmla="*/ 411956 h 1893093"/>
                    <a:gd name="connsiteX47" fmla="*/ 1557338 w 2162175"/>
                    <a:gd name="connsiteY47" fmla="*/ 359568 h 1893093"/>
                    <a:gd name="connsiteX48" fmla="*/ 1571625 w 2162175"/>
                    <a:gd name="connsiteY48" fmla="*/ 283368 h 1893093"/>
                    <a:gd name="connsiteX49" fmla="*/ 1516856 w 2162175"/>
                    <a:gd name="connsiteY49" fmla="*/ 202405 h 1893093"/>
                    <a:gd name="connsiteX0" fmla="*/ 1516856 w 2162175"/>
                    <a:gd name="connsiteY0" fmla="*/ 202405 h 1893093"/>
                    <a:gd name="connsiteX1" fmla="*/ 1250157 w 2162175"/>
                    <a:gd name="connsiteY1" fmla="*/ 266699 h 1893093"/>
                    <a:gd name="connsiteX2" fmla="*/ 1181101 w 2162175"/>
                    <a:gd name="connsiteY2" fmla="*/ 245268 h 1893093"/>
                    <a:gd name="connsiteX3" fmla="*/ 1133476 w 2162175"/>
                    <a:gd name="connsiteY3" fmla="*/ 342899 h 1893093"/>
                    <a:gd name="connsiteX4" fmla="*/ 1088231 w 2162175"/>
                    <a:gd name="connsiteY4" fmla="*/ 323850 h 1893093"/>
                    <a:gd name="connsiteX5" fmla="*/ 1083469 w 2162175"/>
                    <a:gd name="connsiteY5" fmla="*/ 259555 h 1893093"/>
                    <a:gd name="connsiteX6" fmla="*/ 1042988 w 2162175"/>
                    <a:gd name="connsiteY6" fmla="*/ 216693 h 1893093"/>
                    <a:gd name="connsiteX7" fmla="*/ 916781 w 2162175"/>
                    <a:gd name="connsiteY7" fmla="*/ 128587 h 1893093"/>
                    <a:gd name="connsiteX8" fmla="*/ 738188 w 2162175"/>
                    <a:gd name="connsiteY8" fmla="*/ 80962 h 1893093"/>
                    <a:gd name="connsiteX9" fmla="*/ 642937 w 2162175"/>
                    <a:gd name="connsiteY9" fmla="*/ 0 h 1893093"/>
                    <a:gd name="connsiteX10" fmla="*/ 559594 w 2162175"/>
                    <a:gd name="connsiteY10" fmla="*/ 61912 h 1893093"/>
                    <a:gd name="connsiteX11" fmla="*/ 514350 w 2162175"/>
                    <a:gd name="connsiteY11" fmla="*/ 166686 h 1893093"/>
                    <a:gd name="connsiteX12" fmla="*/ 485775 w 2162175"/>
                    <a:gd name="connsiteY12" fmla="*/ 178593 h 1893093"/>
                    <a:gd name="connsiteX13" fmla="*/ 426244 w 2162175"/>
                    <a:gd name="connsiteY13" fmla="*/ 252412 h 1893093"/>
                    <a:gd name="connsiteX14" fmla="*/ 354806 w 2162175"/>
                    <a:gd name="connsiteY14" fmla="*/ 345280 h 1893093"/>
                    <a:gd name="connsiteX15" fmla="*/ 373856 w 2162175"/>
                    <a:gd name="connsiteY15" fmla="*/ 419099 h 1893093"/>
                    <a:gd name="connsiteX16" fmla="*/ 311944 w 2162175"/>
                    <a:gd name="connsiteY16" fmla="*/ 554830 h 1893093"/>
                    <a:gd name="connsiteX17" fmla="*/ 326231 w 2162175"/>
                    <a:gd name="connsiteY17" fmla="*/ 619124 h 1893093"/>
                    <a:gd name="connsiteX18" fmla="*/ 352425 w 2162175"/>
                    <a:gd name="connsiteY18" fmla="*/ 640556 h 1893093"/>
                    <a:gd name="connsiteX19" fmla="*/ 350044 w 2162175"/>
                    <a:gd name="connsiteY19" fmla="*/ 700087 h 1893093"/>
                    <a:gd name="connsiteX20" fmla="*/ 376237 w 2162175"/>
                    <a:gd name="connsiteY20" fmla="*/ 723899 h 1893093"/>
                    <a:gd name="connsiteX21" fmla="*/ 319088 w 2162175"/>
                    <a:gd name="connsiteY21" fmla="*/ 738187 h 1893093"/>
                    <a:gd name="connsiteX22" fmla="*/ 314325 w 2162175"/>
                    <a:gd name="connsiteY22" fmla="*/ 804862 h 1893093"/>
                    <a:gd name="connsiteX23" fmla="*/ 264319 w 2162175"/>
                    <a:gd name="connsiteY23" fmla="*/ 850106 h 1893093"/>
                    <a:gd name="connsiteX24" fmla="*/ 257175 w 2162175"/>
                    <a:gd name="connsiteY24" fmla="*/ 902493 h 1893093"/>
                    <a:gd name="connsiteX25" fmla="*/ 216693 w 2162175"/>
                    <a:gd name="connsiteY25" fmla="*/ 990599 h 1893093"/>
                    <a:gd name="connsiteX26" fmla="*/ 19050 w 2162175"/>
                    <a:gd name="connsiteY26" fmla="*/ 1264443 h 1893093"/>
                    <a:gd name="connsiteX27" fmla="*/ 0 w 2162175"/>
                    <a:gd name="connsiteY27" fmla="*/ 1578768 h 1893093"/>
                    <a:gd name="connsiteX28" fmla="*/ 276225 w 2162175"/>
                    <a:gd name="connsiteY28" fmla="*/ 1635918 h 1893093"/>
                    <a:gd name="connsiteX29" fmla="*/ 619125 w 2162175"/>
                    <a:gd name="connsiteY29" fmla="*/ 1797843 h 1893093"/>
                    <a:gd name="connsiteX30" fmla="*/ 895350 w 2162175"/>
                    <a:gd name="connsiteY30" fmla="*/ 1893093 h 1893093"/>
                    <a:gd name="connsiteX31" fmla="*/ 1409700 w 2162175"/>
                    <a:gd name="connsiteY31" fmla="*/ 1788318 h 1893093"/>
                    <a:gd name="connsiteX32" fmla="*/ 2019300 w 2162175"/>
                    <a:gd name="connsiteY32" fmla="*/ 1600200 h 1893093"/>
                    <a:gd name="connsiteX33" fmla="*/ 2162175 w 2162175"/>
                    <a:gd name="connsiteY33" fmla="*/ 1340643 h 1893093"/>
                    <a:gd name="connsiteX34" fmla="*/ 2009775 w 2162175"/>
                    <a:gd name="connsiteY34" fmla="*/ 1264443 h 1893093"/>
                    <a:gd name="connsiteX35" fmla="*/ 1924050 w 2162175"/>
                    <a:gd name="connsiteY35" fmla="*/ 1178718 h 1893093"/>
                    <a:gd name="connsiteX36" fmla="*/ 1914525 w 2162175"/>
                    <a:gd name="connsiteY36" fmla="*/ 1035843 h 1893093"/>
                    <a:gd name="connsiteX37" fmla="*/ 1866900 w 2162175"/>
                    <a:gd name="connsiteY37" fmla="*/ 912018 h 1893093"/>
                    <a:gd name="connsiteX38" fmla="*/ 1819275 w 2162175"/>
                    <a:gd name="connsiteY38" fmla="*/ 816768 h 1893093"/>
                    <a:gd name="connsiteX39" fmla="*/ 1716881 w 2162175"/>
                    <a:gd name="connsiteY39" fmla="*/ 719137 h 1893093"/>
                    <a:gd name="connsiteX40" fmla="*/ 1669256 w 2162175"/>
                    <a:gd name="connsiteY40" fmla="*/ 640556 h 1893093"/>
                    <a:gd name="connsiteX41" fmla="*/ 1597819 w 2162175"/>
                    <a:gd name="connsiteY41" fmla="*/ 616743 h 1893093"/>
                    <a:gd name="connsiteX42" fmla="*/ 1621631 w 2162175"/>
                    <a:gd name="connsiteY42" fmla="*/ 557212 h 1893093"/>
                    <a:gd name="connsiteX43" fmla="*/ 1681162 w 2162175"/>
                    <a:gd name="connsiteY43" fmla="*/ 545305 h 1893093"/>
                    <a:gd name="connsiteX44" fmla="*/ 1619250 w 2162175"/>
                    <a:gd name="connsiteY44" fmla="*/ 492918 h 1893093"/>
                    <a:gd name="connsiteX45" fmla="*/ 1557338 w 2162175"/>
                    <a:gd name="connsiteY45" fmla="*/ 485774 h 1893093"/>
                    <a:gd name="connsiteX46" fmla="*/ 1602581 w 2162175"/>
                    <a:gd name="connsiteY46" fmla="*/ 411956 h 1893093"/>
                    <a:gd name="connsiteX47" fmla="*/ 1557338 w 2162175"/>
                    <a:gd name="connsiteY47" fmla="*/ 359568 h 1893093"/>
                    <a:gd name="connsiteX48" fmla="*/ 1571625 w 2162175"/>
                    <a:gd name="connsiteY48" fmla="*/ 283368 h 1893093"/>
                    <a:gd name="connsiteX49" fmla="*/ 1516856 w 2162175"/>
                    <a:gd name="connsiteY49" fmla="*/ 202405 h 1893093"/>
                    <a:gd name="connsiteX0" fmla="*/ 1516856 w 2162175"/>
                    <a:gd name="connsiteY0" fmla="*/ 202405 h 1843086"/>
                    <a:gd name="connsiteX1" fmla="*/ 1250157 w 2162175"/>
                    <a:gd name="connsiteY1" fmla="*/ 266699 h 1843086"/>
                    <a:gd name="connsiteX2" fmla="*/ 1181101 w 2162175"/>
                    <a:gd name="connsiteY2" fmla="*/ 245268 h 1843086"/>
                    <a:gd name="connsiteX3" fmla="*/ 1133476 w 2162175"/>
                    <a:gd name="connsiteY3" fmla="*/ 342899 h 1843086"/>
                    <a:gd name="connsiteX4" fmla="*/ 1088231 w 2162175"/>
                    <a:gd name="connsiteY4" fmla="*/ 323850 h 1843086"/>
                    <a:gd name="connsiteX5" fmla="*/ 1083469 w 2162175"/>
                    <a:gd name="connsiteY5" fmla="*/ 259555 h 1843086"/>
                    <a:gd name="connsiteX6" fmla="*/ 1042988 w 2162175"/>
                    <a:gd name="connsiteY6" fmla="*/ 216693 h 1843086"/>
                    <a:gd name="connsiteX7" fmla="*/ 916781 w 2162175"/>
                    <a:gd name="connsiteY7" fmla="*/ 128587 h 1843086"/>
                    <a:gd name="connsiteX8" fmla="*/ 738188 w 2162175"/>
                    <a:gd name="connsiteY8" fmla="*/ 80962 h 1843086"/>
                    <a:gd name="connsiteX9" fmla="*/ 642937 w 2162175"/>
                    <a:gd name="connsiteY9" fmla="*/ 0 h 1843086"/>
                    <a:gd name="connsiteX10" fmla="*/ 559594 w 2162175"/>
                    <a:gd name="connsiteY10" fmla="*/ 61912 h 1843086"/>
                    <a:gd name="connsiteX11" fmla="*/ 514350 w 2162175"/>
                    <a:gd name="connsiteY11" fmla="*/ 166686 h 1843086"/>
                    <a:gd name="connsiteX12" fmla="*/ 485775 w 2162175"/>
                    <a:gd name="connsiteY12" fmla="*/ 178593 h 1843086"/>
                    <a:gd name="connsiteX13" fmla="*/ 426244 w 2162175"/>
                    <a:gd name="connsiteY13" fmla="*/ 252412 h 1843086"/>
                    <a:gd name="connsiteX14" fmla="*/ 354806 w 2162175"/>
                    <a:gd name="connsiteY14" fmla="*/ 345280 h 1843086"/>
                    <a:gd name="connsiteX15" fmla="*/ 373856 w 2162175"/>
                    <a:gd name="connsiteY15" fmla="*/ 419099 h 1843086"/>
                    <a:gd name="connsiteX16" fmla="*/ 311944 w 2162175"/>
                    <a:gd name="connsiteY16" fmla="*/ 554830 h 1843086"/>
                    <a:gd name="connsiteX17" fmla="*/ 326231 w 2162175"/>
                    <a:gd name="connsiteY17" fmla="*/ 619124 h 1843086"/>
                    <a:gd name="connsiteX18" fmla="*/ 352425 w 2162175"/>
                    <a:gd name="connsiteY18" fmla="*/ 640556 h 1843086"/>
                    <a:gd name="connsiteX19" fmla="*/ 350044 w 2162175"/>
                    <a:gd name="connsiteY19" fmla="*/ 700087 h 1843086"/>
                    <a:gd name="connsiteX20" fmla="*/ 376237 w 2162175"/>
                    <a:gd name="connsiteY20" fmla="*/ 723899 h 1843086"/>
                    <a:gd name="connsiteX21" fmla="*/ 319088 w 2162175"/>
                    <a:gd name="connsiteY21" fmla="*/ 738187 h 1843086"/>
                    <a:gd name="connsiteX22" fmla="*/ 314325 w 2162175"/>
                    <a:gd name="connsiteY22" fmla="*/ 804862 h 1843086"/>
                    <a:gd name="connsiteX23" fmla="*/ 264319 w 2162175"/>
                    <a:gd name="connsiteY23" fmla="*/ 850106 h 1843086"/>
                    <a:gd name="connsiteX24" fmla="*/ 257175 w 2162175"/>
                    <a:gd name="connsiteY24" fmla="*/ 902493 h 1843086"/>
                    <a:gd name="connsiteX25" fmla="*/ 216693 w 2162175"/>
                    <a:gd name="connsiteY25" fmla="*/ 990599 h 1843086"/>
                    <a:gd name="connsiteX26" fmla="*/ 19050 w 2162175"/>
                    <a:gd name="connsiteY26" fmla="*/ 1264443 h 1843086"/>
                    <a:gd name="connsiteX27" fmla="*/ 0 w 2162175"/>
                    <a:gd name="connsiteY27" fmla="*/ 1578768 h 1843086"/>
                    <a:gd name="connsiteX28" fmla="*/ 276225 w 2162175"/>
                    <a:gd name="connsiteY28" fmla="*/ 1635918 h 1843086"/>
                    <a:gd name="connsiteX29" fmla="*/ 619125 w 2162175"/>
                    <a:gd name="connsiteY29" fmla="*/ 1797843 h 1843086"/>
                    <a:gd name="connsiteX30" fmla="*/ 954882 w 2162175"/>
                    <a:gd name="connsiteY30" fmla="*/ 1843086 h 1843086"/>
                    <a:gd name="connsiteX31" fmla="*/ 1409700 w 2162175"/>
                    <a:gd name="connsiteY31" fmla="*/ 1788318 h 1843086"/>
                    <a:gd name="connsiteX32" fmla="*/ 2019300 w 2162175"/>
                    <a:gd name="connsiteY32" fmla="*/ 1600200 h 1843086"/>
                    <a:gd name="connsiteX33" fmla="*/ 2162175 w 2162175"/>
                    <a:gd name="connsiteY33" fmla="*/ 1340643 h 1843086"/>
                    <a:gd name="connsiteX34" fmla="*/ 2009775 w 2162175"/>
                    <a:gd name="connsiteY34" fmla="*/ 1264443 h 1843086"/>
                    <a:gd name="connsiteX35" fmla="*/ 1924050 w 2162175"/>
                    <a:gd name="connsiteY35" fmla="*/ 1178718 h 1843086"/>
                    <a:gd name="connsiteX36" fmla="*/ 1914525 w 2162175"/>
                    <a:gd name="connsiteY36" fmla="*/ 1035843 h 1843086"/>
                    <a:gd name="connsiteX37" fmla="*/ 1866900 w 2162175"/>
                    <a:gd name="connsiteY37" fmla="*/ 912018 h 1843086"/>
                    <a:gd name="connsiteX38" fmla="*/ 1819275 w 2162175"/>
                    <a:gd name="connsiteY38" fmla="*/ 816768 h 1843086"/>
                    <a:gd name="connsiteX39" fmla="*/ 1716881 w 2162175"/>
                    <a:gd name="connsiteY39" fmla="*/ 719137 h 1843086"/>
                    <a:gd name="connsiteX40" fmla="*/ 1669256 w 2162175"/>
                    <a:gd name="connsiteY40" fmla="*/ 640556 h 1843086"/>
                    <a:gd name="connsiteX41" fmla="*/ 1597819 w 2162175"/>
                    <a:gd name="connsiteY41" fmla="*/ 616743 h 1843086"/>
                    <a:gd name="connsiteX42" fmla="*/ 1621631 w 2162175"/>
                    <a:gd name="connsiteY42" fmla="*/ 557212 h 1843086"/>
                    <a:gd name="connsiteX43" fmla="*/ 1681162 w 2162175"/>
                    <a:gd name="connsiteY43" fmla="*/ 545305 h 1843086"/>
                    <a:gd name="connsiteX44" fmla="*/ 1619250 w 2162175"/>
                    <a:gd name="connsiteY44" fmla="*/ 492918 h 1843086"/>
                    <a:gd name="connsiteX45" fmla="*/ 1557338 w 2162175"/>
                    <a:gd name="connsiteY45" fmla="*/ 485774 h 1843086"/>
                    <a:gd name="connsiteX46" fmla="*/ 1602581 w 2162175"/>
                    <a:gd name="connsiteY46" fmla="*/ 411956 h 1843086"/>
                    <a:gd name="connsiteX47" fmla="*/ 1557338 w 2162175"/>
                    <a:gd name="connsiteY47" fmla="*/ 359568 h 1843086"/>
                    <a:gd name="connsiteX48" fmla="*/ 1571625 w 2162175"/>
                    <a:gd name="connsiteY48" fmla="*/ 283368 h 1843086"/>
                    <a:gd name="connsiteX49" fmla="*/ 1516856 w 2162175"/>
                    <a:gd name="connsiteY49" fmla="*/ 202405 h 1843086"/>
                    <a:gd name="connsiteX0" fmla="*/ 1516856 w 2162175"/>
                    <a:gd name="connsiteY0" fmla="*/ 202405 h 1843086"/>
                    <a:gd name="connsiteX1" fmla="*/ 1250157 w 2162175"/>
                    <a:gd name="connsiteY1" fmla="*/ 266699 h 1843086"/>
                    <a:gd name="connsiteX2" fmla="*/ 1181101 w 2162175"/>
                    <a:gd name="connsiteY2" fmla="*/ 245268 h 1843086"/>
                    <a:gd name="connsiteX3" fmla="*/ 1133476 w 2162175"/>
                    <a:gd name="connsiteY3" fmla="*/ 342899 h 1843086"/>
                    <a:gd name="connsiteX4" fmla="*/ 1088231 w 2162175"/>
                    <a:gd name="connsiteY4" fmla="*/ 323850 h 1843086"/>
                    <a:gd name="connsiteX5" fmla="*/ 1083469 w 2162175"/>
                    <a:gd name="connsiteY5" fmla="*/ 259555 h 1843086"/>
                    <a:gd name="connsiteX6" fmla="*/ 1042988 w 2162175"/>
                    <a:gd name="connsiteY6" fmla="*/ 216693 h 1843086"/>
                    <a:gd name="connsiteX7" fmla="*/ 916781 w 2162175"/>
                    <a:gd name="connsiteY7" fmla="*/ 128587 h 1843086"/>
                    <a:gd name="connsiteX8" fmla="*/ 738188 w 2162175"/>
                    <a:gd name="connsiteY8" fmla="*/ 80962 h 1843086"/>
                    <a:gd name="connsiteX9" fmla="*/ 642937 w 2162175"/>
                    <a:gd name="connsiteY9" fmla="*/ 0 h 1843086"/>
                    <a:gd name="connsiteX10" fmla="*/ 559594 w 2162175"/>
                    <a:gd name="connsiteY10" fmla="*/ 61912 h 1843086"/>
                    <a:gd name="connsiteX11" fmla="*/ 514350 w 2162175"/>
                    <a:gd name="connsiteY11" fmla="*/ 166686 h 1843086"/>
                    <a:gd name="connsiteX12" fmla="*/ 485775 w 2162175"/>
                    <a:gd name="connsiteY12" fmla="*/ 178593 h 1843086"/>
                    <a:gd name="connsiteX13" fmla="*/ 426244 w 2162175"/>
                    <a:gd name="connsiteY13" fmla="*/ 252412 h 1843086"/>
                    <a:gd name="connsiteX14" fmla="*/ 354806 w 2162175"/>
                    <a:gd name="connsiteY14" fmla="*/ 345280 h 1843086"/>
                    <a:gd name="connsiteX15" fmla="*/ 373856 w 2162175"/>
                    <a:gd name="connsiteY15" fmla="*/ 419099 h 1843086"/>
                    <a:gd name="connsiteX16" fmla="*/ 311944 w 2162175"/>
                    <a:gd name="connsiteY16" fmla="*/ 554830 h 1843086"/>
                    <a:gd name="connsiteX17" fmla="*/ 326231 w 2162175"/>
                    <a:gd name="connsiteY17" fmla="*/ 619124 h 1843086"/>
                    <a:gd name="connsiteX18" fmla="*/ 352425 w 2162175"/>
                    <a:gd name="connsiteY18" fmla="*/ 640556 h 1843086"/>
                    <a:gd name="connsiteX19" fmla="*/ 350044 w 2162175"/>
                    <a:gd name="connsiteY19" fmla="*/ 700087 h 1843086"/>
                    <a:gd name="connsiteX20" fmla="*/ 376237 w 2162175"/>
                    <a:gd name="connsiteY20" fmla="*/ 723899 h 1843086"/>
                    <a:gd name="connsiteX21" fmla="*/ 319088 w 2162175"/>
                    <a:gd name="connsiteY21" fmla="*/ 738187 h 1843086"/>
                    <a:gd name="connsiteX22" fmla="*/ 314325 w 2162175"/>
                    <a:gd name="connsiteY22" fmla="*/ 804862 h 1843086"/>
                    <a:gd name="connsiteX23" fmla="*/ 264319 w 2162175"/>
                    <a:gd name="connsiteY23" fmla="*/ 850106 h 1843086"/>
                    <a:gd name="connsiteX24" fmla="*/ 257175 w 2162175"/>
                    <a:gd name="connsiteY24" fmla="*/ 902493 h 1843086"/>
                    <a:gd name="connsiteX25" fmla="*/ 216693 w 2162175"/>
                    <a:gd name="connsiteY25" fmla="*/ 990599 h 1843086"/>
                    <a:gd name="connsiteX26" fmla="*/ 19050 w 2162175"/>
                    <a:gd name="connsiteY26" fmla="*/ 1264443 h 1843086"/>
                    <a:gd name="connsiteX27" fmla="*/ 0 w 2162175"/>
                    <a:gd name="connsiteY27" fmla="*/ 1578768 h 1843086"/>
                    <a:gd name="connsiteX28" fmla="*/ 533400 w 2162175"/>
                    <a:gd name="connsiteY28" fmla="*/ 1597818 h 1843086"/>
                    <a:gd name="connsiteX29" fmla="*/ 619125 w 2162175"/>
                    <a:gd name="connsiteY29" fmla="*/ 1797843 h 1843086"/>
                    <a:gd name="connsiteX30" fmla="*/ 954882 w 2162175"/>
                    <a:gd name="connsiteY30" fmla="*/ 1843086 h 1843086"/>
                    <a:gd name="connsiteX31" fmla="*/ 1409700 w 2162175"/>
                    <a:gd name="connsiteY31" fmla="*/ 1788318 h 1843086"/>
                    <a:gd name="connsiteX32" fmla="*/ 2019300 w 2162175"/>
                    <a:gd name="connsiteY32" fmla="*/ 1600200 h 1843086"/>
                    <a:gd name="connsiteX33" fmla="*/ 2162175 w 2162175"/>
                    <a:gd name="connsiteY33" fmla="*/ 1340643 h 1843086"/>
                    <a:gd name="connsiteX34" fmla="*/ 2009775 w 2162175"/>
                    <a:gd name="connsiteY34" fmla="*/ 1264443 h 1843086"/>
                    <a:gd name="connsiteX35" fmla="*/ 1924050 w 2162175"/>
                    <a:gd name="connsiteY35" fmla="*/ 1178718 h 1843086"/>
                    <a:gd name="connsiteX36" fmla="*/ 1914525 w 2162175"/>
                    <a:gd name="connsiteY36" fmla="*/ 1035843 h 1843086"/>
                    <a:gd name="connsiteX37" fmla="*/ 1866900 w 2162175"/>
                    <a:gd name="connsiteY37" fmla="*/ 912018 h 1843086"/>
                    <a:gd name="connsiteX38" fmla="*/ 1819275 w 2162175"/>
                    <a:gd name="connsiteY38" fmla="*/ 816768 h 1843086"/>
                    <a:gd name="connsiteX39" fmla="*/ 1716881 w 2162175"/>
                    <a:gd name="connsiteY39" fmla="*/ 719137 h 1843086"/>
                    <a:gd name="connsiteX40" fmla="*/ 1669256 w 2162175"/>
                    <a:gd name="connsiteY40" fmla="*/ 640556 h 1843086"/>
                    <a:gd name="connsiteX41" fmla="*/ 1597819 w 2162175"/>
                    <a:gd name="connsiteY41" fmla="*/ 616743 h 1843086"/>
                    <a:gd name="connsiteX42" fmla="*/ 1621631 w 2162175"/>
                    <a:gd name="connsiteY42" fmla="*/ 557212 h 1843086"/>
                    <a:gd name="connsiteX43" fmla="*/ 1681162 w 2162175"/>
                    <a:gd name="connsiteY43" fmla="*/ 545305 h 1843086"/>
                    <a:gd name="connsiteX44" fmla="*/ 1619250 w 2162175"/>
                    <a:gd name="connsiteY44" fmla="*/ 492918 h 1843086"/>
                    <a:gd name="connsiteX45" fmla="*/ 1557338 w 2162175"/>
                    <a:gd name="connsiteY45" fmla="*/ 485774 h 1843086"/>
                    <a:gd name="connsiteX46" fmla="*/ 1602581 w 2162175"/>
                    <a:gd name="connsiteY46" fmla="*/ 411956 h 1843086"/>
                    <a:gd name="connsiteX47" fmla="*/ 1557338 w 2162175"/>
                    <a:gd name="connsiteY47" fmla="*/ 359568 h 1843086"/>
                    <a:gd name="connsiteX48" fmla="*/ 1571625 w 2162175"/>
                    <a:gd name="connsiteY48" fmla="*/ 283368 h 1843086"/>
                    <a:gd name="connsiteX49" fmla="*/ 1516856 w 2162175"/>
                    <a:gd name="connsiteY49" fmla="*/ 202405 h 1843086"/>
                    <a:gd name="connsiteX0" fmla="*/ 1497806 w 2143125"/>
                    <a:gd name="connsiteY0" fmla="*/ 202405 h 1843086"/>
                    <a:gd name="connsiteX1" fmla="*/ 1231107 w 2143125"/>
                    <a:gd name="connsiteY1" fmla="*/ 266699 h 1843086"/>
                    <a:gd name="connsiteX2" fmla="*/ 1162051 w 2143125"/>
                    <a:gd name="connsiteY2" fmla="*/ 245268 h 1843086"/>
                    <a:gd name="connsiteX3" fmla="*/ 1114426 w 2143125"/>
                    <a:gd name="connsiteY3" fmla="*/ 342899 h 1843086"/>
                    <a:gd name="connsiteX4" fmla="*/ 1069181 w 2143125"/>
                    <a:gd name="connsiteY4" fmla="*/ 323850 h 1843086"/>
                    <a:gd name="connsiteX5" fmla="*/ 1064419 w 2143125"/>
                    <a:gd name="connsiteY5" fmla="*/ 259555 h 1843086"/>
                    <a:gd name="connsiteX6" fmla="*/ 1023938 w 2143125"/>
                    <a:gd name="connsiteY6" fmla="*/ 216693 h 1843086"/>
                    <a:gd name="connsiteX7" fmla="*/ 897731 w 2143125"/>
                    <a:gd name="connsiteY7" fmla="*/ 128587 h 1843086"/>
                    <a:gd name="connsiteX8" fmla="*/ 719138 w 2143125"/>
                    <a:gd name="connsiteY8" fmla="*/ 80962 h 1843086"/>
                    <a:gd name="connsiteX9" fmla="*/ 623887 w 2143125"/>
                    <a:gd name="connsiteY9" fmla="*/ 0 h 1843086"/>
                    <a:gd name="connsiteX10" fmla="*/ 540544 w 2143125"/>
                    <a:gd name="connsiteY10" fmla="*/ 61912 h 1843086"/>
                    <a:gd name="connsiteX11" fmla="*/ 495300 w 2143125"/>
                    <a:gd name="connsiteY11" fmla="*/ 166686 h 1843086"/>
                    <a:gd name="connsiteX12" fmla="*/ 466725 w 2143125"/>
                    <a:gd name="connsiteY12" fmla="*/ 178593 h 1843086"/>
                    <a:gd name="connsiteX13" fmla="*/ 407194 w 2143125"/>
                    <a:gd name="connsiteY13" fmla="*/ 252412 h 1843086"/>
                    <a:gd name="connsiteX14" fmla="*/ 335756 w 2143125"/>
                    <a:gd name="connsiteY14" fmla="*/ 345280 h 1843086"/>
                    <a:gd name="connsiteX15" fmla="*/ 354806 w 2143125"/>
                    <a:gd name="connsiteY15" fmla="*/ 419099 h 1843086"/>
                    <a:gd name="connsiteX16" fmla="*/ 292894 w 2143125"/>
                    <a:gd name="connsiteY16" fmla="*/ 554830 h 1843086"/>
                    <a:gd name="connsiteX17" fmla="*/ 307181 w 2143125"/>
                    <a:gd name="connsiteY17" fmla="*/ 619124 h 1843086"/>
                    <a:gd name="connsiteX18" fmla="*/ 333375 w 2143125"/>
                    <a:gd name="connsiteY18" fmla="*/ 640556 h 1843086"/>
                    <a:gd name="connsiteX19" fmla="*/ 330994 w 2143125"/>
                    <a:gd name="connsiteY19" fmla="*/ 700087 h 1843086"/>
                    <a:gd name="connsiteX20" fmla="*/ 357187 w 2143125"/>
                    <a:gd name="connsiteY20" fmla="*/ 723899 h 1843086"/>
                    <a:gd name="connsiteX21" fmla="*/ 300038 w 2143125"/>
                    <a:gd name="connsiteY21" fmla="*/ 738187 h 1843086"/>
                    <a:gd name="connsiteX22" fmla="*/ 295275 w 2143125"/>
                    <a:gd name="connsiteY22" fmla="*/ 804862 h 1843086"/>
                    <a:gd name="connsiteX23" fmla="*/ 245269 w 2143125"/>
                    <a:gd name="connsiteY23" fmla="*/ 850106 h 1843086"/>
                    <a:gd name="connsiteX24" fmla="*/ 238125 w 2143125"/>
                    <a:gd name="connsiteY24" fmla="*/ 902493 h 1843086"/>
                    <a:gd name="connsiteX25" fmla="*/ 197643 w 2143125"/>
                    <a:gd name="connsiteY25" fmla="*/ 990599 h 1843086"/>
                    <a:gd name="connsiteX26" fmla="*/ 0 w 2143125"/>
                    <a:gd name="connsiteY26" fmla="*/ 1264443 h 1843086"/>
                    <a:gd name="connsiteX27" fmla="*/ 28575 w 2143125"/>
                    <a:gd name="connsiteY27" fmla="*/ 1466849 h 1843086"/>
                    <a:gd name="connsiteX28" fmla="*/ 514350 w 2143125"/>
                    <a:gd name="connsiteY28" fmla="*/ 1597818 h 1843086"/>
                    <a:gd name="connsiteX29" fmla="*/ 600075 w 2143125"/>
                    <a:gd name="connsiteY29" fmla="*/ 1797843 h 1843086"/>
                    <a:gd name="connsiteX30" fmla="*/ 935832 w 2143125"/>
                    <a:gd name="connsiteY30" fmla="*/ 1843086 h 1843086"/>
                    <a:gd name="connsiteX31" fmla="*/ 1390650 w 2143125"/>
                    <a:gd name="connsiteY31" fmla="*/ 1788318 h 1843086"/>
                    <a:gd name="connsiteX32" fmla="*/ 2000250 w 2143125"/>
                    <a:gd name="connsiteY32" fmla="*/ 1600200 h 1843086"/>
                    <a:gd name="connsiteX33" fmla="*/ 2143125 w 2143125"/>
                    <a:gd name="connsiteY33" fmla="*/ 1340643 h 1843086"/>
                    <a:gd name="connsiteX34" fmla="*/ 1990725 w 2143125"/>
                    <a:gd name="connsiteY34" fmla="*/ 1264443 h 1843086"/>
                    <a:gd name="connsiteX35" fmla="*/ 1905000 w 2143125"/>
                    <a:gd name="connsiteY35" fmla="*/ 1178718 h 1843086"/>
                    <a:gd name="connsiteX36" fmla="*/ 1895475 w 2143125"/>
                    <a:gd name="connsiteY36" fmla="*/ 1035843 h 1843086"/>
                    <a:gd name="connsiteX37" fmla="*/ 1847850 w 2143125"/>
                    <a:gd name="connsiteY37" fmla="*/ 912018 h 1843086"/>
                    <a:gd name="connsiteX38" fmla="*/ 1800225 w 2143125"/>
                    <a:gd name="connsiteY38" fmla="*/ 816768 h 1843086"/>
                    <a:gd name="connsiteX39" fmla="*/ 1697831 w 2143125"/>
                    <a:gd name="connsiteY39" fmla="*/ 719137 h 1843086"/>
                    <a:gd name="connsiteX40" fmla="*/ 1650206 w 2143125"/>
                    <a:gd name="connsiteY40" fmla="*/ 640556 h 1843086"/>
                    <a:gd name="connsiteX41" fmla="*/ 1578769 w 2143125"/>
                    <a:gd name="connsiteY41" fmla="*/ 616743 h 1843086"/>
                    <a:gd name="connsiteX42" fmla="*/ 1602581 w 2143125"/>
                    <a:gd name="connsiteY42" fmla="*/ 557212 h 1843086"/>
                    <a:gd name="connsiteX43" fmla="*/ 1662112 w 2143125"/>
                    <a:gd name="connsiteY43" fmla="*/ 545305 h 1843086"/>
                    <a:gd name="connsiteX44" fmla="*/ 1600200 w 2143125"/>
                    <a:gd name="connsiteY44" fmla="*/ 492918 h 1843086"/>
                    <a:gd name="connsiteX45" fmla="*/ 1538288 w 2143125"/>
                    <a:gd name="connsiteY45" fmla="*/ 485774 h 1843086"/>
                    <a:gd name="connsiteX46" fmla="*/ 1583531 w 2143125"/>
                    <a:gd name="connsiteY46" fmla="*/ 411956 h 1843086"/>
                    <a:gd name="connsiteX47" fmla="*/ 1538288 w 2143125"/>
                    <a:gd name="connsiteY47" fmla="*/ 359568 h 1843086"/>
                    <a:gd name="connsiteX48" fmla="*/ 1552575 w 2143125"/>
                    <a:gd name="connsiteY48" fmla="*/ 283368 h 1843086"/>
                    <a:gd name="connsiteX49" fmla="*/ 1497806 w 2143125"/>
                    <a:gd name="connsiteY49" fmla="*/ 202405 h 1843086"/>
                    <a:gd name="connsiteX0" fmla="*/ 1497806 w 2143125"/>
                    <a:gd name="connsiteY0" fmla="*/ 202405 h 1843086"/>
                    <a:gd name="connsiteX1" fmla="*/ 1231107 w 2143125"/>
                    <a:gd name="connsiteY1" fmla="*/ 266699 h 1843086"/>
                    <a:gd name="connsiteX2" fmla="*/ 1162051 w 2143125"/>
                    <a:gd name="connsiteY2" fmla="*/ 245268 h 1843086"/>
                    <a:gd name="connsiteX3" fmla="*/ 1114426 w 2143125"/>
                    <a:gd name="connsiteY3" fmla="*/ 342899 h 1843086"/>
                    <a:gd name="connsiteX4" fmla="*/ 1069181 w 2143125"/>
                    <a:gd name="connsiteY4" fmla="*/ 323850 h 1843086"/>
                    <a:gd name="connsiteX5" fmla="*/ 1064419 w 2143125"/>
                    <a:gd name="connsiteY5" fmla="*/ 259555 h 1843086"/>
                    <a:gd name="connsiteX6" fmla="*/ 1023938 w 2143125"/>
                    <a:gd name="connsiteY6" fmla="*/ 216693 h 1843086"/>
                    <a:gd name="connsiteX7" fmla="*/ 897731 w 2143125"/>
                    <a:gd name="connsiteY7" fmla="*/ 128587 h 1843086"/>
                    <a:gd name="connsiteX8" fmla="*/ 719138 w 2143125"/>
                    <a:gd name="connsiteY8" fmla="*/ 80962 h 1843086"/>
                    <a:gd name="connsiteX9" fmla="*/ 623887 w 2143125"/>
                    <a:gd name="connsiteY9" fmla="*/ 0 h 1843086"/>
                    <a:gd name="connsiteX10" fmla="*/ 540544 w 2143125"/>
                    <a:gd name="connsiteY10" fmla="*/ 61912 h 1843086"/>
                    <a:gd name="connsiteX11" fmla="*/ 495300 w 2143125"/>
                    <a:gd name="connsiteY11" fmla="*/ 166686 h 1843086"/>
                    <a:gd name="connsiteX12" fmla="*/ 466725 w 2143125"/>
                    <a:gd name="connsiteY12" fmla="*/ 178593 h 1843086"/>
                    <a:gd name="connsiteX13" fmla="*/ 407194 w 2143125"/>
                    <a:gd name="connsiteY13" fmla="*/ 252412 h 1843086"/>
                    <a:gd name="connsiteX14" fmla="*/ 335756 w 2143125"/>
                    <a:gd name="connsiteY14" fmla="*/ 345280 h 1843086"/>
                    <a:gd name="connsiteX15" fmla="*/ 354806 w 2143125"/>
                    <a:gd name="connsiteY15" fmla="*/ 419099 h 1843086"/>
                    <a:gd name="connsiteX16" fmla="*/ 292894 w 2143125"/>
                    <a:gd name="connsiteY16" fmla="*/ 554830 h 1843086"/>
                    <a:gd name="connsiteX17" fmla="*/ 307181 w 2143125"/>
                    <a:gd name="connsiteY17" fmla="*/ 619124 h 1843086"/>
                    <a:gd name="connsiteX18" fmla="*/ 333375 w 2143125"/>
                    <a:gd name="connsiteY18" fmla="*/ 640556 h 1843086"/>
                    <a:gd name="connsiteX19" fmla="*/ 330994 w 2143125"/>
                    <a:gd name="connsiteY19" fmla="*/ 700087 h 1843086"/>
                    <a:gd name="connsiteX20" fmla="*/ 357187 w 2143125"/>
                    <a:gd name="connsiteY20" fmla="*/ 723899 h 1843086"/>
                    <a:gd name="connsiteX21" fmla="*/ 300038 w 2143125"/>
                    <a:gd name="connsiteY21" fmla="*/ 738187 h 1843086"/>
                    <a:gd name="connsiteX22" fmla="*/ 295275 w 2143125"/>
                    <a:gd name="connsiteY22" fmla="*/ 804862 h 1843086"/>
                    <a:gd name="connsiteX23" fmla="*/ 245269 w 2143125"/>
                    <a:gd name="connsiteY23" fmla="*/ 850106 h 1843086"/>
                    <a:gd name="connsiteX24" fmla="*/ 238125 w 2143125"/>
                    <a:gd name="connsiteY24" fmla="*/ 902493 h 1843086"/>
                    <a:gd name="connsiteX25" fmla="*/ 197643 w 2143125"/>
                    <a:gd name="connsiteY25" fmla="*/ 990599 h 1843086"/>
                    <a:gd name="connsiteX26" fmla="*/ 0 w 2143125"/>
                    <a:gd name="connsiteY26" fmla="*/ 1264443 h 1843086"/>
                    <a:gd name="connsiteX27" fmla="*/ 28575 w 2143125"/>
                    <a:gd name="connsiteY27" fmla="*/ 1466849 h 1843086"/>
                    <a:gd name="connsiteX28" fmla="*/ 514350 w 2143125"/>
                    <a:gd name="connsiteY28" fmla="*/ 1597818 h 1843086"/>
                    <a:gd name="connsiteX29" fmla="*/ 628650 w 2143125"/>
                    <a:gd name="connsiteY29" fmla="*/ 1778793 h 1843086"/>
                    <a:gd name="connsiteX30" fmla="*/ 935832 w 2143125"/>
                    <a:gd name="connsiteY30" fmla="*/ 1843086 h 1843086"/>
                    <a:gd name="connsiteX31" fmla="*/ 1390650 w 2143125"/>
                    <a:gd name="connsiteY31" fmla="*/ 1788318 h 1843086"/>
                    <a:gd name="connsiteX32" fmla="*/ 2000250 w 2143125"/>
                    <a:gd name="connsiteY32" fmla="*/ 1600200 h 1843086"/>
                    <a:gd name="connsiteX33" fmla="*/ 2143125 w 2143125"/>
                    <a:gd name="connsiteY33" fmla="*/ 1340643 h 1843086"/>
                    <a:gd name="connsiteX34" fmla="*/ 1990725 w 2143125"/>
                    <a:gd name="connsiteY34" fmla="*/ 1264443 h 1843086"/>
                    <a:gd name="connsiteX35" fmla="*/ 1905000 w 2143125"/>
                    <a:gd name="connsiteY35" fmla="*/ 1178718 h 1843086"/>
                    <a:gd name="connsiteX36" fmla="*/ 1895475 w 2143125"/>
                    <a:gd name="connsiteY36" fmla="*/ 1035843 h 1843086"/>
                    <a:gd name="connsiteX37" fmla="*/ 1847850 w 2143125"/>
                    <a:gd name="connsiteY37" fmla="*/ 912018 h 1843086"/>
                    <a:gd name="connsiteX38" fmla="*/ 1800225 w 2143125"/>
                    <a:gd name="connsiteY38" fmla="*/ 816768 h 1843086"/>
                    <a:gd name="connsiteX39" fmla="*/ 1697831 w 2143125"/>
                    <a:gd name="connsiteY39" fmla="*/ 719137 h 1843086"/>
                    <a:gd name="connsiteX40" fmla="*/ 1650206 w 2143125"/>
                    <a:gd name="connsiteY40" fmla="*/ 640556 h 1843086"/>
                    <a:gd name="connsiteX41" fmla="*/ 1578769 w 2143125"/>
                    <a:gd name="connsiteY41" fmla="*/ 616743 h 1843086"/>
                    <a:gd name="connsiteX42" fmla="*/ 1602581 w 2143125"/>
                    <a:gd name="connsiteY42" fmla="*/ 557212 h 1843086"/>
                    <a:gd name="connsiteX43" fmla="*/ 1662112 w 2143125"/>
                    <a:gd name="connsiteY43" fmla="*/ 545305 h 1843086"/>
                    <a:gd name="connsiteX44" fmla="*/ 1600200 w 2143125"/>
                    <a:gd name="connsiteY44" fmla="*/ 492918 h 1843086"/>
                    <a:gd name="connsiteX45" fmla="*/ 1538288 w 2143125"/>
                    <a:gd name="connsiteY45" fmla="*/ 485774 h 1843086"/>
                    <a:gd name="connsiteX46" fmla="*/ 1583531 w 2143125"/>
                    <a:gd name="connsiteY46" fmla="*/ 411956 h 1843086"/>
                    <a:gd name="connsiteX47" fmla="*/ 1538288 w 2143125"/>
                    <a:gd name="connsiteY47" fmla="*/ 359568 h 1843086"/>
                    <a:gd name="connsiteX48" fmla="*/ 1552575 w 2143125"/>
                    <a:gd name="connsiteY48" fmla="*/ 283368 h 1843086"/>
                    <a:gd name="connsiteX49" fmla="*/ 1497806 w 2143125"/>
                    <a:gd name="connsiteY49" fmla="*/ 202405 h 1843086"/>
                    <a:gd name="connsiteX0" fmla="*/ 1497806 w 2143125"/>
                    <a:gd name="connsiteY0" fmla="*/ 202405 h 1843086"/>
                    <a:gd name="connsiteX1" fmla="*/ 1231107 w 2143125"/>
                    <a:gd name="connsiteY1" fmla="*/ 266699 h 1843086"/>
                    <a:gd name="connsiteX2" fmla="*/ 1162051 w 2143125"/>
                    <a:gd name="connsiteY2" fmla="*/ 245268 h 1843086"/>
                    <a:gd name="connsiteX3" fmla="*/ 1114426 w 2143125"/>
                    <a:gd name="connsiteY3" fmla="*/ 342899 h 1843086"/>
                    <a:gd name="connsiteX4" fmla="*/ 1069181 w 2143125"/>
                    <a:gd name="connsiteY4" fmla="*/ 323850 h 1843086"/>
                    <a:gd name="connsiteX5" fmla="*/ 1064419 w 2143125"/>
                    <a:gd name="connsiteY5" fmla="*/ 259555 h 1843086"/>
                    <a:gd name="connsiteX6" fmla="*/ 1023938 w 2143125"/>
                    <a:gd name="connsiteY6" fmla="*/ 216693 h 1843086"/>
                    <a:gd name="connsiteX7" fmla="*/ 897731 w 2143125"/>
                    <a:gd name="connsiteY7" fmla="*/ 128587 h 1843086"/>
                    <a:gd name="connsiteX8" fmla="*/ 719138 w 2143125"/>
                    <a:gd name="connsiteY8" fmla="*/ 80962 h 1843086"/>
                    <a:gd name="connsiteX9" fmla="*/ 623887 w 2143125"/>
                    <a:gd name="connsiteY9" fmla="*/ 0 h 1843086"/>
                    <a:gd name="connsiteX10" fmla="*/ 540544 w 2143125"/>
                    <a:gd name="connsiteY10" fmla="*/ 61912 h 1843086"/>
                    <a:gd name="connsiteX11" fmla="*/ 495300 w 2143125"/>
                    <a:gd name="connsiteY11" fmla="*/ 166686 h 1843086"/>
                    <a:gd name="connsiteX12" fmla="*/ 466725 w 2143125"/>
                    <a:gd name="connsiteY12" fmla="*/ 178593 h 1843086"/>
                    <a:gd name="connsiteX13" fmla="*/ 407194 w 2143125"/>
                    <a:gd name="connsiteY13" fmla="*/ 252412 h 1843086"/>
                    <a:gd name="connsiteX14" fmla="*/ 335756 w 2143125"/>
                    <a:gd name="connsiteY14" fmla="*/ 345280 h 1843086"/>
                    <a:gd name="connsiteX15" fmla="*/ 354806 w 2143125"/>
                    <a:gd name="connsiteY15" fmla="*/ 419099 h 1843086"/>
                    <a:gd name="connsiteX16" fmla="*/ 292894 w 2143125"/>
                    <a:gd name="connsiteY16" fmla="*/ 554830 h 1843086"/>
                    <a:gd name="connsiteX17" fmla="*/ 307181 w 2143125"/>
                    <a:gd name="connsiteY17" fmla="*/ 619124 h 1843086"/>
                    <a:gd name="connsiteX18" fmla="*/ 333375 w 2143125"/>
                    <a:gd name="connsiteY18" fmla="*/ 640556 h 1843086"/>
                    <a:gd name="connsiteX19" fmla="*/ 330994 w 2143125"/>
                    <a:gd name="connsiteY19" fmla="*/ 700087 h 1843086"/>
                    <a:gd name="connsiteX20" fmla="*/ 357187 w 2143125"/>
                    <a:gd name="connsiteY20" fmla="*/ 723899 h 1843086"/>
                    <a:gd name="connsiteX21" fmla="*/ 300038 w 2143125"/>
                    <a:gd name="connsiteY21" fmla="*/ 738187 h 1843086"/>
                    <a:gd name="connsiteX22" fmla="*/ 295275 w 2143125"/>
                    <a:gd name="connsiteY22" fmla="*/ 804862 h 1843086"/>
                    <a:gd name="connsiteX23" fmla="*/ 245269 w 2143125"/>
                    <a:gd name="connsiteY23" fmla="*/ 850106 h 1843086"/>
                    <a:gd name="connsiteX24" fmla="*/ 238125 w 2143125"/>
                    <a:gd name="connsiteY24" fmla="*/ 902493 h 1843086"/>
                    <a:gd name="connsiteX25" fmla="*/ 197643 w 2143125"/>
                    <a:gd name="connsiteY25" fmla="*/ 990599 h 1843086"/>
                    <a:gd name="connsiteX26" fmla="*/ 0 w 2143125"/>
                    <a:gd name="connsiteY26" fmla="*/ 1264443 h 1843086"/>
                    <a:gd name="connsiteX27" fmla="*/ 28575 w 2143125"/>
                    <a:gd name="connsiteY27" fmla="*/ 1466849 h 1843086"/>
                    <a:gd name="connsiteX28" fmla="*/ 514350 w 2143125"/>
                    <a:gd name="connsiteY28" fmla="*/ 1597818 h 1843086"/>
                    <a:gd name="connsiteX29" fmla="*/ 628650 w 2143125"/>
                    <a:gd name="connsiteY29" fmla="*/ 1778793 h 1843086"/>
                    <a:gd name="connsiteX30" fmla="*/ 935832 w 2143125"/>
                    <a:gd name="connsiteY30" fmla="*/ 1843086 h 1843086"/>
                    <a:gd name="connsiteX31" fmla="*/ 1285875 w 2143125"/>
                    <a:gd name="connsiteY31" fmla="*/ 1702593 h 1843086"/>
                    <a:gd name="connsiteX32" fmla="*/ 2000250 w 2143125"/>
                    <a:gd name="connsiteY32" fmla="*/ 1600200 h 1843086"/>
                    <a:gd name="connsiteX33" fmla="*/ 2143125 w 2143125"/>
                    <a:gd name="connsiteY33" fmla="*/ 1340643 h 1843086"/>
                    <a:gd name="connsiteX34" fmla="*/ 1990725 w 2143125"/>
                    <a:gd name="connsiteY34" fmla="*/ 1264443 h 1843086"/>
                    <a:gd name="connsiteX35" fmla="*/ 1905000 w 2143125"/>
                    <a:gd name="connsiteY35" fmla="*/ 1178718 h 1843086"/>
                    <a:gd name="connsiteX36" fmla="*/ 1895475 w 2143125"/>
                    <a:gd name="connsiteY36" fmla="*/ 1035843 h 1843086"/>
                    <a:gd name="connsiteX37" fmla="*/ 1847850 w 2143125"/>
                    <a:gd name="connsiteY37" fmla="*/ 912018 h 1843086"/>
                    <a:gd name="connsiteX38" fmla="*/ 1800225 w 2143125"/>
                    <a:gd name="connsiteY38" fmla="*/ 816768 h 1843086"/>
                    <a:gd name="connsiteX39" fmla="*/ 1697831 w 2143125"/>
                    <a:gd name="connsiteY39" fmla="*/ 719137 h 1843086"/>
                    <a:gd name="connsiteX40" fmla="*/ 1650206 w 2143125"/>
                    <a:gd name="connsiteY40" fmla="*/ 640556 h 1843086"/>
                    <a:gd name="connsiteX41" fmla="*/ 1578769 w 2143125"/>
                    <a:gd name="connsiteY41" fmla="*/ 616743 h 1843086"/>
                    <a:gd name="connsiteX42" fmla="*/ 1602581 w 2143125"/>
                    <a:gd name="connsiteY42" fmla="*/ 557212 h 1843086"/>
                    <a:gd name="connsiteX43" fmla="*/ 1662112 w 2143125"/>
                    <a:gd name="connsiteY43" fmla="*/ 545305 h 1843086"/>
                    <a:gd name="connsiteX44" fmla="*/ 1600200 w 2143125"/>
                    <a:gd name="connsiteY44" fmla="*/ 492918 h 1843086"/>
                    <a:gd name="connsiteX45" fmla="*/ 1538288 w 2143125"/>
                    <a:gd name="connsiteY45" fmla="*/ 485774 h 1843086"/>
                    <a:gd name="connsiteX46" fmla="*/ 1583531 w 2143125"/>
                    <a:gd name="connsiteY46" fmla="*/ 411956 h 1843086"/>
                    <a:gd name="connsiteX47" fmla="*/ 1538288 w 2143125"/>
                    <a:gd name="connsiteY47" fmla="*/ 359568 h 1843086"/>
                    <a:gd name="connsiteX48" fmla="*/ 1552575 w 2143125"/>
                    <a:gd name="connsiteY48" fmla="*/ 283368 h 1843086"/>
                    <a:gd name="connsiteX49" fmla="*/ 1497806 w 2143125"/>
                    <a:gd name="connsiteY49" fmla="*/ 202405 h 1843086"/>
                    <a:gd name="connsiteX0" fmla="*/ 1497806 w 2143125"/>
                    <a:gd name="connsiteY0" fmla="*/ 202405 h 1843086"/>
                    <a:gd name="connsiteX1" fmla="*/ 1231107 w 2143125"/>
                    <a:gd name="connsiteY1" fmla="*/ 266699 h 1843086"/>
                    <a:gd name="connsiteX2" fmla="*/ 1162051 w 2143125"/>
                    <a:gd name="connsiteY2" fmla="*/ 245268 h 1843086"/>
                    <a:gd name="connsiteX3" fmla="*/ 1114426 w 2143125"/>
                    <a:gd name="connsiteY3" fmla="*/ 342899 h 1843086"/>
                    <a:gd name="connsiteX4" fmla="*/ 1069181 w 2143125"/>
                    <a:gd name="connsiteY4" fmla="*/ 323850 h 1843086"/>
                    <a:gd name="connsiteX5" fmla="*/ 1064419 w 2143125"/>
                    <a:gd name="connsiteY5" fmla="*/ 259555 h 1843086"/>
                    <a:gd name="connsiteX6" fmla="*/ 1023938 w 2143125"/>
                    <a:gd name="connsiteY6" fmla="*/ 216693 h 1843086"/>
                    <a:gd name="connsiteX7" fmla="*/ 897731 w 2143125"/>
                    <a:gd name="connsiteY7" fmla="*/ 128587 h 1843086"/>
                    <a:gd name="connsiteX8" fmla="*/ 719138 w 2143125"/>
                    <a:gd name="connsiteY8" fmla="*/ 80962 h 1843086"/>
                    <a:gd name="connsiteX9" fmla="*/ 623887 w 2143125"/>
                    <a:gd name="connsiteY9" fmla="*/ 0 h 1843086"/>
                    <a:gd name="connsiteX10" fmla="*/ 540544 w 2143125"/>
                    <a:gd name="connsiteY10" fmla="*/ 61912 h 1843086"/>
                    <a:gd name="connsiteX11" fmla="*/ 495300 w 2143125"/>
                    <a:gd name="connsiteY11" fmla="*/ 166686 h 1843086"/>
                    <a:gd name="connsiteX12" fmla="*/ 466725 w 2143125"/>
                    <a:gd name="connsiteY12" fmla="*/ 178593 h 1843086"/>
                    <a:gd name="connsiteX13" fmla="*/ 407194 w 2143125"/>
                    <a:gd name="connsiteY13" fmla="*/ 252412 h 1843086"/>
                    <a:gd name="connsiteX14" fmla="*/ 335756 w 2143125"/>
                    <a:gd name="connsiteY14" fmla="*/ 345280 h 1843086"/>
                    <a:gd name="connsiteX15" fmla="*/ 354806 w 2143125"/>
                    <a:gd name="connsiteY15" fmla="*/ 419099 h 1843086"/>
                    <a:gd name="connsiteX16" fmla="*/ 292894 w 2143125"/>
                    <a:gd name="connsiteY16" fmla="*/ 554830 h 1843086"/>
                    <a:gd name="connsiteX17" fmla="*/ 307181 w 2143125"/>
                    <a:gd name="connsiteY17" fmla="*/ 619124 h 1843086"/>
                    <a:gd name="connsiteX18" fmla="*/ 333375 w 2143125"/>
                    <a:gd name="connsiteY18" fmla="*/ 640556 h 1843086"/>
                    <a:gd name="connsiteX19" fmla="*/ 330994 w 2143125"/>
                    <a:gd name="connsiteY19" fmla="*/ 700087 h 1843086"/>
                    <a:gd name="connsiteX20" fmla="*/ 357187 w 2143125"/>
                    <a:gd name="connsiteY20" fmla="*/ 723899 h 1843086"/>
                    <a:gd name="connsiteX21" fmla="*/ 300038 w 2143125"/>
                    <a:gd name="connsiteY21" fmla="*/ 738187 h 1843086"/>
                    <a:gd name="connsiteX22" fmla="*/ 295275 w 2143125"/>
                    <a:gd name="connsiteY22" fmla="*/ 804862 h 1843086"/>
                    <a:gd name="connsiteX23" fmla="*/ 245269 w 2143125"/>
                    <a:gd name="connsiteY23" fmla="*/ 850106 h 1843086"/>
                    <a:gd name="connsiteX24" fmla="*/ 238125 w 2143125"/>
                    <a:gd name="connsiteY24" fmla="*/ 902493 h 1843086"/>
                    <a:gd name="connsiteX25" fmla="*/ 197643 w 2143125"/>
                    <a:gd name="connsiteY25" fmla="*/ 990599 h 1843086"/>
                    <a:gd name="connsiteX26" fmla="*/ 0 w 2143125"/>
                    <a:gd name="connsiteY26" fmla="*/ 1264443 h 1843086"/>
                    <a:gd name="connsiteX27" fmla="*/ 28575 w 2143125"/>
                    <a:gd name="connsiteY27" fmla="*/ 1466849 h 1843086"/>
                    <a:gd name="connsiteX28" fmla="*/ 514350 w 2143125"/>
                    <a:gd name="connsiteY28" fmla="*/ 1597818 h 1843086"/>
                    <a:gd name="connsiteX29" fmla="*/ 628650 w 2143125"/>
                    <a:gd name="connsiteY29" fmla="*/ 1778793 h 1843086"/>
                    <a:gd name="connsiteX30" fmla="*/ 935832 w 2143125"/>
                    <a:gd name="connsiteY30" fmla="*/ 1843086 h 1843086"/>
                    <a:gd name="connsiteX31" fmla="*/ 1285875 w 2143125"/>
                    <a:gd name="connsiteY31" fmla="*/ 1702593 h 1843086"/>
                    <a:gd name="connsiteX32" fmla="*/ 1959769 w 2143125"/>
                    <a:gd name="connsiteY32" fmla="*/ 1576387 h 1843086"/>
                    <a:gd name="connsiteX33" fmla="*/ 2143125 w 2143125"/>
                    <a:gd name="connsiteY33" fmla="*/ 1340643 h 1843086"/>
                    <a:gd name="connsiteX34" fmla="*/ 1990725 w 2143125"/>
                    <a:gd name="connsiteY34" fmla="*/ 1264443 h 1843086"/>
                    <a:gd name="connsiteX35" fmla="*/ 1905000 w 2143125"/>
                    <a:gd name="connsiteY35" fmla="*/ 1178718 h 1843086"/>
                    <a:gd name="connsiteX36" fmla="*/ 1895475 w 2143125"/>
                    <a:gd name="connsiteY36" fmla="*/ 1035843 h 1843086"/>
                    <a:gd name="connsiteX37" fmla="*/ 1847850 w 2143125"/>
                    <a:gd name="connsiteY37" fmla="*/ 912018 h 1843086"/>
                    <a:gd name="connsiteX38" fmla="*/ 1800225 w 2143125"/>
                    <a:gd name="connsiteY38" fmla="*/ 816768 h 1843086"/>
                    <a:gd name="connsiteX39" fmla="*/ 1697831 w 2143125"/>
                    <a:gd name="connsiteY39" fmla="*/ 719137 h 1843086"/>
                    <a:gd name="connsiteX40" fmla="*/ 1650206 w 2143125"/>
                    <a:gd name="connsiteY40" fmla="*/ 640556 h 1843086"/>
                    <a:gd name="connsiteX41" fmla="*/ 1578769 w 2143125"/>
                    <a:gd name="connsiteY41" fmla="*/ 616743 h 1843086"/>
                    <a:gd name="connsiteX42" fmla="*/ 1602581 w 2143125"/>
                    <a:gd name="connsiteY42" fmla="*/ 557212 h 1843086"/>
                    <a:gd name="connsiteX43" fmla="*/ 1662112 w 2143125"/>
                    <a:gd name="connsiteY43" fmla="*/ 545305 h 1843086"/>
                    <a:gd name="connsiteX44" fmla="*/ 1600200 w 2143125"/>
                    <a:gd name="connsiteY44" fmla="*/ 492918 h 1843086"/>
                    <a:gd name="connsiteX45" fmla="*/ 1538288 w 2143125"/>
                    <a:gd name="connsiteY45" fmla="*/ 485774 h 1843086"/>
                    <a:gd name="connsiteX46" fmla="*/ 1583531 w 2143125"/>
                    <a:gd name="connsiteY46" fmla="*/ 411956 h 1843086"/>
                    <a:gd name="connsiteX47" fmla="*/ 1538288 w 2143125"/>
                    <a:gd name="connsiteY47" fmla="*/ 359568 h 1843086"/>
                    <a:gd name="connsiteX48" fmla="*/ 1552575 w 2143125"/>
                    <a:gd name="connsiteY48" fmla="*/ 283368 h 1843086"/>
                    <a:gd name="connsiteX49" fmla="*/ 1497806 w 2143125"/>
                    <a:gd name="connsiteY49" fmla="*/ 202405 h 1843086"/>
                    <a:gd name="connsiteX0" fmla="*/ 1497806 w 1990725"/>
                    <a:gd name="connsiteY0" fmla="*/ 202405 h 1843086"/>
                    <a:gd name="connsiteX1" fmla="*/ 1231107 w 1990725"/>
                    <a:gd name="connsiteY1" fmla="*/ 266699 h 1843086"/>
                    <a:gd name="connsiteX2" fmla="*/ 1162051 w 1990725"/>
                    <a:gd name="connsiteY2" fmla="*/ 245268 h 1843086"/>
                    <a:gd name="connsiteX3" fmla="*/ 1114426 w 1990725"/>
                    <a:gd name="connsiteY3" fmla="*/ 342899 h 1843086"/>
                    <a:gd name="connsiteX4" fmla="*/ 1069181 w 1990725"/>
                    <a:gd name="connsiteY4" fmla="*/ 323850 h 1843086"/>
                    <a:gd name="connsiteX5" fmla="*/ 1064419 w 1990725"/>
                    <a:gd name="connsiteY5" fmla="*/ 259555 h 1843086"/>
                    <a:gd name="connsiteX6" fmla="*/ 1023938 w 1990725"/>
                    <a:gd name="connsiteY6" fmla="*/ 216693 h 1843086"/>
                    <a:gd name="connsiteX7" fmla="*/ 897731 w 1990725"/>
                    <a:gd name="connsiteY7" fmla="*/ 128587 h 1843086"/>
                    <a:gd name="connsiteX8" fmla="*/ 719138 w 1990725"/>
                    <a:gd name="connsiteY8" fmla="*/ 80962 h 1843086"/>
                    <a:gd name="connsiteX9" fmla="*/ 623887 w 1990725"/>
                    <a:gd name="connsiteY9" fmla="*/ 0 h 1843086"/>
                    <a:gd name="connsiteX10" fmla="*/ 540544 w 1990725"/>
                    <a:gd name="connsiteY10" fmla="*/ 61912 h 1843086"/>
                    <a:gd name="connsiteX11" fmla="*/ 495300 w 1990725"/>
                    <a:gd name="connsiteY11" fmla="*/ 166686 h 1843086"/>
                    <a:gd name="connsiteX12" fmla="*/ 466725 w 1990725"/>
                    <a:gd name="connsiteY12" fmla="*/ 178593 h 1843086"/>
                    <a:gd name="connsiteX13" fmla="*/ 407194 w 1990725"/>
                    <a:gd name="connsiteY13" fmla="*/ 252412 h 1843086"/>
                    <a:gd name="connsiteX14" fmla="*/ 335756 w 1990725"/>
                    <a:gd name="connsiteY14" fmla="*/ 345280 h 1843086"/>
                    <a:gd name="connsiteX15" fmla="*/ 354806 w 1990725"/>
                    <a:gd name="connsiteY15" fmla="*/ 419099 h 1843086"/>
                    <a:gd name="connsiteX16" fmla="*/ 292894 w 1990725"/>
                    <a:gd name="connsiteY16" fmla="*/ 554830 h 1843086"/>
                    <a:gd name="connsiteX17" fmla="*/ 307181 w 1990725"/>
                    <a:gd name="connsiteY17" fmla="*/ 619124 h 1843086"/>
                    <a:gd name="connsiteX18" fmla="*/ 333375 w 1990725"/>
                    <a:gd name="connsiteY18" fmla="*/ 640556 h 1843086"/>
                    <a:gd name="connsiteX19" fmla="*/ 330994 w 1990725"/>
                    <a:gd name="connsiteY19" fmla="*/ 700087 h 1843086"/>
                    <a:gd name="connsiteX20" fmla="*/ 357187 w 1990725"/>
                    <a:gd name="connsiteY20" fmla="*/ 723899 h 1843086"/>
                    <a:gd name="connsiteX21" fmla="*/ 300038 w 1990725"/>
                    <a:gd name="connsiteY21" fmla="*/ 738187 h 1843086"/>
                    <a:gd name="connsiteX22" fmla="*/ 295275 w 1990725"/>
                    <a:gd name="connsiteY22" fmla="*/ 804862 h 1843086"/>
                    <a:gd name="connsiteX23" fmla="*/ 245269 w 1990725"/>
                    <a:gd name="connsiteY23" fmla="*/ 850106 h 1843086"/>
                    <a:gd name="connsiteX24" fmla="*/ 238125 w 1990725"/>
                    <a:gd name="connsiteY24" fmla="*/ 902493 h 1843086"/>
                    <a:gd name="connsiteX25" fmla="*/ 197643 w 1990725"/>
                    <a:gd name="connsiteY25" fmla="*/ 990599 h 1843086"/>
                    <a:gd name="connsiteX26" fmla="*/ 0 w 1990725"/>
                    <a:gd name="connsiteY26" fmla="*/ 1264443 h 1843086"/>
                    <a:gd name="connsiteX27" fmla="*/ 28575 w 1990725"/>
                    <a:gd name="connsiteY27" fmla="*/ 1466849 h 1843086"/>
                    <a:gd name="connsiteX28" fmla="*/ 514350 w 1990725"/>
                    <a:gd name="connsiteY28" fmla="*/ 1597818 h 1843086"/>
                    <a:gd name="connsiteX29" fmla="*/ 628650 w 1990725"/>
                    <a:gd name="connsiteY29" fmla="*/ 1778793 h 1843086"/>
                    <a:gd name="connsiteX30" fmla="*/ 935832 w 1990725"/>
                    <a:gd name="connsiteY30" fmla="*/ 1843086 h 1843086"/>
                    <a:gd name="connsiteX31" fmla="*/ 1285875 w 1990725"/>
                    <a:gd name="connsiteY31" fmla="*/ 1702593 h 1843086"/>
                    <a:gd name="connsiteX32" fmla="*/ 1959769 w 1990725"/>
                    <a:gd name="connsiteY32" fmla="*/ 1576387 h 1843086"/>
                    <a:gd name="connsiteX33" fmla="*/ 1966913 w 1990725"/>
                    <a:gd name="connsiteY33" fmla="*/ 1378743 h 1843086"/>
                    <a:gd name="connsiteX34" fmla="*/ 1990725 w 1990725"/>
                    <a:gd name="connsiteY34" fmla="*/ 1264443 h 1843086"/>
                    <a:gd name="connsiteX35" fmla="*/ 1905000 w 1990725"/>
                    <a:gd name="connsiteY35" fmla="*/ 1178718 h 1843086"/>
                    <a:gd name="connsiteX36" fmla="*/ 1895475 w 1990725"/>
                    <a:gd name="connsiteY36" fmla="*/ 1035843 h 1843086"/>
                    <a:gd name="connsiteX37" fmla="*/ 1847850 w 1990725"/>
                    <a:gd name="connsiteY37" fmla="*/ 912018 h 1843086"/>
                    <a:gd name="connsiteX38" fmla="*/ 1800225 w 1990725"/>
                    <a:gd name="connsiteY38" fmla="*/ 816768 h 1843086"/>
                    <a:gd name="connsiteX39" fmla="*/ 1697831 w 1990725"/>
                    <a:gd name="connsiteY39" fmla="*/ 719137 h 1843086"/>
                    <a:gd name="connsiteX40" fmla="*/ 1650206 w 1990725"/>
                    <a:gd name="connsiteY40" fmla="*/ 640556 h 1843086"/>
                    <a:gd name="connsiteX41" fmla="*/ 1578769 w 1990725"/>
                    <a:gd name="connsiteY41" fmla="*/ 616743 h 1843086"/>
                    <a:gd name="connsiteX42" fmla="*/ 1602581 w 1990725"/>
                    <a:gd name="connsiteY42" fmla="*/ 557212 h 1843086"/>
                    <a:gd name="connsiteX43" fmla="*/ 1662112 w 1990725"/>
                    <a:gd name="connsiteY43" fmla="*/ 545305 h 1843086"/>
                    <a:gd name="connsiteX44" fmla="*/ 1600200 w 1990725"/>
                    <a:gd name="connsiteY44" fmla="*/ 492918 h 1843086"/>
                    <a:gd name="connsiteX45" fmla="*/ 1538288 w 1990725"/>
                    <a:gd name="connsiteY45" fmla="*/ 485774 h 1843086"/>
                    <a:gd name="connsiteX46" fmla="*/ 1583531 w 1990725"/>
                    <a:gd name="connsiteY46" fmla="*/ 411956 h 1843086"/>
                    <a:gd name="connsiteX47" fmla="*/ 1538288 w 1990725"/>
                    <a:gd name="connsiteY47" fmla="*/ 359568 h 1843086"/>
                    <a:gd name="connsiteX48" fmla="*/ 1552575 w 1990725"/>
                    <a:gd name="connsiteY48" fmla="*/ 283368 h 1843086"/>
                    <a:gd name="connsiteX49" fmla="*/ 1497806 w 1990725"/>
                    <a:gd name="connsiteY49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905000 w 1966913"/>
                    <a:gd name="connsiteY35" fmla="*/ 1178718 h 1843086"/>
                    <a:gd name="connsiteX36" fmla="*/ 1895475 w 1966913"/>
                    <a:gd name="connsiteY36" fmla="*/ 1035843 h 1843086"/>
                    <a:gd name="connsiteX37" fmla="*/ 1847850 w 1966913"/>
                    <a:gd name="connsiteY37" fmla="*/ 912018 h 1843086"/>
                    <a:gd name="connsiteX38" fmla="*/ 1800225 w 1966913"/>
                    <a:gd name="connsiteY38" fmla="*/ 816768 h 1843086"/>
                    <a:gd name="connsiteX39" fmla="*/ 1697831 w 1966913"/>
                    <a:gd name="connsiteY39" fmla="*/ 719137 h 1843086"/>
                    <a:gd name="connsiteX40" fmla="*/ 1650206 w 1966913"/>
                    <a:gd name="connsiteY40" fmla="*/ 640556 h 1843086"/>
                    <a:gd name="connsiteX41" fmla="*/ 1578769 w 1966913"/>
                    <a:gd name="connsiteY41" fmla="*/ 616743 h 1843086"/>
                    <a:gd name="connsiteX42" fmla="*/ 1602581 w 1966913"/>
                    <a:gd name="connsiteY42" fmla="*/ 557212 h 1843086"/>
                    <a:gd name="connsiteX43" fmla="*/ 1662112 w 1966913"/>
                    <a:gd name="connsiteY43" fmla="*/ 545305 h 1843086"/>
                    <a:gd name="connsiteX44" fmla="*/ 1600200 w 1966913"/>
                    <a:gd name="connsiteY44" fmla="*/ 492918 h 1843086"/>
                    <a:gd name="connsiteX45" fmla="*/ 1538288 w 1966913"/>
                    <a:gd name="connsiteY45" fmla="*/ 485774 h 1843086"/>
                    <a:gd name="connsiteX46" fmla="*/ 1583531 w 1966913"/>
                    <a:gd name="connsiteY46" fmla="*/ 411956 h 1843086"/>
                    <a:gd name="connsiteX47" fmla="*/ 1538288 w 1966913"/>
                    <a:gd name="connsiteY47" fmla="*/ 359568 h 1843086"/>
                    <a:gd name="connsiteX48" fmla="*/ 1552575 w 1966913"/>
                    <a:gd name="connsiteY48" fmla="*/ 283368 h 1843086"/>
                    <a:gd name="connsiteX49" fmla="*/ 1497806 w 1966913"/>
                    <a:gd name="connsiteY49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40707 w 1966913"/>
                    <a:gd name="connsiteY35" fmla="*/ 1214437 h 1843086"/>
                    <a:gd name="connsiteX36" fmla="*/ 1895475 w 1966913"/>
                    <a:gd name="connsiteY36" fmla="*/ 1035843 h 1843086"/>
                    <a:gd name="connsiteX37" fmla="*/ 1847850 w 1966913"/>
                    <a:gd name="connsiteY37" fmla="*/ 912018 h 1843086"/>
                    <a:gd name="connsiteX38" fmla="*/ 1800225 w 1966913"/>
                    <a:gd name="connsiteY38" fmla="*/ 816768 h 1843086"/>
                    <a:gd name="connsiteX39" fmla="*/ 1697831 w 1966913"/>
                    <a:gd name="connsiteY39" fmla="*/ 719137 h 1843086"/>
                    <a:gd name="connsiteX40" fmla="*/ 1650206 w 1966913"/>
                    <a:gd name="connsiteY40" fmla="*/ 640556 h 1843086"/>
                    <a:gd name="connsiteX41" fmla="*/ 1578769 w 1966913"/>
                    <a:gd name="connsiteY41" fmla="*/ 616743 h 1843086"/>
                    <a:gd name="connsiteX42" fmla="*/ 1602581 w 1966913"/>
                    <a:gd name="connsiteY42" fmla="*/ 557212 h 1843086"/>
                    <a:gd name="connsiteX43" fmla="*/ 1662112 w 1966913"/>
                    <a:gd name="connsiteY43" fmla="*/ 545305 h 1843086"/>
                    <a:gd name="connsiteX44" fmla="*/ 1600200 w 1966913"/>
                    <a:gd name="connsiteY44" fmla="*/ 492918 h 1843086"/>
                    <a:gd name="connsiteX45" fmla="*/ 1538288 w 1966913"/>
                    <a:gd name="connsiteY45" fmla="*/ 485774 h 1843086"/>
                    <a:gd name="connsiteX46" fmla="*/ 1583531 w 1966913"/>
                    <a:gd name="connsiteY46" fmla="*/ 411956 h 1843086"/>
                    <a:gd name="connsiteX47" fmla="*/ 1538288 w 1966913"/>
                    <a:gd name="connsiteY47" fmla="*/ 359568 h 1843086"/>
                    <a:gd name="connsiteX48" fmla="*/ 1552575 w 1966913"/>
                    <a:gd name="connsiteY48" fmla="*/ 283368 h 1843086"/>
                    <a:gd name="connsiteX49" fmla="*/ 1497806 w 1966913"/>
                    <a:gd name="connsiteY49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40707 w 1966913"/>
                    <a:gd name="connsiteY35" fmla="*/ 1214437 h 1843086"/>
                    <a:gd name="connsiteX36" fmla="*/ 1895475 w 1966913"/>
                    <a:gd name="connsiteY36" fmla="*/ 1035843 h 1843086"/>
                    <a:gd name="connsiteX37" fmla="*/ 1847850 w 1966913"/>
                    <a:gd name="connsiteY37" fmla="*/ 912018 h 1843086"/>
                    <a:gd name="connsiteX38" fmla="*/ 1800225 w 1966913"/>
                    <a:gd name="connsiteY38" fmla="*/ 816768 h 1843086"/>
                    <a:gd name="connsiteX39" fmla="*/ 1697831 w 1966913"/>
                    <a:gd name="connsiteY39" fmla="*/ 719137 h 1843086"/>
                    <a:gd name="connsiteX40" fmla="*/ 1650206 w 1966913"/>
                    <a:gd name="connsiteY40" fmla="*/ 640556 h 1843086"/>
                    <a:gd name="connsiteX41" fmla="*/ 1578769 w 1966913"/>
                    <a:gd name="connsiteY41" fmla="*/ 616743 h 1843086"/>
                    <a:gd name="connsiteX42" fmla="*/ 1602581 w 1966913"/>
                    <a:gd name="connsiteY42" fmla="*/ 557212 h 1843086"/>
                    <a:gd name="connsiteX43" fmla="*/ 1662112 w 1966913"/>
                    <a:gd name="connsiteY43" fmla="*/ 545305 h 1843086"/>
                    <a:gd name="connsiteX44" fmla="*/ 1600200 w 1966913"/>
                    <a:gd name="connsiteY44" fmla="*/ 492918 h 1843086"/>
                    <a:gd name="connsiteX45" fmla="*/ 1538288 w 1966913"/>
                    <a:gd name="connsiteY45" fmla="*/ 485774 h 1843086"/>
                    <a:gd name="connsiteX46" fmla="*/ 1583531 w 1966913"/>
                    <a:gd name="connsiteY46" fmla="*/ 411956 h 1843086"/>
                    <a:gd name="connsiteX47" fmla="*/ 1538288 w 1966913"/>
                    <a:gd name="connsiteY47" fmla="*/ 359568 h 1843086"/>
                    <a:gd name="connsiteX48" fmla="*/ 1552575 w 1966913"/>
                    <a:gd name="connsiteY48" fmla="*/ 283368 h 1843086"/>
                    <a:gd name="connsiteX49" fmla="*/ 1497806 w 1966913"/>
                    <a:gd name="connsiteY49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766888 w 1966913"/>
                    <a:gd name="connsiteY35" fmla="*/ 1345406 h 1843086"/>
                    <a:gd name="connsiteX36" fmla="*/ 1840707 w 1966913"/>
                    <a:gd name="connsiteY36" fmla="*/ 1214437 h 1843086"/>
                    <a:gd name="connsiteX37" fmla="*/ 1895475 w 1966913"/>
                    <a:gd name="connsiteY37" fmla="*/ 1035843 h 1843086"/>
                    <a:gd name="connsiteX38" fmla="*/ 1847850 w 1966913"/>
                    <a:gd name="connsiteY38" fmla="*/ 912018 h 1843086"/>
                    <a:gd name="connsiteX39" fmla="*/ 1800225 w 1966913"/>
                    <a:gd name="connsiteY39" fmla="*/ 816768 h 1843086"/>
                    <a:gd name="connsiteX40" fmla="*/ 1697831 w 1966913"/>
                    <a:gd name="connsiteY40" fmla="*/ 719137 h 1843086"/>
                    <a:gd name="connsiteX41" fmla="*/ 1650206 w 1966913"/>
                    <a:gd name="connsiteY41" fmla="*/ 640556 h 1843086"/>
                    <a:gd name="connsiteX42" fmla="*/ 1578769 w 1966913"/>
                    <a:gd name="connsiteY42" fmla="*/ 616743 h 1843086"/>
                    <a:gd name="connsiteX43" fmla="*/ 1602581 w 1966913"/>
                    <a:gd name="connsiteY43" fmla="*/ 557212 h 1843086"/>
                    <a:gd name="connsiteX44" fmla="*/ 1662112 w 1966913"/>
                    <a:gd name="connsiteY44" fmla="*/ 545305 h 1843086"/>
                    <a:gd name="connsiteX45" fmla="*/ 1600200 w 1966913"/>
                    <a:gd name="connsiteY45" fmla="*/ 492918 h 1843086"/>
                    <a:gd name="connsiteX46" fmla="*/ 1538288 w 1966913"/>
                    <a:gd name="connsiteY46" fmla="*/ 485774 h 1843086"/>
                    <a:gd name="connsiteX47" fmla="*/ 1583531 w 1966913"/>
                    <a:gd name="connsiteY47" fmla="*/ 411956 h 1843086"/>
                    <a:gd name="connsiteX48" fmla="*/ 1538288 w 1966913"/>
                    <a:gd name="connsiteY48" fmla="*/ 359568 h 1843086"/>
                    <a:gd name="connsiteX49" fmla="*/ 1552575 w 1966913"/>
                    <a:gd name="connsiteY49" fmla="*/ 283368 h 1843086"/>
                    <a:gd name="connsiteX50" fmla="*/ 1497806 w 1966913"/>
                    <a:gd name="connsiteY50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766888 w 1966913"/>
                    <a:gd name="connsiteY35" fmla="*/ 1345406 h 1843086"/>
                    <a:gd name="connsiteX36" fmla="*/ 1795463 w 1966913"/>
                    <a:gd name="connsiteY36" fmla="*/ 1247774 h 1843086"/>
                    <a:gd name="connsiteX37" fmla="*/ 1840707 w 1966913"/>
                    <a:gd name="connsiteY37" fmla="*/ 1214437 h 1843086"/>
                    <a:gd name="connsiteX38" fmla="*/ 1895475 w 1966913"/>
                    <a:gd name="connsiteY38" fmla="*/ 1035843 h 1843086"/>
                    <a:gd name="connsiteX39" fmla="*/ 1847850 w 1966913"/>
                    <a:gd name="connsiteY39" fmla="*/ 912018 h 1843086"/>
                    <a:gd name="connsiteX40" fmla="*/ 1800225 w 1966913"/>
                    <a:gd name="connsiteY40" fmla="*/ 816768 h 1843086"/>
                    <a:gd name="connsiteX41" fmla="*/ 1697831 w 1966913"/>
                    <a:gd name="connsiteY41" fmla="*/ 719137 h 1843086"/>
                    <a:gd name="connsiteX42" fmla="*/ 1650206 w 1966913"/>
                    <a:gd name="connsiteY42" fmla="*/ 640556 h 1843086"/>
                    <a:gd name="connsiteX43" fmla="*/ 1578769 w 1966913"/>
                    <a:gd name="connsiteY43" fmla="*/ 616743 h 1843086"/>
                    <a:gd name="connsiteX44" fmla="*/ 1602581 w 1966913"/>
                    <a:gd name="connsiteY44" fmla="*/ 557212 h 1843086"/>
                    <a:gd name="connsiteX45" fmla="*/ 1662112 w 1966913"/>
                    <a:gd name="connsiteY45" fmla="*/ 545305 h 1843086"/>
                    <a:gd name="connsiteX46" fmla="*/ 1600200 w 1966913"/>
                    <a:gd name="connsiteY46" fmla="*/ 492918 h 1843086"/>
                    <a:gd name="connsiteX47" fmla="*/ 1538288 w 1966913"/>
                    <a:gd name="connsiteY47" fmla="*/ 485774 h 1843086"/>
                    <a:gd name="connsiteX48" fmla="*/ 1583531 w 1966913"/>
                    <a:gd name="connsiteY48" fmla="*/ 411956 h 1843086"/>
                    <a:gd name="connsiteX49" fmla="*/ 1538288 w 1966913"/>
                    <a:gd name="connsiteY49" fmla="*/ 359568 h 1843086"/>
                    <a:gd name="connsiteX50" fmla="*/ 1552575 w 1966913"/>
                    <a:gd name="connsiteY50" fmla="*/ 283368 h 1843086"/>
                    <a:gd name="connsiteX51" fmla="*/ 1497806 w 1966913"/>
                    <a:gd name="connsiteY51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04988 w 1966913"/>
                    <a:gd name="connsiteY35" fmla="*/ 1300162 h 1843086"/>
                    <a:gd name="connsiteX36" fmla="*/ 1766888 w 1966913"/>
                    <a:gd name="connsiteY36" fmla="*/ 1345406 h 1843086"/>
                    <a:gd name="connsiteX37" fmla="*/ 1795463 w 1966913"/>
                    <a:gd name="connsiteY37" fmla="*/ 1247774 h 1843086"/>
                    <a:gd name="connsiteX38" fmla="*/ 1840707 w 1966913"/>
                    <a:gd name="connsiteY38" fmla="*/ 1214437 h 1843086"/>
                    <a:gd name="connsiteX39" fmla="*/ 1895475 w 1966913"/>
                    <a:gd name="connsiteY39" fmla="*/ 1035843 h 1843086"/>
                    <a:gd name="connsiteX40" fmla="*/ 1847850 w 1966913"/>
                    <a:gd name="connsiteY40" fmla="*/ 912018 h 1843086"/>
                    <a:gd name="connsiteX41" fmla="*/ 1800225 w 1966913"/>
                    <a:gd name="connsiteY41" fmla="*/ 816768 h 1843086"/>
                    <a:gd name="connsiteX42" fmla="*/ 1697831 w 1966913"/>
                    <a:gd name="connsiteY42" fmla="*/ 719137 h 1843086"/>
                    <a:gd name="connsiteX43" fmla="*/ 1650206 w 1966913"/>
                    <a:gd name="connsiteY43" fmla="*/ 640556 h 1843086"/>
                    <a:gd name="connsiteX44" fmla="*/ 1578769 w 1966913"/>
                    <a:gd name="connsiteY44" fmla="*/ 616743 h 1843086"/>
                    <a:gd name="connsiteX45" fmla="*/ 1602581 w 1966913"/>
                    <a:gd name="connsiteY45" fmla="*/ 557212 h 1843086"/>
                    <a:gd name="connsiteX46" fmla="*/ 1662112 w 1966913"/>
                    <a:gd name="connsiteY46" fmla="*/ 545305 h 1843086"/>
                    <a:gd name="connsiteX47" fmla="*/ 1600200 w 1966913"/>
                    <a:gd name="connsiteY47" fmla="*/ 492918 h 1843086"/>
                    <a:gd name="connsiteX48" fmla="*/ 1538288 w 1966913"/>
                    <a:gd name="connsiteY48" fmla="*/ 485774 h 1843086"/>
                    <a:gd name="connsiteX49" fmla="*/ 1583531 w 1966913"/>
                    <a:gd name="connsiteY49" fmla="*/ 411956 h 1843086"/>
                    <a:gd name="connsiteX50" fmla="*/ 1538288 w 1966913"/>
                    <a:gd name="connsiteY50" fmla="*/ 359568 h 1843086"/>
                    <a:gd name="connsiteX51" fmla="*/ 1552575 w 1966913"/>
                    <a:gd name="connsiteY51" fmla="*/ 283368 h 1843086"/>
                    <a:gd name="connsiteX52" fmla="*/ 1497806 w 1966913"/>
                    <a:gd name="connsiteY52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59756 w 1966913"/>
                    <a:gd name="connsiteY35" fmla="*/ 1269206 h 1843086"/>
                    <a:gd name="connsiteX36" fmla="*/ 1804988 w 1966913"/>
                    <a:gd name="connsiteY36" fmla="*/ 1300162 h 1843086"/>
                    <a:gd name="connsiteX37" fmla="*/ 1766888 w 1966913"/>
                    <a:gd name="connsiteY37" fmla="*/ 1345406 h 1843086"/>
                    <a:gd name="connsiteX38" fmla="*/ 1795463 w 1966913"/>
                    <a:gd name="connsiteY38" fmla="*/ 1247774 h 1843086"/>
                    <a:gd name="connsiteX39" fmla="*/ 1840707 w 1966913"/>
                    <a:gd name="connsiteY39" fmla="*/ 1214437 h 1843086"/>
                    <a:gd name="connsiteX40" fmla="*/ 1895475 w 1966913"/>
                    <a:gd name="connsiteY40" fmla="*/ 1035843 h 1843086"/>
                    <a:gd name="connsiteX41" fmla="*/ 1847850 w 1966913"/>
                    <a:gd name="connsiteY41" fmla="*/ 912018 h 1843086"/>
                    <a:gd name="connsiteX42" fmla="*/ 1800225 w 1966913"/>
                    <a:gd name="connsiteY42" fmla="*/ 816768 h 1843086"/>
                    <a:gd name="connsiteX43" fmla="*/ 1697831 w 1966913"/>
                    <a:gd name="connsiteY43" fmla="*/ 719137 h 1843086"/>
                    <a:gd name="connsiteX44" fmla="*/ 1650206 w 1966913"/>
                    <a:gd name="connsiteY44" fmla="*/ 640556 h 1843086"/>
                    <a:gd name="connsiteX45" fmla="*/ 1578769 w 1966913"/>
                    <a:gd name="connsiteY45" fmla="*/ 616743 h 1843086"/>
                    <a:gd name="connsiteX46" fmla="*/ 1602581 w 1966913"/>
                    <a:gd name="connsiteY46" fmla="*/ 557212 h 1843086"/>
                    <a:gd name="connsiteX47" fmla="*/ 1662112 w 1966913"/>
                    <a:gd name="connsiteY47" fmla="*/ 545305 h 1843086"/>
                    <a:gd name="connsiteX48" fmla="*/ 1600200 w 1966913"/>
                    <a:gd name="connsiteY48" fmla="*/ 492918 h 1843086"/>
                    <a:gd name="connsiteX49" fmla="*/ 1538288 w 1966913"/>
                    <a:gd name="connsiteY49" fmla="*/ 485774 h 1843086"/>
                    <a:gd name="connsiteX50" fmla="*/ 1583531 w 1966913"/>
                    <a:gd name="connsiteY50" fmla="*/ 411956 h 1843086"/>
                    <a:gd name="connsiteX51" fmla="*/ 1538288 w 1966913"/>
                    <a:gd name="connsiteY51" fmla="*/ 359568 h 1843086"/>
                    <a:gd name="connsiteX52" fmla="*/ 1552575 w 1966913"/>
                    <a:gd name="connsiteY52" fmla="*/ 283368 h 1843086"/>
                    <a:gd name="connsiteX53" fmla="*/ 1497806 w 1966913"/>
                    <a:gd name="connsiteY53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59756 w 1966913"/>
                    <a:gd name="connsiteY35" fmla="*/ 1269206 h 1843086"/>
                    <a:gd name="connsiteX36" fmla="*/ 1804988 w 1966913"/>
                    <a:gd name="connsiteY36" fmla="*/ 1300162 h 1843086"/>
                    <a:gd name="connsiteX37" fmla="*/ 1766888 w 1966913"/>
                    <a:gd name="connsiteY37" fmla="*/ 1345406 h 1843086"/>
                    <a:gd name="connsiteX38" fmla="*/ 1795463 w 1966913"/>
                    <a:gd name="connsiteY38" fmla="*/ 1247774 h 1843086"/>
                    <a:gd name="connsiteX39" fmla="*/ 1840707 w 1966913"/>
                    <a:gd name="connsiteY39" fmla="*/ 1214437 h 1843086"/>
                    <a:gd name="connsiteX40" fmla="*/ 1802606 w 1966913"/>
                    <a:gd name="connsiteY40" fmla="*/ 1054893 h 1843086"/>
                    <a:gd name="connsiteX41" fmla="*/ 1847850 w 1966913"/>
                    <a:gd name="connsiteY41" fmla="*/ 912018 h 1843086"/>
                    <a:gd name="connsiteX42" fmla="*/ 1800225 w 1966913"/>
                    <a:gd name="connsiteY42" fmla="*/ 816768 h 1843086"/>
                    <a:gd name="connsiteX43" fmla="*/ 1697831 w 1966913"/>
                    <a:gd name="connsiteY43" fmla="*/ 719137 h 1843086"/>
                    <a:gd name="connsiteX44" fmla="*/ 1650206 w 1966913"/>
                    <a:gd name="connsiteY44" fmla="*/ 640556 h 1843086"/>
                    <a:gd name="connsiteX45" fmla="*/ 1578769 w 1966913"/>
                    <a:gd name="connsiteY45" fmla="*/ 616743 h 1843086"/>
                    <a:gd name="connsiteX46" fmla="*/ 1602581 w 1966913"/>
                    <a:gd name="connsiteY46" fmla="*/ 557212 h 1843086"/>
                    <a:gd name="connsiteX47" fmla="*/ 1662112 w 1966913"/>
                    <a:gd name="connsiteY47" fmla="*/ 545305 h 1843086"/>
                    <a:gd name="connsiteX48" fmla="*/ 1600200 w 1966913"/>
                    <a:gd name="connsiteY48" fmla="*/ 492918 h 1843086"/>
                    <a:gd name="connsiteX49" fmla="*/ 1538288 w 1966913"/>
                    <a:gd name="connsiteY49" fmla="*/ 485774 h 1843086"/>
                    <a:gd name="connsiteX50" fmla="*/ 1583531 w 1966913"/>
                    <a:gd name="connsiteY50" fmla="*/ 411956 h 1843086"/>
                    <a:gd name="connsiteX51" fmla="*/ 1538288 w 1966913"/>
                    <a:gd name="connsiteY51" fmla="*/ 359568 h 1843086"/>
                    <a:gd name="connsiteX52" fmla="*/ 1552575 w 1966913"/>
                    <a:gd name="connsiteY52" fmla="*/ 283368 h 1843086"/>
                    <a:gd name="connsiteX53" fmla="*/ 1497806 w 1966913"/>
                    <a:gd name="connsiteY53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59756 w 1966913"/>
                    <a:gd name="connsiteY35" fmla="*/ 1269206 h 1843086"/>
                    <a:gd name="connsiteX36" fmla="*/ 1804988 w 1966913"/>
                    <a:gd name="connsiteY36" fmla="*/ 1300162 h 1843086"/>
                    <a:gd name="connsiteX37" fmla="*/ 1766888 w 1966913"/>
                    <a:gd name="connsiteY37" fmla="*/ 1345406 h 1843086"/>
                    <a:gd name="connsiteX38" fmla="*/ 1795463 w 1966913"/>
                    <a:gd name="connsiteY38" fmla="*/ 1247774 h 1843086"/>
                    <a:gd name="connsiteX39" fmla="*/ 1840707 w 1966913"/>
                    <a:gd name="connsiteY39" fmla="*/ 1214437 h 1843086"/>
                    <a:gd name="connsiteX40" fmla="*/ 1852613 w 1966913"/>
                    <a:gd name="connsiteY40" fmla="*/ 1159668 h 1843086"/>
                    <a:gd name="connsiteX41" fmla="*/ 1802606 w 1966913"/>
                    <a:gd name="connsiteY41" fmla="*/ 1054893 h 1843086"/>
                    <a:gd name="connsiteX42" fmla="*/ 1847850 w 1966913"/>
                    <a:gd name="connsiteY42" fmla="*/ 912018 h 1843086"/>
                    <a:gd name="connsiteX43" fmla="*/ 1800225 w 1966913"/>
                    <a:gd name="connsiteY43" fmla="*/ 816768 h 1843086"/>
                    <a:gd name="connsiteX44" fmla="*/ 1697831 w 1966913"/>
                    <a:gd name="connsiteY44" fmla="*/ 719137 h 1843086"/>
                    <a:gd name="connsiteX45" fmla="*/ 1650206 w 1966913"/>
                    <a:gd name="connsiteY45" fmla="*/ 640556 h 1843086"/>
                    <a:gd name="connsiteX46" fmla="*/ 1578769 w 1966913"/>
                    <a:gd name="connsiteY46" fmla="*/ 616743 h 1843086"/>
                    <a:gd name="connsiteX47" fmla="*/ 1602581 w 1966913"/>
                    <a:gd name="connsiteY47" fmla="*/ 557212 h 1843086"/>
                    <a:gd name="connsiteX48" fmla="*/ 1662112 w 1966913"/>
                    <a:gd name="connsiteY48" fmla="*/ 545305 h 1843086"/>
                    <a:gd name="connsiteX49" fmla="*/ 1600200 w 1966913"/>
                    <a:gd name="connsiteY49" fmla="*/ 492918 h 1843086"/>
                    <a:gd name="connsiteX50" fmla="*/ 1538288 w 1966913"/>
                    <a:gd name="connsiteY50" fmla="*/ 485774 h 1843086"/>
                    <a:gd name="connsiteX51" fmla="*/ 1583531 w 1966913"/>
                    <a:gd name="connsiteY51" fmla="*/ 411956 h 1843086"/>
                    <a:gd name="connsiteX52" fmla="*/ 1538288 w 1966913"/>
                    <a:gd name="connsiteY52" fmla="*/ 359568 h 1843086"/>
                    <a:gd name="connsiteX53" fmla="*/ 1552575 w 1966913"/>
                    <a:gd name="connsiteY53" fmla="*/ 283368 h 1843086"/>
                    <a:gd name="connsiteX54" fmla="*/ 1497806 w 1966913"/>
                    <a:gd name="connsiteY54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59756 w 1966913"/>
                    <a:gd name="connsiteY35" fmla="*/ 1269206 h 1843086"/>
                    <a:gd name="connsiteX36" fmla="*/ 1804988 w 1966913"/>
                    <a:gd name="connsiteY36" fmla="*/ 1300162 h 1843086"/>
                    <a:gd name="connsiteX37" fmla="*/ 1766888 w 1966913"/>
                    <a:gd name="connsiteY37" fmla="*/ 1345406 h 1843086"/>
                    <a:gd name="connsiteX38" fmla="*/ 1795463 w 1966913"/>
                    <a:gd name="connsiteY38" fmla="*/ 1247774 h 1843086"/>
                    <a:gd name="connsiteX39" fmla="*/ 1840707 w 1966913"/>
                    <a:gd name="connsiteY39" fmla="*/ 1214437 h 1843086"/>
                    <a:gd name="connsiteX40" fmla="*/ 1852613 w 1966913"/>
                    <a:gd name="connsiteY40" fmla="*/ 1159668 h 1843086"/>
                    <a:gd name="connsiteX41" fmla="*/ 1802606 w 1966913"/>
                    <a:gd name="connsiteY41" fmla="*/ 1119187 h 1843086"/>
                    <a:gd name="connsiteX42" fmla="*/ 1802606 w 1966913"/>
                    <a:gd name="connsiteY42" fmla="*/ 1054893 h 1843086"/>
                    <a:gd name="connsiteX43" fmla="*/ 1847850 w 1966913"/>
                    <a:gd name="connsiteY43" fmla="*/ 912018 h 1843086"/>
                    <a:gd name="connsiteX44" fmla="*/ 1800225 w 1966913"/>
                    <a:gd name="connsiteY44" fmla="*/ 816768 h 1843086"/>
                    <a:gd name="connsiteX45" fmla="*/ 1697831 w 1966913"/>
                    <a:gd name="connsiteY45" fmla="*/ 719137 h 1843086"/>
                    <a:gd name="connsiteX46" fmla="*/ 1650206 w 1966913"/>
                    <a:gd name="connsiteY46" fmla="*/ 640556 h 1843086"/>
                    <a:gd name="connsiteX47" fmla="*/ 1578769 w 1966913"/>
                    <a:gd name="connsiteY47" fmla="*/ 616743 h 1843086"/>
                    <a:gd name="connsiteX48" fmla="*/ 1602581 w 1966913"/>
                    <a:gd name="connsiteY48" fmla="*/ 557212 h 1843086"/>
                    <a:gd name="connsiteX49" fmla="*/ 1662112 w 1966913"/>
                    <a:gd name="connsiteY49" fmla="*/ 545305 h 1843086"/>
                    <a:gd name="connsiteX50" fmla="*/ 1600200 w 1966913"/>
                    <a:gd name="connsiteY50" fmla="*/ 492918 h 1843086"/>
                    <a:gd name="connsiteX51" fmla="*/ 1538288 w 1966913"/>
                    <a:gd name="connsiteY51" fmla="*/ 485774 h 1843086"/>
                    <a:gd name="connsiteX52" fmla="*/ 1583531 w 1966913"/>
                    <a:gd name="connsiteY52" fmla="*/ 411956 h 1843086"/>
                    <a:gd name="connsiteX53" fmla="*/ 1538288 w 1966913"/>
                    <a:gd name="connsiteY53" fmla="*/ 359568 h 1843086"/>
                    <a:gd name="connsiteX54" fmla="*/ 1552575 w 1966913"/>
                    <a:gd name="connsiteY54" fmla="*/ 283368 h 1843086"/>
                    <a:gd name="connsiteX55" fmla="*/ 1497806 w 1966913"/>
                    <a:gd name="connsiteY55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59756 w 1966913"/>
                    <a:gd name="connsiteY35" fmla="*/ 1269206 h 1843086"/>
                    <a:gd name="connsiteX36" fmla="*/ 1804988 w 1966913"/>
                    <a:gd name="connsiteY36" fmla="*/ 1300162 h 1843086"/>
                    <a:gd name="connsiteX37" fmla="*/ 1766888 w 1966913"/>
                    <a:gd name="connsiteY37" fmla="*/ 1345406 h 1843086"/>
                    <a:gd name="connsiteX38" fmla="*/ 1795463 w 1966913"/>
                    <a:gd name="connsiteY38" fmla="*/ 1247774 h 1843086"/>
                    <a:gd name="connsiteX39" fmla="*/ 1840707 w 1966913"/>
                    <a:gd name="connsiteY39" fmla="*/ 1214437 h 1843086"/>
                    <a:gd name="connsiteX40" fmla="*/ 1852613 w 1966913"/>
                    <a:gd name="connsiteY40" fmla="*/ 1159668 h 1843086"/>
                    <a:gd name="connsiteX41" fmla="*/ 1802606 w 1966913"/>
                    <a:gd name="connsiteY41" fmla="*/ 1119187 h 1843086"/>
                    <a:gd name="connsiteX42" fmla="*/ 1802606 w 1966913"/>
                    <a:gd name="connsiteY42" fmla="*/ 1054893 h 1843086"/>
                    <a:gd name="connsiteX43" fmla="*/ 1764506 w 1966913"/>
                    <a:gd name="connsiteY43" fmla="*/ 947737 h 1843086"/>
                    <a:gd name="connsiteX44" fmla="*/ 1800225 w 1966913"/>
                    <a:gd name="connsiteY44" fmla="*/ 816768 h 1843086"/>
                    <a:gd name="connsiteX45" fmla="*/ 1697831 w 1966913"/>
                    <a:gd name="connsiteY45" fmla="*/ 719137 h 1843086"/>
                    <a:gd name="connsiteX46" fmla="*/ 1650206 w 1966913"/>
                    <a:gd name="connsiteY46" fmla="*/ 640556 h 1843086"/>
                    <a:gd name="connsiteX47" fmla="*/ 1578769 w 1966913"/>
                    <a:gd name="connsiteY47" fmla="*/ 616743 h 1843086"/>
                    <a:gd name="connsiteX48" fmla="*/ 1602581 w 1966913"/>
                    <a:gd name="connsiteY48" fmla="*/ 557212 h 1843086"/>
                    <a:gd name="connsiteX49" fmla="*/ 1662112 w 1966913"/>
                    <a:gd name="connsiteY49" fmla="*/ 545305 h 1843086"/>
                    <a:gd name="connsiteX50" fmla="*/ 1600200 w 1966913"/>
                    <a:gd name="connsiteY50" fmla="*/ 492918 h 1843086"/>
                    <a:gd name="connsiteX51" fmla="*/ 1538288 w 1966913"/>
                    <a:gd name="connsiteY51" fmla="*/ 485774 h 1843086"/>
                    <a:gd name="connsiteX52" fmla="*/ 1583531 w 1966913"/>
                    <a:gd name="connsiteY52" fmla="*/ 411956 h 1843086"/>
                    <a:gd name="connsiteX53" fmla="*/ 1538288 w 1966913"/>
                    <a:gd name="connsiteY53" fmla="*/ 359568 h 1843086"/>
                    <a:gd name="connsiteX54" fmla="*/ 1552575 w 1966913"/>
                    <a:gd name="connsiteY54" fmla="*/ 283368 h 1843086"/>
                    <a:gd name="connsiteX55" fmla="*/ 1497806 w 1966913"/>
                    <a:gd name="connsiteY55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59756 w 1966913"/>
                    <a:gd name="connsiteY35" fmla="*/ 1269206 h 1843086"/>
                    <a:gd name="connsiteX36" fmla="*/ 1804988 w 1966913"/>
                    <a:gd name="connsiteY36" fmla="*/ 1300162 h 1843086"/>
                    <a:gd name="connsiteX37" fmla="*/ 1766888 w 1966913"/>
                    <a:gd name="connsiteY37" fmla="*/ 1345406 h 1843086"/>
                    <a:gd name="connsiteX38" fmla="*/ 1795463 w 1966913"/>
                    <a:gd name="connsiteY38" fmla="*/ 1247774 h 1843086"/>
                    <a:gd name="connsiteX39" fmla="*/ 1840707 w 1966913"/>
                    <a:gd name="connsiteY39" fmla="*/ 1214437 h 1843086"/>
                    <a:gd name="connsiteX40" fmla="*/ 1852613 w 1966913"/>
                    <a:gd name="connsiteY40" fmla="*/ 1159668 h 1843086"/>
                    <a:gd name="connsiteX41" fmla="*/ 1802606 w 1966913"/>
                    <a:gd name="connsiteY41" fmla="*/ 1119187 h 1843086"/>
                    <a:gd name="connsiteX42" fmla="*/ 1802606 w 1966913"/>
                    <a:gd name="connsiteY42" fmla="*/ 1054893 h 1843086"/>
                    <a:gd name="connsiteX43" fmla="*/ 1764506 w 1966913"/>
                    <a:gd name="connsiteY43" fmla="*/ 947737 h 1843086"/>
                    <a:gd name="connsiteX44" fmla="*/ 1766888 w 1966913"/>
                    <a:gd name="connsiteY44" fmla="*/ 835818 h 1843086"/>
                    <a:gd name="connsiteX45" fmla="*/ 1697831 w 1966913"/>
                    <a:gd name="connsiteY45" fmla="*/ 719137 h 1843086"/>
                    <a:gd name="connsiteX46" fmla="*/ 1650206 w 1966913"/>
                    <a:gd name="connsiteY46" fmla="*/ 640556 h 1843086"/>
                    <a:gd name="connsiteX47" fmla="*/ 1578769 w 1966913"/>
                    <a:gd name="connsiteY47" fmla="*/ 616743 h 1843086"/>
                    <a:gd name="connsiteX48" fmla="*/ 1602581 w 1966913"/>
                    <a:gd name="connsiteY48" fmla="*/ 557212 h 1843086"/>
                    <a:gd name="connsiteX49" fmla="*/ 1662112 w 1966913"/>
                    <a:gd name="connsiteY49" fmla="*/ 545305 h 1843086"/>
                    <a:gd name="connsiteX50" fmla="*/ 1600200 w 1966913"/>
                    <a:gd name="connsiteY50" fmla="*/ 492918 h 1843086"/>
                    <a:gd name="connsiteX51" fmla="*/ 1538288 w 1966913"/>
                    <a:gd name="connsiteY51" fmla="*/ 485774 h 1843086"/>
                    <a:gd name="connsiteX52" fmla="*/ 1583531 w 1966913"/>
                    <a:gd name="connsiteY52" fmla="*/ 411956 h 1843086"/>
                    <a:gd name="connsiteX53" fmla="*/ 1538288 w 1966913"/>
                    <a:gd name="connsiteY53" fmla="*/ 359568 h 1843086"/>
                    <a:gd name="connsiteX54" fmla="*/ 1552575 w 1966913"/>
                    <a:gd name="connsiteY54" fmla="*/ 283368 h 1843086"/>
                    <a:gd name="connsiteX55" fmla="*/ 1497806 w 1966913"/>
                    <a:gd name="connsiteY55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59756 w 1966913"/>
                    <a:gd name="connsiteY35" fmla="*/ 1269206 h 1843086"/>
                    <a:gd name="connsiteX36" fmla="*/ 1804988 w 1966913"/>
                    <a:gd name="connsiteY36" fmla="*/ 1300162 h 1843086"/>
                    <a:gd name="connsiteX37" fmla="*/ 1766888 w 1966913"/>
                    <a:gd name="connsiteY37" fmla="*/ 1345406 h 1843086"/>
                    <a:gd name="connsiteX38" fmla="*/ 1795463 w 1966913"/>
                    <a:gd name="connsiteY38" fmla="*/ 1247774 h 1843086"/>
                    <a:gd name="connsiteX39" fmla="*/ 1840707 w 1966913"/>
                    <a:gd name="connsiteY39" fmla="*/ 1214437 h 1843086"/>
                    <a:gd name="connsiteX40" fmla="*/ 1852613 w 1966913"/>
                    <a:gd name="connsiteY40" fmla="*/ 1159668 h 1843086"/>
                    <a:gd name="connsiteX41" fmla="*/ 1802606 w 1966913"/>
                    <a:gd name="connsiteY41" fmla="*/ 1119187 h 1843086"/>
                    <a:gd name="connsiteX42" fmla="*/ 1802606 w 1966913"/>
                    <a:gd name="connsiteY42" fmla="*/ 1054893 h 1843086"/>
                    <a:gd name="connsiteX43" fmla="*/ 1764506 w 1966913"/>
                    <a:gd name="connsiteY43" fmla="*/ 947737 h 1843086"/>
                    <a:gd name="connsiteX44" fmla="*/ 1766888 w 1966913"/>
                    <a:gd name="connsiteY44" fmla="*/ 835818 h 1843086"/>
                    <a:gd name="connsiteX45" fmla="*/ 1745456 w 1966913"/>
                    <a:gd name="connsiteY45" fmla="*/ 754856 h 1843086"/>
                    <a:gd name="connsiteX46" fmla="*/ 1697831 w 1966913"/>
                    <a:gd name="connsiteY46" fmla="*/ 719137 h 1843086"/>
                    <a:gd name="connsiteX47" fmla="*/ 1650206 w 1966913"/>
                    <a:gd name="connsiteY47" fmla="*/ 640556 h 1843086"/>
                    <a:gd name="connsiteX48" fmla="*/ 1578769 w 1966913"/>
                    <a:gd name="connsiteY48" fmla="*/ 616743 h 1843086"/>
                    <a:gd name="connsiteX49" fmla="*/ 1602581 w 1966913"/>
                    <a:gd name="connsiteY49" fmla="*/ 557212 h 1843086"/>
                    <a:gd name="connsiteX50" fmla="*/ 1662112 w 1966913"/>
                    <a:gd name="connsiteY50" fmla="*/ 545305 h 1843086"/>
                    <a:gd name="connsiteX51" fmla="*/ 1600200 w 1966913"/>
                    <a:gd name="connsiteY51" fmla="*/ 492918 h 1843086"/>
                    <a:gd name="connsiteX52" fmla="*/ 1538288 w 1966913"/>
                    <a:gd name="connsiteY52" fmla="*/ 485774 h 1843086"/>
                    <a:gd name="connsiteX53" fmla="*/ 1583531 w 1966913"/>
                    <a:gd name="connsiteY53" fmla="*/ 411956 h 1843086"/>
                    <a:gd name="connsiteX54" fmla="*/ 1538288 w 1966913"/>
                    <a:gd name="connsiteY54" fmla="*/ 359568 h 1843086"/>
                    <a:gd name="connsiteX55" fmla="*/ 1552575 w 1966913"/>
                    <a:gd name="connsiteY55" fmla="*/ 283368 h 1843086"/>
                    <a:gd name="connsiteX56" fmla="*/ 1497806 w 1966913"/>
                    <a:gd name="connsiteY56" fmla="*/ 202405 h 1843086"/>
                    <a:gd name="connsiteX0" fmla="*/ 1497806 w 1966913"/>
                    <a:gd name="connsiteY0" fmla="*/ 202405 h 1843086"/>
                    <a:gd name="connsiteX1" fmla="*/ 1231107 w 1966913"/>
                    <a:gd name="connsiteY1" fmla="*/ 266699 h 1843086"/>
                    <a:gd name="connsiteX2" fmla="*/ 1162051 w 1966913"/>
                    <a:gd name="connsiteY2" fmla="*/ 245268 h 1843086"/>
                    <a:gd name="connsiteX3" fmla="*/ 1114426 w 1966913"/>
                    <a:gd name="connsiteY3" fmla="*/ 342899 h 1843086"/>
                    <a:gd name="connsiteX4" fmla="*/ 1069181 w 1966913"/>
                    <a:gd name="connsiteY4" fmla="*/ 323850 h 1843086"/>
                    <a:gd name="connsiteX5" fmla="*/ 1064419 w 1966913"/>
                    <a:gd name="connsiteY5" fmla="*/ 259555 h 1843086"/>
                    <a:gd name="connsiteX6" fmla="*/ 1023938 w 1966913"/>
                    <a:gd name="connsiteY6" fmla="*/ 216693 h 1843086"/>
                    <a:gd name="connsiteX7" fmla="*/ 897731 w 1966913"/>
                    <a:gd name="connsiteY7" fmla="*/ 128587 h 1843086"/>
                    <a:gd name="connsiteX8" fmla="*/ 719138 w 1966913"/>
                    <a:gd name="connsiteY8" fmla="*/ 80962 h 1843086"/>
                    <a:gd name="connsiteX9" fmla="*/ 623887 w 1966913"/>
                    <a:gd name="connsiteY9" fmla="*/ 0 h 1843086"/>
                    <a:gd name="connsiteX10" fmla="*/ 540544 w 1966913"/>
                    <a:gd name="connsiteY10" fmla="*/ 61912 h 1843086"/>
                    <a:gd name="connsiteX11" fmla="*/ 495300 w 1966913"/>
                    <a:gd name="connsiteY11" fmla="*/ 166686 h 1843086"/>
                    <a:gd name="connsiteX12" fmla="*/ 466725 w 1966913"/>
                    <a:gd name="connsiteY12" fmla="*/ 178593 h 1843086"/>
                    <a:gd name="connsiteX13" fmla="*/ 407194 w 1966913"/>
                    <a:gd name="connsiteY13" fmla="*/ 252412 h 1843086"/>
                    <a:gd name="connsiteX14" fmla="*/ 335756 w 1966913"/>
                    <a:gd name="connsiteY14" fmla="*/ 345280 h 1843086"/>
                    <a:gd name="connsiteX15" fmla="*/ 354806 w 1966913"/>
                    <a:gd name="connsiteY15" fmla="*/ 419099 h 1843086"/>
                    <a:gd name="connsiteX16" fmla="*/ 292894 w 1966913"/>
                    <a:gd name="connsiteY16" fmla="*/ 554830 h 1843086"/>
                    <a:gd name="connsiteX17" fmla="*/ 307181 w 1966913"/>
                    <a:gd name="connsiteY17" fmla="*/ 619124 h 1843086"/>
                    <a:gd name="connsiteX18" fmla="*/ 333375 w 1966913"/>
                    <a:gd name="connsiteY18" fmla="*/ 640556 h 1843086"/>
                    <a:gd name="connsiteX19" fmla="*/ 330994 w 1966913"/>
                    <a:gd name="connsiteY19" fmla="*/ 700087 h 1843086"/>
                    <a:gd name="connsiteX20" fmla="*/ 357187 w 1966913"/>
                    <a:gd name="connsiteY20" fmla="*/ 723899 h 1843086"/>
                    <a:gd name="connsiteX21" fmla="*/ 300038 w 1966913"/>
                    <a:gd name="connsiteY21" fmla="*/ 738187 h 1843086"/>
                    <a:gd name="connsiteX22" fmla="*/ 295275 w 1966913"/>
                    <a:gd name="connsiteY22" fmla="*/ 804862 h 1843086"/>
                    <a:gd name="connsiteX23" fmla="*/ 245269 w 1966913"/>
                    <a:gd name="connsiteY23" fmla="*/ 850106 h 1843086"/>
                    <a:gd name="connsiteX24" fmla="*/ 238125 w 1966913"/>
                    <a:gd name="connsiteY24" fmla="*/ 902493 h 1843086"/>
                    <a:gd name="connsiteX25" fmla="*/ 197643 w 1966913"/>
                    <a:gd name="connsiteY25" fmla="*/ 990599 h 1843086"/>
                    <a:gd name="connsiteX26" fmla="*/ 0 w 1966913"/>
                    <a:gd name="connsiteY26" fmla="*/ 1264443 h 1843086"/>
                    <a:gd name="connsiteX27" fmla="*/ 28575 w 1966913"/>
                    <a:gd name="connsiteY27" fmla="*/ 1466849 h 1843086"/>
                    <a:gd name="connsiteX28" fmla="*/ 514350 w 1966913"/>
                    <a:gd name="connsiteY28" fmla="*/ 1597818 h 1843086"/>
                    <a:gd name="connsiteX29" fmla="*/ 628650 w 1966913"/>
                    <a:gd name="connsiteY29" fmla="*/ 1778793 h 1843086"/>
                    <a:gd name="connsiteX30" fmla="*/ 935832 w 1966913"/>
                    <a:gd name="connsiteY30" fmla="*/ 1843086 h 1843086"/>
                    <a:gd name="connsiteX31" fmla="*/ 1285875 w 1966913"/>
                    <a:gd name="connsiteY31" fmla="*/ 1702593 h 1843086"/>
                    <a:gd name="connsiteX32" fmla="*/ 1959769 w 1966913"/>
                    <a:gd name="connsiteY32" fmla="*/ 1576387 h 1843086"/>
                    <a:gd name="connsiteX33" fmla="*/ 1966913 w 1966913"/>
                    <a:gd name="connsiteY33" fmla="*/ 1378743 h 1843086"/>
                    <a:gd name="connsiteX34" fmla="*/ 1921669 w 1966913"/>
                    <a:gd name="connsiteY34" fmla="*/ 1295399 h 1843086"/>
                    <a:gd name="connsiteX35" fmla="*/ 1859756 w 1966913"/>
                    <a:gd name="connsiteY35" fmla="*/ 1269206 h 1843086"/>
                    <a:gd name="connsiteX36" fmla="*/ 1804988 w 1966913"/>
                    <a:gd name="connsiteY36" fmla="*/ 1300162 h 1843086"/>
                    <a:gd name="connsiteX37" fmla="*/ 1766888 w 1966913"/>
                    <a:gd name="connsiteY37" fmla="*/ 1345406 h 1843086"/>
                    <a:gd name="connsiteX38" fmla="*/ 1795463 w 1966913"/>
                    <a:gd name="connsiteY38" fmla="*/ 1247774 h 1843086"/>
                    <a:gd name="connsiteX39" fmla="*/ 1840707 w 1966913"/>
                    <a:gd name="connsiteY39" fmla="*/ 1214437 h 1843086"/>
                    <a:gd name="connsiteX40" fmla="*/ 1852613 w 1966913"/>
                    <a:gd name="connsiteY40" fmla="*/ 1159668 h 1843086"/>
                    <a:gd name="connsiteX41" fmla="*/ 1802606 w 1966913"/>
                    <a:gd name="connsiteY41" fmla="*/ 1119187 h 1843086"/>
                    <a:gd name="connsiteX42" fmla="*/ 1802606 w 1966913"/>
                    <a:gd name="connsiteY42" fmla="*/ 1054893 h 1843086"/>
                    <a:gd name="connsiteX43" fmla="*/ 1764506 w 1966913"/>
                    <a:gd name="connsiteY43" fmla="*/ 947737 h 1843086"/>
                    <a:gd name="connsiteX44" fmla="*/ 1716881 w 1966913"/>
                    <a:gd name="connsiteY44" fmla="*/ 904874 h 1843086"/>
                    <a:gd name="connsiteX45" fmla="*/ 1766888 w 1966913"/>
                    <a:gd name="connsiteY45" fmla="*/ 835818 h 1843086"/>
                    <a:gd name="connsiteX46" fmla="*/ 1745456 w 1966913"/>
                    <a:gd name="connsiteY46" fmla="*/ 754856 h 1843086"/>
                    <a:gd name="connsiteX47" fmla="*/ 1697831 w 1966913"/>
                    <a:gd name="connsiteY47" fmla="*/ 719137 h 1843086"/>
                    <a:gd name="connsiteX48" fmla="*/ 1650206 w 1966913"/>
                    <a:gd name="connsiteY48" fmla="*/ 640556 h 1843086"/>
                    <a:gd name="connsiteX49" fmla="*/ 1578769 w 1966913"/>
                    <a:gd name="connsiteY49" fmla="*/ 616743 h 1843086"/>
                    <a:gd name="connsiteX50" fmla="*/ 1602581 w 1966913"/>
                    <a:gd name="connsiteY50" fmla="*/ 557212 h 1843086"/>
                    <a:gd name="connsiteX51" fmla="*/ 1662112 w 1966913"/>
                    <a:gd name="connsiteY51" fmla="*/ 545305 h 1843086"/>
                    <a:gd name="connsiteX52" fmla="*/ 1600200 w 1966913"/>
                    <a:gd name="connsiteY52" fmla="*/ 492918 h 1843086"/>
                    <a:gd name="connsiteX53" fmla="*/ 1538288 w 1966913"/>
                    <a:gd name="connsiteY53" fmla="*/ 485774 h 1843086"/>
                    <a:gd name="connsiteX54" fmla="*/ 1583531 w 1966913"/>
                    <a:gd name="connsiteY54" fmla="*/ 411956 h 1843086"/>
                    <a:gd name="connsiteX55" fmla="*/ 1538288 w 1966913"/>
                    <a:gd name="connsiteY55" fmla="*/ 359568 h 1843086"/>
                    <a:gd name="connsiteX56" fmla="*/ 1552575 w 1966913"/>
                    <a:gd name="connsiteY56" fmla="*/ 283368 h 1843086"/>
                    <a:gd name="connsiteX57" fmla="*/ 1497806 w 1966913"/>
                    <a:gd name="connsiteY57" fmla="*/ 202405 h 18430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</a:cxnLst>
                  <a:rect l="l" t="t" r="r" b="b"/>
                  <a:pathLst>
                    <a:path w="1966913" h="1843086">
                      <a:moveTo>
                        <a:pt x="1497806" y="202405"/>
                      </a:moveTo>
                      <a:lnTo>
                        <a:pt x="1231107" y="266699"/>
                      </a:lnTo>
                      <a:lnTo>
                        <a:pt x="1162051" y="245268"/>
                      </a:lnTo>
                      <a:lnTo>
                        <a:pt x="1114426" y="342899"/>
                      </a:lnTo>
                      <a:lnTo>
                        <a:pt x="1069181" y="323850"/>
                      </a:lnTo>
                      <a:lnTo>
                        <a:pt x="1064419" y="259555"/>
                      </a:lnTo>
                      <a:lnTo>
                        <a:pt x="1023938" y="216693"/>
                      </a:lnTo>
                      <a:lnTo>
                        <a:pt x="897731" y="128587"/>
                      </a:lnTo>
                      <a:lnTo>
                        <a:pt x="719138" y="80962"/>
                      </a:lnTo>
                      <a:lnTo>
                        <a:pt x="623887" y="0"/>
                      </a:lnTo>
                      <a:lnTo>
                        <a:pt x="540544" y="61912"/>
                      </a:lnTo>
                      <a:lnTo>
                        <a:pt x="495300" y="166686"/>
                      </a:lnTo>
                      <a:cubicBezTo>
                        <a:pt x="484584" y="187720"/>
                        <a:pt x="481409" y="164305"/>
                        <a:pt x="466725" y="178593"/>
                      </a:cubicBezTo>
                      <a:cubicBezTo>
                        <a:pt x="452041" y="192881"/>
                        <a:pt x="430610" y="226218"/>
                        <a:pt x="407194" y="252412"/>
                      </a:cubicBezTo>
                      <a:lnTo>
                        <a:pt x="335756" y="345280"/>
                      </a:lnTo>
                      <a:lnTo>
                        <a:pt x="354806" y="419099"/>
                      </a:lnTo>
                      <a:lnTo>
                        <a:pt x="292894" y="554830"/>
                      </a:lnTo>
                      <a:cubicBezTo>
                        <a:pt x="303213" y="577849"/>
                        <a:pt x="296862" y="596105"/>
                        <a:pt x="307181" y="619124"/>
                      </a:cubicBezTo>
                      <a:cubicBezTo>
                        <a:pt x="311944" y="635793"/>
                        <a:pt x="329406" y="627062"/>
                        <a:pt x="333375" y="640556"/>
                      </a:cubicBezTo>
                      <a:cubicBezTo>
                        <a:pt x="337344" y="654050"/>
                        <a:pt x="325041" y="688578"/>
                        <a:pt x="330994" y="700087"/>
                      </a:cubicBezTo>
                      <a:lnTo>
                        <a:pt x="357187" y="723899"/>
                      </a:lnTo>
                      <a:lnTo>
                        <a:pt x="300038" y="738187"/>
                      </a:lnTo>
                      <a:lnTo>
                        <a:pt x="295275" y="804862"/>
                      </a:lnTo>
                      <a:lnTo>
                        <a:pt x="245269" y="850106"/>
                      </a:lnTo>
                      <a:lnTo>
                        <a:pt x="238125" y="902493"/>
                      </a:lnTo>
                      <a:lnTo>
                        <a:pt x="197643" y="990599"/>
                      </a:lnTo>
                      <a:lnTo>
                        <a:pt x="0" y="1264443"/>
                      </a:lnTo>
                      <a:lnTo>
                        <a:pt x="28575" y="1466849"/>
                      </a:lnTo>
                      <a:lnTo>
                        <a:pt x="514350" y="1597818"/>
                      </a:lnTo>
                      <a:lnTo>
                        <a:pt x="628650" y="1778793"/>
                      </a:lnTo>
                      <a:lnTo>
                        <a:pt x="935832" y="1843086"/>
                      </a:lnTo>
                      <a:lnTo>
                        <a:pt x="1285875" y="1702593"/>
                      </a:lnTo>
                      <a:lnTo>
                        <a:pt x="1959769" y="1576387"/>
                      </a:lnTo>
                      <a:lnTo>
                        <a:pt x="1966913" y="1378743"/>
                      </a:lnTo>
                      <a:lnTo>
                        <a:pt x="1921669" y="1295399"/>
                      </a:lnTo>
                      <a:cubicBezTo>
                        <a:pt x="1905000" y="1280715"/>
                        <a:pt x="1879203" y="1268412"/>
                        <a:pt x="1859756" y="1269206"/>
                      </a:cubicBezTo>
                      <a:cubicBezTo>
                        <a:pt x="1840309" y="1270000"/>
                        <a:pt x="1821657" y="1291034"/>
                        <a:pt x="1804988" y="1300162"/>
                      </a:cubicBezTo>
                      <a:cubicBezTo>
                        <a:pt x="1788319" y="1309290"/>
                        <a:pt x="1778397" y="1356122"/>
                        <a:pt x="1766888" y="1345406"/>
                      </a:cubicBezTo>
                      <a:cubicBezTo>
                        <a:pt x="1749029" y="1339850"/>
                        <a:pt x="1783160" y="1269602"/>
                        <a:pt x="1795463" y="1247774"/>
                      </a:cubicBezTo>
                      <a:cubicBezTo>
                        <a:pt x="1807766" y="1225946"/>
                        <a:pt x="1835151" y="1231899"/>
                        <a:pt x="1840707" y="1214437"/>
                      </a:cubicBezTo>
                      <a:cubicBezTo>
                        <a:pt x="1836738" y="1190624"/>
                        <a:pt x="1856582" y="1183481"/>
                        <a:pt x="1852613" y="1159668"/>
                      </a:cubicBezTo>
                      <a:cubicBezTo>
                        <a:pt x="1842294" y="1139031"/>
                        <a:pt x="1812925" y="1139824"/>
                        <a:pt x="1802606" y="1119187"/>
                      </a:cubicBezTo>
                      <a:lnTo>
                        <a:pt x="1802606" y="1054893"/>
                      </a:lnTo>
                      <a:lnTo>
                        <a:pt x="1764506" y="947737"/>
                      </a:lnTo>
                      <a:cubicBezTo>
                        <a:pt x="1764506" y="932656"/>
                        <a:pt x="1716881" y="919955"/>
                        <a:pt x="1716881" y="904874"/>
                      </a:cubicBezTo>
                      <a:lnTo>
                        <a:pt x="1766888" y="835818"/>
                      </a:lnTo>
                      <a:cubicBezTo>
                        <a:pt x="1753394" y="813593"/>
                        <a:pt x="1758950" y="777081"/>
                        <a:pt x="1745456" y="754856"/>
                      </a:cubicBezTo>
                      <a:lnTo>
                        <a:pt x="1697831" y="719137"/>
                      </a:lnTo>
                      <a:cubicBezTo>
                        <a:pt x="1677590" y="696515"/>
                        <a:pt x="1682353" y="661193"/>
                        <a:pt x="1650206" y="640556"/>
                      </a:cubicBezTo>
                      <a:cubicBezTo>
                        <a:pt x="1618059" y="619919"/>
                        <a:pt x="1591469" y="637380"/>
                        <a:pt x="1578769" y="616743"/>
                      </a:cubicBezTo>
                      <a:lnTo>
                        <a:pt x="1602581" y="557212"/>
                      </a:lnTo>
                      <a:lnTo>
                        <a:pt x="1662112" y="545305"/>
                      </a:lnTo>
                      <a:lnTo>
                        <a:pt x="1600200" y="492918"/>
                      </a:lnTo>
                      <a:cubicBezTo>
                        <a:pt x="1580356" y="481012"/>
                        <a:pt x="1541066" y="499268"/>
                        <a:pt x="1538288" y="485774"/>
                      </a:cubicBezTo>
                      <a:cubicBezTo>
                        <a:pt x="1535510" y="472280"/>
                        <a:pt x="1588293" y="430212"/>
                        <a:pt x="1583531" y="411956"/>
                      </a:cubicBezTo>
                      <a:cubicBezTo>
                        <a:pt x="1573212" y="389731"/>
                        <a:pt x="1542654" y="386555"/>
                        <a:pt x="1538288" y="359568"/>
                      </a:cubicBezTo>
                      <a:lnTo>
                        <a:pt x="1552575" y="283368"/>
                      </a:lnTo>
                      <a:lnTo>
                        <a:pt x="1497806" y="202405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4" name="Freeform 93"/>
                <p:cNvSpPr/>
                <p:nvPr/>
              </p:nvSpPr>
              <p:spPr>
                <a:xfrm>
                  <a:off x="6446520" y="5798344"/>
                  <a:ext cx="1540192" cy="789146"/>
                </a:xfrm>
                <a:custGeom>
                  <a:avLst/>
                  <a:gdLst>
                    <a:gd name="connsiteX0" fmla="*/ 1341120 w 1706880"/>
                    <a:gd name="connsiteY0" fmla="*/ 0 h 952500"/>
                    <a:gd name="connsiteX1" fmla="*/ 53340 w 1706880"/>
                    <a:gd name="connsiteY1" fmla="*/ 411480 h 952500"/>
                    <a:gd name="connsiteX2" fmla="*/ 0 w 1706880"/>
                    <a:gd name="connsiteY2" fmla="*/ 609600 h 952500"/>
                    <a:gd name="connsiteX3" fmla="*/ 129540 w 1706880"/>
                    <a:gd name="connsiteY3" fmla="*/ 830580 h 952500"/>
                    <a:gd name="connsiteX4" fmla="*/ 320040 w 1706880"/>
                    <a:gd name="connsiteY4" fmla="*/ 952500 h 952500"/>
                    <a:gd name="connsiteX5" fmla="*/ 800100 w 1706880"/>
                    <a:gd name="connsiteY5" fmla="*/ 937260 h 952500"/>
                    <a:gd name="connsiteX6" fmla="*/ 1455420 w 1706880"/>
                    <a:gd name="connsiteY6" fmla="*/ 548640 h 952500"/>
                    <a:gd name="connsiteX7" fmla="*/ 1524000 w 1706880"/>
                    <a:gd name="connsiteY7" fmla="*/ 495300 h 952500"/>
                    <a:gd name="connsiteX8" fmla="*/ 1691640 w 1706880"/>
                    <a:gd name="connsiteY8" fmla="*/ 388620 h 952500"/>
                    <a:gd name="connsiteX9" fmla="*/ 1706880 w 1706880"/>
                    <a:gd name="connsiteY9" fmla="*/ 259080 h 952500"/>
                    <a:gd name="connsiteX10" fmla="*/ 1645920 w 1706880"/>
                    <a:gd name="connsiteY10" fmla="*/ 129540 h 952500"/>
                    <a:gd name="connsiteX11" fmla="*/ 1508760 w 1706880"/>
                    <a:gd name="connsiteY11" fmla="*/ 53340 h 952500"/>
                    <a:gd name="connsiteX12" fmla="*/ 1341120 w 1706880"/>
                    <a:gd name="connsiteY12" fmla="*/ 0 h 952500"/>
                    <a:gd name="connsiteX0" fmla="*/ 1341120 w 1706880"/>
                    <a:gd name="connsiteY0" fmla="*/ 0 h 952500"/>
                    <a:gd name="connsiteX1" fmla="*/ 48577 w 1706880"/>
                    <a:gd name="connsiteY1" fmla="*/ 480536 h 952500"/>
                    <a:gd name="connsiteX2" fmla="*/ 0 w 1706880"/>
                    <a:gd name="connsiteY2" fmla="*/ 609600 h 952500"/>
                    <a:gd name="connsiteX3" fmla="*/ 129540 w 1706880"/>
                    <a:gd name="connsiteY3" fmla="*/ 830580 h 952500"/>
                    <a:gd name="connsiteX4" fmla="*/ 320040 w 1706880"/>
                    <a:gd name="connsiteY4" fmla="*/ 952500 h 952500"/>
                    <a:gd name="connsiteX5" fmla="*/ 800100 w 1706880"/>
                    <a:gd name="connsiteY5" fmla="*/ 937260 h 952500"/>
                    <a:gd name="connsiteX6" fmla="*/ 1455420 w 1706880"/>
                    <a:gd name="connsiteY6" fmla="*/ 548640 h 952500"/>
                    <a:gd name="connsiteX7" fmla="*/ 1524000 w 1706880"/>
                    <a:gd name="connsiteY7" fmla="*/ 495300 h 952500"/>
                    <a:gd name="connsiteX8" fmla="*/ 1691640 w 1706880"/>
                    <a:gd name="connsiteY8" fmla="*/ 388620 h 952500"/>
                    <a:gd name="connsiteX9" fmla="*/ 1706880 w 1706880"/>
                    <a:gd name="connsiteY9" fmla="*/ 259080 h 952500"/>
                    <a:gd name="connsiteX10" fmla="*/ 1645920 w 1706880"/>
                    <a:gd name="connsiteY10" fmla="*/ 129540 h 952500"/>
                    <a:gd name="connsiteX11" fmla="*/ 1508760 w 1706880"/>
                    <a:gd name="connsiteY11" fmla="*/ 53340 h 952500"/>
                    <a:gd name="connsiteX12" fmla="*/ 1341120 w 1706880"/>
                    <a:gd name="connsiteY12" fmla="*/ 0 h 952500"/>
                    <a:gd name="connsiteX0" fmla="*/ 1341120 w 1706880"/>
                    <a:gd name="connsiteY0" fmla="*/ 0 h 952500"/>
                    <a:gd name="connsiteX1" fmla="*/ 237649 w 1706880"/>
                    <a:gd name="connsiteY1" fmla="*/ 411004 h 952500"/>
                    <a:gd name="connsiteX2" fmla="*/ 48577 w 1706880"/>
                    <a:gd name="connsiteY2" fmla="*/ 480536 h 952500"/>
                    <a:gd name="connsiteX3" fmla="*/ 0 w 1706880"/>
                    <a:gd name="connsiteY3" fmla="*/ 609600 h 952500"/>
                    <a:gd name="connsiteX4" fmla="*/ 129540 w 1706880"/>
                    <a:gd name="connsiteY4" fmla="*/ 830580 h 952500"/>
                    <a:gd name="connsiteX5" fmla="*/ 320040 w 1706880"/>
                    <a:gd name="connsiteY5" fmla="*/ 952500 h 952500"/>
                    <a:gd name="connsiteX6" fmla="*/ 800100 w 1706880"/>
                    <a:gd name="connsiteY6" fmla="*/ 937260 h 952500"/>
                    <a:gd name="connsiteX7" fmla="*/ 1455420 w 1706880"/>
                    <a:gd name="connsiteY7" fmla="*/ 548640 h 952500"/>
                    <a:gd name="connsiteX8" fmla="*/ 1524000 w 1706880"/>
                    <a:gd name="connsiteY8" fmla="*/ 495300 h 952500"/>
                    <a:gd name="connsiteX9" fmla="*/ 1691640 w 1706880"/>
                    <a:gd name="connsiteY9" fmla="*/ 388620 h 952500"/>
                    <a:gd name="connsiteX10" fmla="*/ 1706880 w 1706880"/>
                    <a:gd name="connsiteY10" fmla="*/ 259080 h 952500"/>
                    <a:gd name="connsiteX11" fmla="*/ 1645920 w 1706880"/>
                    <a:gd name="connsiteY11" fmla="*/ 129540 h 952500"/>
                    <a:gd name="connsiteX12" fmla="*/ 1508760 w 1706880"/>
                    <a:gd name="connsiteY12" fmla="*/ 53340 h 952500"/>
                    <a:gd name="connsiteX13" fmla="*/ 1341120 w 1706880"/>
                    <a:gd name="connsiteY13" fmla="*/ 0 h 952500"/>
                    <a:gd name="connsiteX0" fmla="*/ 1341120 w 1706880"/>
                    <a:gd name="connsiteY0" fmla="*/ 0 h 952500"/>
                    <a:gd name="connsiteX1" fmla="*/ 399574 w 1706880"/>
                    <a:gd name="connsiteY1" fmla="*/ 349091 h 952500"/>
                    <a:gd name="connsiteX2" fmla="*/ 237649 w 1706880"/>
                    <a:gd name="connsiteY2" fmla="*/ 411004 h 952500"/>
                    <a:gd name="connsiteX3" fmla="*/ 48577 w 1706880"/>
                    <a:gd name="connsiteY3" fmla="*/ 480536 h 952500"/>
                    <a:gd name="connsiteX4" fmla="*/ 0 w 1706880"/>
                    <a:gd name="connsiteY4" fmla="*/ 609600 h 952500"/>
                    <a:gd name="connsiteX5" fmla="*/ 129540 w 1706880"/>
                    <a:gd name="connsiteY5" fmla="*/ 830580 h 952500"/>
                    <a:gd name="connsiteX6" fmla="*/ 320040 w 1706880"/>
                    <a:gd name="connsiteY6" fmla="*/ 952500 h 952500"/>
                    <a:gd name="connsiteX7" fmla="*/ 800100 w 1706880"/>
                    <a:gd name="connsiteY7" fmla="*/ 937260 h 952500"/>
                    <a:gd name="connsiteX8" fmla="*/ 1455420 w 1706880"/>
                    <a:gd name="connsiteY8" fmla="*/ 548640 h 952500"/>
                    <a:gd name="connsiteX9" fmla="*/ 1524000 w 1706880"/>
                    <a:gd name="connsiteY9" fmla="*/ 495300 h 952500"/>
                    <a:gd name="connsiteX10" fmla="*/ 1691640 w 1706880"/>
                    <a:gd name="connsiteY10" fmla="*/ 388620 h 952500"/>
                    <a:gd name="connsiteX11" fmla="*/ 1706880 w 1706880"/>
                    <a:gd name="connsiteY11" fmla="*/ 259080 h 952500"/>
                    <a:gd name="connsiteX12" fmla="*/ 1645920 w 1706880"/>
                    <a:gd name="connsiteY12" fmla="*/ 129540 h 952500"/>
                    <a:gd name="connsiteX13" fmla="*/ 1508760 w 1706880"/>
                    <a:gd name="connsiteY13" fmla="*/ 53340 h 952500"/>
                    <a:gd name="connsiteX14" fmla="*/ 1341120 w 1706880"/>
                    <a:gd name="connsiteY14" fmla="*/ 0 h 952500"/>
                    <a:gd name="connsiteX0" fmla="*/ 1341120 w 1706880"/>
                    <a:gd name="connsiteY0" fmla="*/ 0 h 952500"/>
                    <a:gd name="connsiteX1" fmla="*/ 461486 w 1706880"/>
                    <a:gd name="connsiteY1" fmla="*/ 327660 h 952500"/>
                    <a:gd name="connsiteX2" fmla="*/ 399574 w 1706880"/>
                    <a:gd name="connsiteY2" fmla="*/ 349091 h 952500"/>
                    <a:gd name="connsiteX3" fmla="*/ 237649 w 1706880"/>
                    <a:gd name="connsiteY3" fmla="*/ 411004 h 952500"/>
                    <a:gd name="connsiteX4" fmla="*/ 48577 w 1706880"/>
                    <a:gd name="connsiteY4" fmla="*/ 480536 h 952500"/>
                    <a:gd name="connsiteX5" fmla="*/ 0 w 1706880"/>
                    <a:gd name="connsiteY5" fmla="*/ 609600 h 952500"/>
                    <a:gd name="connsiteX6" fmla="*/ 129540 w 1706880"/>
                    <a:gd name="connsiteY6" fmla="*/ 830580 h 952500"/>
                    <a:gd name="connsiteX7" fmla="*/ 320040 w 1706880"/>
                    <a:gd name="connsiteY7" fmla="*/ 952500 h 952500"/>
                    <a:gd name="connsiteX8" fmla="*/ 800100 w 1706880"/>
                    <a:gd name="connsiteY8" fmla="*/ 937260 h 952500"/>
                    <a:gd name="connsiteX9" fmla="*/ 1455420 w 1706880"/>
                    <a:gd name="connsiteY9" fmla="*/ 548640 h 952500"/>
                    <a:gd name="connsiteX10" fmla="*/ 1524000 w 1706880"/>
                    <a:gd name="connsiteY10" fmla="*/ 495300 h 952500"/>
                    <a:gd name="connsiteX11" fmla="*/ 1691640 w 1706880"/>
                    <a:gd name="connsiteY11" fmla="*/ 388620 h 952500"/>
                    <a:gd name="connsiteX12" fmla="*/ 1706880 w 1706880"/>
                    <a:gd name="connsiteY12" fmla="*/ 259080 h 952500"/>
                    <a:gd name="connsiteX13" fmla="*/ 1645920 w 1706880"/>
                    <a:gd name="connsiteY13" fmla="*/ 129540 h 952500"/>
                    <a:gd name="connsiteX14" fmla="*/ 1508760 w 1706880"/>
                    <a:gd name="connsiteY14" fmla="*/ 53340 h 952500"/>
                    <a:gd name="connsiteX15" fmla="*/ 1341120 w 1706880"/>
                    <a:gd name="connsiteY15" fmla="*/ 0 h 952500"/>
                    <a:gd name="connsiteX0" fmla="*/ 1341120 w 1706880"/>
                    <a:gd name="connsiteY0" fmla="*/ 0 h 952500"/>
                    <a:gd name="connsiteX1" fmla="*/ 547211 w 1706880"/>
                    <a:gd name="connsiteY1" fmla="*/ 291941 h 952500"/>
                    <a:gd name="connsiteX2" fmla="*/ 461486 w 1706880"/>
                    <a:gd name="connsiteY2" fmla="*/ 327660 h 952500"/>
                    <a:gd name="connsiteX3" fmla="*/ 399574 w 1706880"/>
                    <a:gd name="connsiteY3" fmla="*/ 349091 h 952500"/>
                    <a:gd name="connsiteX4" fmla="*/ 237649 w 1706880"/>
                    <a:gd name="connsiteY4" fmla="*/ 411004 h 952500"/>
                    <a:gd name="connsiteX5" fmla="*/ 48577 w 1706880"/>
                    <a:gd name="connsiteY5" fmla="*/ 480536 h 952500"/>
                    <a:gd name="connsiteX6" fmla="*/ 0 w 1706880"/>
                    <a:gd name="connsiteY6" fmla="*/ 609600 h 952500"/>
                    <a:gd name="connsiteX7" fmla="*/ 129540 w 1706880"/>
                    <a:gd name="connsiteY7" fmla="*/ 830580 h 952500"/>
                    <a:gd name="connsiteX8" fmla="*/ 320040 w 1706880"/>
                    <a:gd name="connsiteY8" fmla="*/ 952500 h 952500"/>
                    <a:gd name="connsiteX9" fmla="*/ 800100 w 1706880"/>
                    <a:gd name="connsiteY9" fmla="*/ 937260 h 952500"/>
                    <a:gd name="connsiteX10" fmla="*/ 1455420 w 1706880"/>
                    <a:gd name="connsiteY10" fmla="*/ 548640 h 952500"/>
                    <a:gd name="connsiteX11" fmla="*/ 1524000 w 1706880"/>
                    <a:gd name="connsiteY11" fmla="*/ 495300 h 952500"/>
                    <a:gd name="connsiteX12" fmla="*/ 1691640 w 1706880"/>
                    <a:gd name="connsiteY12" fmla="*/ 388620 h 952500"/>
                    <a:gd name="connsiteX13" fmla="*/ 1706880 w 1706880"/>
                    <a:gd name="connsiteY13" fmla="*/ 259080 h 952500"/>
                    <a:gd name="connsiteX14" fmla="*/ 1645920 w 1706880"/>
                    <a:gd name="connsiteY14" fmla="*/ 129540 h 952500"/>
                    <a:gd name="connsiteX15" fmla="*/ 1508760 w 1706880"/>
                    <a:gd name="connsiteY15" fmla="*/ 53340 h 952500"/>
                    <a:gd name="connsiteX16" fmla="*/ 1341120 w 1706880"/>
                    <a:gd name="connsiteY16" fmla="*/ 0 h 952500"/>
                    <a:gd name="connsiteX0" fmla="*/ 1341120 w 1706880"/>
                    <a:gd name="connsiteY0" fmla="*/ 0 h 952500"/>
                    <a:gd name="connsiteX1" fmla="*/ 628174 w 1706880"/>
                    <a:gd name="connsiteY1" fmla="*/ 256223 h 952500"/>
                    <a:gd name="connsiteX2" fmla="*/ 547211 w 1706880"/>
                    <a:gd name="connsiteY2" fmla="*/ 291941 h 952500"/>
                    <a:gd name="connsiteX3" fmla="*/ 461486 w 1706880"/>
                    <a:gd name="connsiteY3" fmla="*/ 327660 h 952500"/>
                    <a:gd name="connsiteX4" fmla="*/ 399574 w 1706880"/>
                    <a:gd name="connsiteY4" fmla="*/ 349091 h 952500"/>
                    <a:gd name="connsiteX5" fmla="*/ 237649 w 1706880"/>
                    <a:gd name="connsiteY5" fmla="*/ 411004 h 952500"/>
                    <a:gd name="connsiteX6" fmla="*/ 48577 w 1706880"/>
                    <a:gd name="connsiteY6" fmla="*/ 480536 h 952500"/>
                    <a:gd name="connsiteX7" fmla="*/ 0 w 1706880"/>
                    <a:gd name="connsiteY7" fmla="*/ 609600 h 952500"/>
                    <a:gd name="connsiteX8" fmla="*/ 129540 w 1706880"/>
                    <a:gd name="connsiteY8" fmla="*/ 830580 h 952500"/>
                    <a:gd name="connsiteX9" fmla="*/ 320040 w 1706880"/>
                    <a:gd name="connsiteY9" fmla="*/ 952500 h 952500"/>
                    <a:gd name="connsiteX10" fmla="*/ 800100 w 1706880"/>
                    <a:gd name="connsiteY10" fmla="*/ 937260 h 952500"/>
                    <a:gd name="connsiteX11" fmla="*/ 1455420 w 1706880"/>
                    <a:gd name="connsiteY11" fmla="*/ 548640 h 952500"/>
                    <a:gd name="connsiteX12" fmla="*/ 1524000 w 1706880"/>
                    <a:gd name="connsiteY12" fmla="*/ 495300 h 952500"/>
                    <a:gd name="connsiteX13" fmla="*/ 1691640 w 1706880"/>
                    <a:gd name="connsiteY13" fmla="*/ 388620 h 952500"/>
                    <a:gd name="connsiteX14" fmla="*/ 1706880 w 1706880"/>
                    <a:gd name="connsiteY14" fmla="*/ 259080 h 952500"/>
                    <a:gd name="connsiteX15" fmla="*/ 1645920 w 1706880"/>
                    <a:gd name="connsiteY15" fmla="*/ 129540 h 952500"/>
                    <a:gd name="connsiteX16" fmla="*/ 1508760 w 1706880"/>
                    <a:gd name="connsiteY16" fmla="*/ 53340 h 952500"/>
                    <a:gd name="connsiteX17" fmla="*/ 1341120 w 1706880"/>
                    <a:gd name="connsiteY17" fmla="*/ 0 h 952500"/>
                    <a:gd name="connsiteX0" fmla="*/ 1341120 w 1706880"/>
                    <a:gd name="connsiteY0" fmla="*/ 0 h 952500"/>
                    <a:gd name="connsiteX1" fmla="*/ 723424 w 1706880"/>
                    <a:gd name="connsiteY1" fmla="*/ 220504 h 952500"/>
                    <a:gd name="connsiteX2" fmla="*/ 628174 w 1706880"/>
                    <a:gd name="connsiteY2" fmla="*/ 256223 h 952500"/>
                    <a:gd name="connsiteX3" fmla="*/ 547211 w 1706880"/>
                    <a:gd name="connsiteY3" fmla="*/ 291941 h 952500"/>
                    <a:gd name="connsiteX4" fmla="*/ 461486 w 1706880"/>
                    <a:gd name="connsiteY4" fmla="*/ 327660 h 952500"/>
                    <a:gd name="connsiteX5" fmla="*/ 399574 w 1706880"/>
                    <a:gd name="connsiteY5" fmla="*/ 349091 h 952500"/>
                    <a:gd name="connsiteX6" fmla="*/ 237649 w 1706880"/>
                    <a:gd name="connsiteY6" fmla="*/ 411004 h 952500"/>
                    <a:gd name="connsiteX7" fmla="*/ 48577 w 1706880"/>
                    <a:gd name="connsiteY7" fmla="*/ 480536 h 952500"/>
                    <a:gd name="connsiteX8" fmla="*/ 0 w 1706880"/>
                    <a:gd name="connsiteY8" fmla="*/ 609600 h 952500"/>
                    <a:gd name="connsiteX9" fmla="*/ 129540 w 1706880"/>
                    <a:gd name="connsiteY9" fmla="*/ 830580 h 952500"/>
                    <a:gd name="connsiteX10" fmla="*/ 320040 w 1706880"/>
                    <a:gd name="connsiteY10" fmla="*/ 952500 h 952500"/>
                    <a:gd name="connsiteX11" fmla="*/ 800100 w 1706880"/>
                    <a:gd name="connsiteY11" fmla="*/ 937260 h 952500"/>
                    <a:gd name="connsiteX12" fmla="*/ 1455420 w 1706880"/>
                    <a:gd name="connsiteY12" fmla="*/ 548640 h 952500"/>
                    <a:gd name="connsiteX13" fmla="*/ 1524000 w 1706880"/>
                    <a:gd name="connsiteY13" fmla="*/ 495300 h 952500"/>
                    <a:gd name="connsiteX14" fmla="*/ 1691640 w 1706880"/>
                    <a:gd name="connsiteY14" fmla="*/ 388620 h 952500"/>
                    <a:gd name="connsiteX15" fmla="*/ 1706880 w 1706880"/>
                    <a:gd name="connsiteY15" fmla="*/ 259080 h 952500"/>
                    <a:gd name="connsiteX16" fmla="*/ 1645920 w 1706880"/>
                    <a:gd name="connsiteY16" fmla="*/ 129540 h 952500"/>
                    <a:gd name="connsiteX17" fmla="*/ 1508760 w 1706880"/>
                    <a:gd name="connsiteY17" fmla="*/ 53340 h 952500"/>
                    <a:gd name="connsiteX18" fmla="*/ 1341120 w 1706880"/>
                    <a:gd name="connsiteY18" fmla="*/ 0 h 952500"/>
                    <a:gd name="connsiteX0" fmla="*/ 1341120 w 1706880"/>
                    <a:gd name="connsiteY0" fmla="*/ 0 h 952500"/>
                    <a:gd name="connsiteX1" fmla="*/ 859155 w 1706880"/>
                    <a:gd name="connsiteY1" fmla="*/ 172879 h 952500"/>
                    <a:gd name="connsiteX2" fmla="*/ 723424 w 1706880"/>
                    <a:gd name="connsiteY2" fmla="*/ 220504 h 952500"/>
                    <a:gd name="connsiteX3" fmla="*/ 628174 w 1706880"/>
                    <a:gd name="connsiteY3" fmla="*/ 256223 h 952500"/>
                    <a:gd name="connsiteX4" fmla="*/ 547211 w 1706880"/>
                    <a:gd name="connsiteY4" fmla="*/ 291941 h 952500"/>
                    <a:gd name="connsiteX5" fmla="*/ 461486 w 1706880"/>
                    <a:gd name="connsiteY5" fmla="*/ 327660 h 952500"/>
                    <a:gd name="connsiteX6" fmla="*/ 399574 w 1706880"/>
                    <a:gd name="connsiteY6" fmla="*/ 349091 h 952500"/>
                    <a:gd name="connsiteX7" fmla="*/ 237649 w 1706880"/>
                    <a:gd name="connsiteY7" fmla="*/ 411004 h 952500"/>
                    <a:gd name="connsiteX8" fmla="*/ 48577 w 1706880"/>
                    <a:gd name="connsiteY8" fmla="*/ 480536 h 952500"/>
                    <a:gd name="connsiteX9" fmla="*/ 0 w 1706880"/>
                    <a:gd name="connsiteY9" fmla="*/ 609600 h 952500"/>
                    <a:gd name="connsiteX10" fmla="*/ 129540 w 1706880"/>
                    <a:gd name="connsiteY10" fmla="*/ 830580 h 952500"/>
                    <a:gd name="connsiteX11" fmla="*/ 320040 w 1706880"/>
                    <a:gd name="connsiteY11" fmla="*/ 952500 h 952500"/>
                    <a:gd name="connsiteX12" fmla="*/ 800100 w 1706880"/>
                    <a:gd name="connsiteY12" fmla="*/ 937260 h 952500"/>
                    <a:gd name="connsiteX13" fmla="*/ 1455420 w 1706880"/>
                    <a:gd name="connsiteY13" fmla="*/ 548640 h 952500"/>
                    <a:gd name="connsiteX14" fmla="*/ 1524000 w 1706880"/>
                    <a:gd name="connsiteY14" fmla="*/ 495300 h 952500"/>
                    <a:gd name="connsiteX15" fmla="*/ 1691640 w 1706880"/>
                    <a:gd name="connsiteY15" fmla="*/ 388620 h 952500"/>
                    <a:gd name="connsiteX16" fmla="*/ 1706880 w 1706880"/>
                    <a:gd name="connsiteY16" fmla="*/ 259080 h 952500"/>
                    <a:gd name="connsiteX17" fmla="*/ 1645920 w 1706880"/>
                    <a:gd name="connsiteY17" fmla="*/ 129540 h 952500"/>
                    <a:gd name="connsiteX18" fmla="*/ 1508760 w 1706880"/>
                    <a:gd name="connsiteY18" fmla="*/ 53340 h 952500"/>
                    <a:gd name="connsiteX19" fmla="*/ 1341120 w 1706880"/>
                    <a:gd name="connsiteY19" fmla="*/ 0 h 952500"/>
                    <a:gd name="connsiteX0" fmla="*/ 1341120 w 1706880"/>
                    <a:gd name="connsiteY0" fmla="*/ 0 h 952500"/>
                    <a:gd name="connsiteX1" fmla="*/ 973455 w 1706880"/>
                    <a:gd name="connsiteY1" fmla="*/ 132398 h 952500"/>
                    <a:gd name="connsiteX2" fmla="*/ 859155 w 1706880"/>
                    <a:gd name="connsiteY2" fmla="*/ 172879 h 952500"/>
                    <a:gd name="connsiteX3" fmla="*/ 723424 w 1706880"/>
                    <a:gd name="connsiteY3" fmla="*/ 220504 h 952500"/>
                    <a:gd name="connsiteX4" fmla="*/ 628174 w 1706880"/>
                    <a:gd name="connsiteY4" fmla="*/ 256223 h 952500"/>
                    <a:gd name="connsiteX5" fmla="*/ 547211 w 1706880"/>
                    <a:gd name="connsiteY5" fmla="*/ 291941 h 952500"/>
                    <a:gd name="connsiteX6" fmla="*/ 461486 w 1706880"/>
                    <a:gd name="connsiteY6" fmla="*/ 327660 h 952500"/>
                    <a:gd name="connsiteX7" fmla="*/ 399574 w 1706880"/>
                    <a:gd name="connsiteY7" fmla="*/ 349091 h 952500"/>
                    <a:gd name="connsiteX8" fmla="*/ 237649 w 1706880"/>
                    <a:gd name="connsiteY8" fmla="*/ 411004 h 952500"/>
                    <a:gd name="connsiteX9" fmla="*/ 48577 w 1706880"/>
                    <a:gd name="connsiteY9" fmla="*/ 480536 h 952500"/>
                    <a:gd name="connsiteX10" fmla="*/ 0 w 1706880"/>
                    <a:gd name="connsiteY10" fmla="*/ 609600 h 952500"/>
                    <a:gd name="connsiteX11" fmla="*/ 129540 w 1706880"/>
                    <a:gd name="connsiteY11" fmla="*/ 830580 h 952500"/>
                    <a:gd name="connsiteX12" fmla="*/ 320040 w 1706880"/>
                    <a:gd name="connsiteY12" fmla="*/ 952500 h 952500"/>
                    <a:gd name="connsiteX13" fmla="*/ 800100 w 1706880"/>
                    <a:gd name="connsiteY13" fmla="*/ 937260 h 952500"/>
                    <a:gd name="connsiteX14" fmla="*/ 1455420 w 1706880"/>
                    <a:gd name="connsiteY14" fmla="*/ 548640 h 952500"/>
                    <a:gd name="connsiteX15" fmla="*/ 1524000 w 1706880"/>
                    <a:gd name="connsiteY15" fmla="*/ 495300 h 952500"/>
                    <a:gd name="connsiteX16" fmla="*/ 1691640 w 1706880"/>
                    <a:gd name="connsiteY16" fmla="*/ 388620 h 952500"/>
                    <a:gd name="connsiteX17" fmla="*/ 1706880 w 1706880"/>
                    <a:gd name="connsiteY17" fmla="*/ 259080 h 952500"/>
                    <a:gd name="connsiteX18" fmla="*/ 1645920 w 1706880"/>
                    <a:gd name="connsiteY18" fmla="*/ 129540 h 952500"/>
                    <a:gd name="connsiteX19" fmla="*/ 1508760 w 1706880"/>
                    <a:gd name="connsiteY19" fmla="*/ 53340 h 952500"/>
                    <a:gd name="connsiteX20" fmla="*/ 1341120 w 1706880"/>
                    <a:gd name="connsiteY20" fmla="*/ 0 h 952500"/>
                    <a:gd name="connsiteX0" fmla="*/ 1341120 w 1706880"/>
                    <a:gd name="connsiteY0" fmla="*/ 0 h 952500"/>
                    <a:gd name="connsiteX1" fmla="*/ 1130618 w 1706880"/>
                    <a:gd name="connsiteY1" fmla="*/ 75248 h 952500"/>
                    <a:gd name="connsiteX2" fmla="*/ 973455 w 1706880"/>
                    <a:gd name="connsiteY2" fmla="*/ 132398 h 952500"/>
                    <a:gd name="connsiteX3" fmla="*/ 859155 w 1706880"/>
                    <a:gd name="connsiteY3" fmla="*/ 172879 h 952500"/>
                    <a:gd name="connsiteX4" fmla="*/ 723424 w 1706880"/>
                    <a:gd name="connsiteY4" fmla="*/ 220504 h 952500"/>
                    <a:gd name="connsiteX5" fmla="*/ 628174 w 1706880"/>
                    <a:gd name="connsiteY5" fmla="*/ 256223 h 952500"/>
                    <a:gd name="connsiteX6" fmla="*/ 547211 w 1706880"/>
                    <a:gd name="connsiteY6" fmla="*/ 291941 h 952500"/>
                    <a:gd name="connsiteX7" fmla="*/ 461486 w 1706880"/>
                    <a:gd name="connsiteY7" fmla="*/ 327660 h 952500"/>
                    <a:gd name="connsiteX8" fmla="*/ 399574 w 1706880"/>
                    <a:gd name="connsiteY8" fmla="*/ 349091 h 952500"/>
                    <a:gd name="connsiteX9" fmla="*/ 237649 w 1706880"/>
                    <a:gd name="connsiteY9" fmla="*/ 411004 h 952500"/>
                    <a:gd name="connsiteX10" fmla="*/ 48577 w 1706880"/>
                    <a:gd name="connsiteY10" fmla="*/ 480536 h 952500"/>
                    <a:gd name="connsiteX11" fmla="*/ 0 w 1706880"/>
                    <a:gd name="connsiteY11" fmla="*/ 609600 h 952500"/>
                    <a:gd name="connsiteX12" fmla="*/ 129540 w 1706880"/>
                    <a:gd name="connsiteY12" fmla="*/ 830580 h 952500"/>
                    <a:gd name="connsiteX13" fmla="*/ 320040 w 1706880"/>
                    <a:gd name="connsiteY13" fmla="*/ 952500 h 952500"/>
                    <a:gd name="connsiteX14" fmla="*/ 800100 w 1706880"/>
                    <a:gd name="connsiteY14" fmla="*/ 937260 h 952500"/>
                    <a:gd name="connsiteX15" fmla="*/ 1455420 w 1706880"/>
                    <a:gd name="connsiteY15" fmla="*/ 548640 h 952500"/>
                    <a:gd name="connsiteX16" fmla="*/ 1524000 w 1706880"/>
                    <a:gd name="connsiteY16" fmla="*/ 495300 h 952500"/>
                    <a:gd name="connsiteX17" fmla="*/ 1691640 w 1706880"/>
                    <a:gd name="connsiteY17" fmla="*/ 388620 h 952500"/>
                    <a:gd name="connsiteX18" fmla="*/ 1706880 w 1706880"/>
                    <a:gd name="connsiteY18" fmla="*/ 259080 h 952500"/>
                    <a:gd name="connsiteX19" fmla="*/ 1645920 w 1706880"/>
                    <a:gd name="connsiteY19" fmla="*/ 129540 h 952500"/>
                    <a:gd name="connsiteX20" fmla="*/ 1508760 w 1706880"/>
                    <a:gd name="connsiteY20" fmla="*/ 53340 h 952500"/>
                    <a:gd name="connsiteX21" fmla="*/ 1341120 w 1706880"/>
                    <a:gd name="connsiteY21" fmla="*/ 0 h 952500"/>
                    <a:gd name="connsiteX0" fmla="*/ 1283970 w 1706880"/>
                    <a:gd name="connsiteY0" fmla="*/ 37148 h 899160"/>
                    <a:gd name="connsiteX1" fmla="*/ 1130618 w 1706880"/>
                    <a:gd name="connsiteY1" fmla="*/ 21908 h 899160"/>
                    <a:gd name="connsiteX2" fmla="*/ 973455 w 1706880"/>
                    <a:gd name="connsiteY2" fmla="*/ 79058 h 899160"/>
                    <a:gd name="connsiteX3" fmla="*/ 859155 w 1706880"/>
                    <a:gd name="connsiteY3" fmla="*/ 119539 h 899160"/>
                    <a:gd name="connsiteX4" fmla="*/ 723424 w 1706880"/>
                    <a:gd name="connsiteY4" fmla="*/ 167164 h 899160"/>
                    <a:gd name="connsiteX5" fmla="*/ 628174 w 1706880"/>
                    <a:gd name="connsiteY5" fmla="*/ 202883 h 899160"/>
                    <a:gd name="connsiteX6" fmla="*/ 547211 w 1706880"/>
                    <a:gd name="connsiteY6" fmla="*/ 238601 h 899160"/>
                    <a:gd name="connsiteX7" fmla="*/ 461486 w 1706880"/>
                    <a:gd name="connsiteY7" fmla="*/ 274320 h 899160"/>
                    <a:gd name="connsiteX8" fmla="*/ 399574 w 1706880"/>
                    <a:gd name="connsiteY8" fmla="*/ 295751 h 899160"/>
                    <a:gd name="connsiteX9" fmla="*/ 237649 w 1706880"/>
                    <a:gd name="connsiteY9" fmla="*/ 357664 h 899160"/>
                    <a:gd name="connsiteX10" fmla="*/ 48577 w 1706880"/>
                    <a:gd name="connsiteY10" fmla="*/ 427196 h 899160"/>
                    <a:gd name="connsiteX11" fmla="*/ 0 w 1706880"/>
                    <a:gd name="connsiteY11" fmla="*/ 556260 h 899160"/>
                    <a:gd name="connsiteX12" fmla="*/ 129540 w 1706880"/>
                    <a:gd name="connsiteY12" fmla="*/ 777240 h 899160"/>
                    <a:gd name="connsiteX13" fmla="*/ 320040 w 1706880"/>
                    <a:gd name="connsiteY13" fmla="*/ 899160 h 899160"/>
                    <a:gd name="connsiteX14" fmla="*/ 800100 w 1706880"/>
                    <a:gd name="connsiteY14" fmla="*/ 883920 h 899160"/>
                    <a:gd name="connsiteX15" fmla="*/ 1455420 w 1706880"/>
                    <a:gd name="connsiteY15" fmla="*/ 495300 h 899160"/>
                    <a:gd name="connsiteX16" fmla="*/ 1524000 w 1706880"/>
                    <a:gd name="connsiteY16" fmla="*/ 441960 h 899160"/>
                    <a:gd name="connsiteX17" fmla="*/ 1691640 w 1706880"/>
                    <a:gd name="connsiteY17" fmla="*/ 335280 h 899160"/>
                    <a:gd name="connsiteX18" fmla="*/ 1706880 w 1706880"/>
                    <a:gd name="connsiteY18" fmla="*/ 205740 h 899160"/>
                    <a:gd name="connsiteX19" fmla="*/ 1645920 w 1706880"/>
                    <a:gd name="connsiteY19" fmla="*/ 76200 h 899160"/>
                    <a:gd name="connsiteX20" fmla="*/ 1508760 w 1706880"/>
                    <a:gd name="connsiteY20" fmla="*/ 0 h 899160"/>
                    <a:gd name="connsiteX21" fmla="*/ 1283970 w 1706880"/>
                    <a:gd name="connsiteY21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973455 w 1706880"/>
                    <a:gd name="connsiteY2" fmla="*/ 79058 h 899160"/>
                    <a:gd name="connsiteX3" fmla="*/ 859155 w 1706880"/>
                    <a:gd name="connsiteY3" fmla="*/ 119539 h 899160"/>
                    <a:gd name="connsiteX4" fmla="*/ 723424 w 1706880"/>
                    <a:gd name="connsiteY4" fmla="*/ 167164 h 899160"/>
                    <a:gd name="connsiteX5" fmla="*/ 628174 w 1706880"/>
                    <a:gd name="connsiteY5" fmla="*/ 202883 h 899160"/>
                    <a:gd name="connsiteX6" fmla="*/ 547211 w 1706880"/>
                    <a:gd name="connsiteY6" fmla="*/ 238601 h 899160"/>
                    <a:gd name="connsiteX7" fmla="*/ 461486 w 1706880"/>
                    <a:gd name="connsiteY7" fmla="*/ 274320 h 899160"/>
                    <a:gd name="connsiteX8" fmla="*/ 399574 w 1706880"/>
                    <a:gd name="connsiteY8" fmla="*/ 295751 h 899160"/>
                    <a:gd name="connsiteX9" fmla="*/ 237649 w 1706880"/>
                    <a:gd name="connsiteY9" fmla="*/ 357664 h 899160"/>
                    <a:gd name="connsiteX10" fmla="*/ 48577 w 1706880"/>
                    <a:gd name="connsiteY10" fmla="*/ 427196 h 899160"/>
                    <a:gd name="connsiteX11" fmla="*/ 0 w 1706880"/>
                    <a:gd name="connsiteY11" fmla="*/ 556260 h 899160"/>
                    <a:gd name="connsiteX12" fmla="*/ 129540 w 1706880"/>
                    <a:gd name="connsiteY12" fmla="*/ 777240 h 899160"/>
                    <a:gd name="connsiteX13" fmla="*/ 320040 w 1706880"/>
                    <a:gd name="connsiteY13" fmla="*/ 899160 h 899160"/>
                    <a:gd name="connsiteX14" fmla="*/ 800100 w 1706880"/>
                    <a:gd name="connsiteY14" fmla="*/ 883920 h 899160"/>
                    <a:gd name="connsiteX15" fmla="*/ 1455420 w 1706880"/>
                    <a:gd name="connsiteY15" fmla="*/ 495300 h 899160"/>
                    <a:gd name="connsiteX16" fmla="*/ 1524000 w 1706880"/>
                    <a:gd name="connsiteY16" fmla="*/ 441960 h 899160"/>
                    <a:gd name="connsiteX17" fmla="*/ 1691640 w 1706880"/>
                    <a:gd name="connsiteY17" fmla="*/ 335280 h 899160"/>
                    <a:gd name="connsiteX18" fmla="*/ 1706880 w 1706880"/>
                    <a:gd name="connsiteY18" fmla="*/ 205740 h 899160"/>
                    <a:gd name="connsiteX19" fmla="*/ 1645920 w 1706880"/>
                    <a:gd name="connsiteY19" fmla="*/ 76200 h 899160"/>
                    <a:gd name="connsiteX20" fmla="*/ 1508760 w 1706880"/>
                    <a:gd name="connsiteY20" fmla="*/ 0 h 899160"/>
                    <a:gd name="connsiteX21" fmla="*/ 1283970 w 1706880"/>
                    <a:gd name="connsiteY21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859155 w 1706880"/>
                    <a:gd name="connsiteY3" fmla="*/ 119539 h 899160"/>
                    <a:gd name="connsiteX4" fmla="*/ 723424 w 1706880"/>
                    <a:gd name="connsiteY4" fmla="*/ 167164 h 899160"/>
                    <a:gd name="connsiteX5" fmla="*/ 628174 w 1706880"/>
                    <a:gd name="connsiteY5" fmla="*/ 202883 h 899160"/>
                    <a:gd name="connsiteX6" fmla="*/ 547211 w 1706880"/>
                    <a:gd name="connsiteY6" fmla="*/ 238601 h 899160"/>
                    <a:gd name="connsiteX7" fmla="*/ 461486 w 1706880"/>
                    <a:gd name="connsiteY7" fmla="*/ 274320 h 899160"/>
                    <a:gd name="connsiteX8" fmla="*/ 399574 w 1706880"/>
                    <a:gd name="connsiteY8" fmla="*/ 295751 h 899160"/>
                    <a:gd name="connsiteX9" fmla="*/ 237649 w 1706880"/>
                    <a:gd name="connsiteY9" fmla="*/ 357664 h 899160"/>
                    <a:gd name="connsiteX10" fmla="*/ 48577 w 1706880"/>
                    <a:gd name="connsiteY10" fmla="*/ 427196 h 899160"/>
                    <a:gd name="connsiteX11" fmla="*/ 0 w 1706880"/>
                    <a:gd name="connsiteY11" fmla="*/ 556260 h 899160"/>
                    <a:gd name="connsiteX12" fmla="*/ 129540 w 1706880"/>
                    <a:gd name="connsiteY12" fmla="*/ 777240 h 899160"/>
                    <a:gd name="connsiteX13" fmla="*/ 320040 w 1706880"/>
                    <a:gd name="connsiteY13" fmla="*/ 899160 h 899160"/>
                    <a:gd name="connsiteX14" fmla="*/ 800100 w 1706880"/>
                    <a:gd name="connsiteY14" fmla="*/ 883920 h 899160"/>
                    <a:gd name="connsiteX15" fmla="*/ 1455420 w 1706880"/>
                    <a:gd name="connsiteY15" fmla="*/ 495300 h 899160"/>
                    <a:gd name="connsiteX16" fmla="*/ 1524000 w 1706880"/>
                    <a:gd name="connsiteY16" fmla="*/ 441960 h 899160"/>
                    <a:gd name="connsiteX17" fmla="*/ 1691640 w 1706880"/>
                    <a:gd name="connsiteY17" fmla="*/ 335280 h 899160"/>
                    <a:gd name="connsiteX18" fmla="*/ 1706880 w 1706880"/>
                    <a:gd name="connsiteY18" fmla="*/ 205740 h 899160"/>
                    <a:gd name="connsiteX19" fmla="*/ 1645920 w 1706880"/>
                    <a:gd name="connsiteY19" fmla="*/ 76200 h 899160"/>
                    <a:gd name="connsiteX20" fmla="*/ 1508760 w 1706880"/>
                    <a:gd name="connsiteY20" fmla="*/ 0 h 899160"/>
                    <a:gd name="connsiteX21" fmla="*/ 1283970 w 1706880"/>
                    <a:gd name="connsiteY21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968693 w 1706880"/>
                    <a:gd name="connsiteY3" fmla="*/ 167164 h 899160"/>
                    <a:gd name="connsiteX4" fmla="*/ 859155 w 1706880"/>
                    <a:gd name="connsiteY4" fmla="*/ 119539 h 899160"/>
                    <a:gd name="connsiteX5" fmla="*/ 723424 w 1706880"/>
                    <a:gd name="connsiteY5" fmla="*/ 167164 h 899160"/>
                    <a:gd name="connsiteX6" fmla="*/ 628174 w 1706880"/>
                    <a:gd name="connsiteY6" fmla="*/ 202883 h 899160"/>
                    <a:gd name="connsiteX7" fmla="*/ 547211 w 1706880"/>
                    <a:gd name="connsiteY7" fmla="*/ 238601 h 899160"/>
                    <a:gd name="connsiteX8" fmla="*/ 461486 w 1706880"/>
                    <a:gd name="connsiteY8" fmla="*/ 274320 h 899160"/>
                    <a:gd name="connsiteX9" fmla="*/ 399574 w 1706880"/>
                    <a:gd name="connsiteY9" fmla="*/ 295751 h 899160"/>
                    <a:gd name="connsiteX10" fmla="*/ 237649 w 1706880"/>
                    <a:gd name="connsiteY10" fmla="*/ 357664 h 899160"/>
                    <a:gd name="connsiteX11" fmla="*/ 48577 w 1706880"/>
                    <a:gd name="connsiteY11" fmla="*/ 427196 h 899160"/>
                    <a:gd name="connsiteX12" fmla="*/ 0 w 1706880"/>
                    <a:gd name="connsiteY12" fmla="*/ 556260 h 899160"/>
                    <a:gd name="connsiteX13" fmla="*/ 129540 w 1706880"/>
                    <a:gd name="connsiteY13" fmla="*/ 777240 h 899160"/>
                    <a:gd name="connsiteX14" fmla="*/ 320040 w 1706880"/>
                    <a:gd name="connsiteY14" fmla="*/ 899160 h 899160"/>
                    <a:gd name="connsiteX15" fmla="*/ 800100 w 1706880"/>
                    <a:gd name="connsiteY15" fmla="*/ 883920 h 899160"/>
                    <a:gd name="connsiteX16" fmla="*/ 1455420 w 1706880"/>
                    <a:gd name="connsiteY16" fmla="*/ 495300 h 899160"/>
                    <a:gd name="connsiteX17" fmla="*/ 1524000 w 1706880"/>
                    <a:gd name="connsiteY17" fmla="*/ 441960 h 899160"/>
                    <a:gd name="connsiteX18" fmla="*/ 1691640 w 1706880"/>
                    <a:gd name="connsiteY18" fmla="*/ 335280 h 899160"/>
                    <a:gd name="connsiteX19" fmla="*/ 1706880 w 1706880"/>
                    <a:gd name="connsiteY19" fmla="*/ 205740 h 899160"/>
                    <a:gd name="connsiteX20" fmla="*/ 1645920 w 1706880"/>
                    <a:gd name="connsiteY20" fmla="*/ 76200 h 899160"/>
                    <a:gd name="connsiteX21" fmla="*/ 1508760 w 1706880"/>
                    <a:gd name="connsiteY21" fmla="*/ 0 h 899160"/>
                    <a:gd name="connsiteX22" fmla="*/ 1283970 w 1706880"/>
                    <a:gd name="connsiteY22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859155 w 1706880"/>
                    <a:gd name="connsiteY4" fmla="*/ 119539 h 899160"/>
                    <a:gd name="connsiteX5" fmla="*/ 723424 w 1706880"/>
                    <a:gd name="connsiteY5" fmla="*/ 167164 h 899160"/>
                    <a:gd name="connsiteX6" fmla="*/ 628174 w 1706880"/>
                    <a:gd name="connsiteY6" fmla="*/ 202883 h 899160"/>
                    <a:gd name="connsiteX7" fmla="*/ 547211 w 1706880"/>
                    <a:gd name="connsiteY7" fmla="*/ 238601 h 899160"/>
                    <a:gd name="connsiteX8" fmla="*/ 461486 w 1706880"/>
                    <a:gd name="connsiteY8" fmla="*/ 274320 h 899160"/>
                    <a:gd name="connsiteX9" fmla="*/ 399574 w 1706880"/>
                    <a:gd name="connsiteY9" fmla="*/ 295751 h 899160"/>
                    <a:gd name="connsiteX10" fmla="*/ 237649 w 1706880"/>
                    <a:gd name="connsiteY10" fmla="*/ 357664 h 899160"/>
                    <a:gd name="connsiteX11" fmla="*/ 48577 w 1706880"/>
                    <a:gd name="connsiteY11" fmla="*/ 427196 h 899160"/>
                    <a:gd name="connsiteX12" fmla="*/ 0 w 1706880"/>
                    <a:gd name="connsiteY12" fmla="*/ 556260 h 899160"/>
                    <a:gd name="connsiteX13" fmla="*/ 129540 w 1706880"/>
                    <a:gd name="connsiteY13" fmla="*/ 777240 h 899160"/>
                    <a:gd name="connsiteX14" fmla="*/ 320040 w 1706880"/>
                    <a:gd name="connsiteY14" fmla="*/ 899160 h 899160"/>
                    <a:gd name="connsiteX15" fmla="*/ 800100 w 1706880"/>
                    <a:gd name="connsiteY15" fmla="*/ 883920 h 899160"/>
                    <a:gd name="connsiteX16" fmla="*/ 1455420 w 1706880"/>
                    <a:gd name="connsiteY16" fmla="*/ 495300 h 899160"/>
                    <a:gd name="connsiteX17" fmla="*/ 1524000 w 1706880"/>
                    <a:gd name="connsiteY17" fmla="*/ 441960 h 899160"/>
                    <a:gd name="connsiteX18" fmla="*/ 1691640 w 1706880"/>
                    <a:gd name="connsiteY18" fmla="*/ 335280 h 899160"/>
                    <a:gd name="connsiteX19" fmla="*/ 1706880 w 1706880"/>
                    <a:gd name="connsiteY19" fmla="*/ 205740 h 899160"/>
                    <a:gd name="connsiteX20" fmla="*/ 1645920 w 1706880"/>
                    <a:gd name="connsiteY20" fmla="*/ 76200 h 899160"/>
                    <a:gd name="connsiteX21" fmla="*/ 1508760 w 1706880"/>
                    <a:gd name="connsiteY21" fmla="*/ 0 h 899160"/>
                    <a:gd name="connsiteX22" fmla="*/ 1283970 w 1706880"/>
                    <a:gd name="connsiteY22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35355 w 1706880"/>
                    <a:gd name="connsiteY4" fmla="*/ 179070 h 899160"/>
                    <a:gd name="connsiteX5" fmla="*/ 859155 w 1706880"/>
                    <a:gd name="connsiteY5" fmla="*/ 119539 h 899160"/>
                    <a:gd name="connsiteX6" fmla="*/ 723424 w 1706880"/>
                    <a:gd name="connsiteY6" fmla="*/ 167164 h 899160"/>
                    <a:gd name="connsiteX7" fmla="*/ 628174 w 1706880"/>
                    <a:gd name="connsiteY7" fmla="*/ 202883 h 899160"/>
                    <a:gd name="connsiteX8" fmla="*/ 547211 w 1706880"/>
                    <a:gd name="connsiteY8" fmla="*/ 238601 h 899160"/>
                    <a:gd name="connsiteX9" fmla="*/ 461486 w 1706880"/>
                    <a:gd name="connsiteY9" fmla="*/ 274320 h 899160"/>
                    <a:gd name="connsiteX10" fmla="*/ 399574 w 1706880"/>
                    <a:gd name="connsiteY10" fmla="*/ 295751 h 899160"/>
                    <a:gd name="connsiteX11" fmla="*/ 237649 w 1706880"/>
                    <a:gd name="connsiteY11" fmla="*/ 357664 h 899160"/>
                    <a:gd name="connsiteX12" fmla="*/ 48577 w 1706880"/>
                    <a:gd name="connsiteY12" fmla="*/ 427196 h 899160"/>
                    <a:gd name="connsiteX13" fmla="*/ 0 w 1706880"/>
                    <a:gd name="connsiteY13" fmla="*/ 556260 h 899160"/>
                    <a:gd name="connsiteX14" fmla="*/ 129540 w 1706880"/>
                    <a:gd name="connsiteY14" fmla="*/ 777240 h 899160"/>
                    <a:gd name="connsiteX15" fmla="*/ 320040 w 1706880"/>
                    <a:gd name="connsiteY15" fmla="*/ 899160 h 899160"/>
                    <a:gd name="connsiteX16" fmla="*/ 800100 w 1706880"/>
                    <a:gd name="connsiteY16" fmla="*/ 883920 h 899160"/>
                    <a:gd name="connsiteX17" fmla="*/ 1455420 w 1706880"/>
                    <a:gd name="connsiteY17" fmla="*/ 495300 h 899160"/>
                    <a:gd name="connsiteX18" fmla="*/ 1524000 w 1706880"/>
                    <a:gd name="connsiteY18" fmla="*/ 441960 h 899160"/>
                    <a:gd name="connsiteX19" fmla="*/ 1691640 w 1706880"/>
                    <a:gd name="connsiteY19" fmla="*/ 335280 h 899160"/>
                    <a:gd name="connsiteX20" fmla="*/ 1706880 w 1706880"/>
                    <a:gd name="connsiteY20" fmla="*/ 205740 h 899160"/>
                    <a:gd name="connsiteX21" fmla="*/ 1645920 w 1706880"/>
                    <a:gd name="connsiteY21" fmla="*/ 76200 h 899160"/>
                    <a:gd name="connsiteX22" fmla="*/ 1508760 w 1706880"/>
                    <a:gd name="connsiteY22" fmla="*/ 0 h 899160"/>
                    <a:gd name="connsiteX23" fmla="*/ 1283970 w 1706880"/>
                    <a:gd name="connsiteY23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859155 w 1706880"/>
                    <a:gd name="connsiteY5" fmla="*/ 119539 h 899160"/>
                    <a:gd name="connsiteX6" fmla="*/ 723424 w 1706880"/>
                    <a:gd name="connsiteY6" fmla="*/ 167164 h 899160"/>
                    <a:gd name="connsiteX7" fmla="*/ 628174 w 1706880"/>
                    <a:gd name="connsiteY7" fmla="*/ 202883 h 899160"/>
                    <a:gd name="connsiteX8" fmla="*/ 547211 w 1706880"/>
                    <a:gd name="connsiteY8" fmla="*/ 238601 h 899160"/>
                    <a:gd name="connsiteX9" fmla="*/ 461486 w 1706880"/>
                    <a:gd name="connsiteY9" fmla="*/ 274320 h 899160"/>
                    <a:gd name="connsiteX10" fmla="*/ 399574 w 1706880"/>
                    <a:gd name="connsiteY10" fmla="*/ 295751 h 899160"/>
                    <a:gd name="connsiteX11" fmla="*/ 237649 w 1706880"/>
                    <a:gd name="connsiteY11" fmla="*/ 357664 h 899160"/>
                    <a:gd name="connsiteX12" fmla="*/ 48577 w 1706880"/>
                    <a:gd name="connsiteY12" fmla="*/ 427196 h 899160"/>
                    <a:gd name="connsiteX13" fmla="*/ 0 w 1706880"/>
                    <a:gd name="connsiteY13" fmla="*/ 556260 h 899160"/>
                    <a:gd name="connsiteX14" fmla="*/ 129540 w 1706880"/>
                    <a:gd name="connsiteY14" fmla="*/ 777240 h 899160"/>
                    <a:gd name="connsiteX15" fmla="*/ 320040 w 1706880"/>
                    <a:gd name="connsiteY15" fmla="*/ 899160 h 899160"/>
                    <a:gd name="connsiteX16" fmla="*/ 800100 w 1706880"/>
                    <a:gd name="connsiteY16" fmla="*/ 883920 h 899160"/>
                    <a:gd name="connsiteX17" fmla="*/ 1455420 w 1706880"/>
                    <a:gd name="connsiteY17" fmla="*/ 495300 h 899160"/>
                    <a:gd name="connsiteX18" fmla="*/ 1524000 w 1706880"/>
                    <a:gd name="connsiteY18" fmla="*/ 441960 h 899160"/>
                    <a:gd name="connsiteX19" fmla="*/ 1691640 w 1706880"/>
                    <a:gd name="connsiteY19" fmla="*/ 335280 h 899160"/>
                    <a:gd name="connsiteX20" fmla="*/ 1706880 w 1706880"/>
                    <a:gd name="connsiteY20" fmla="*/ 205740 h 899160"/>
                    <a:gd name="connsiteX21" fmla="*/ 1645920 w 1706880"/>
                    <a:gd name="connsiteY21" fmla="*/ 76200 h 899160"/>
                    <a:gd name="connsiteX22" fmla="*/ 1508760 w 1706880"/>
                    <a:gd name="connsiteY22" fmla="*/ 0 h 899160"/>
                    <a:gd name="connsiteX23" fmla="*/ 1283970 w 1706880"/>
                    <a:gd name="connsiteY23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723424 w 1706880"/>
                    <a:gd name="connsiteY6" fmla="*/ 167164 h 899160"/>
                    <a:gd name="connsiteX7" fmla="*/ 628174 w 1706880"/>
                    <a:gd name="connsiteY7" fmla="*/ 202883 h 899160"/>
                    <a:gd name="connsiteX8" fmla="*/ 547211 w 1706880"/>
                    <a:gd name="connsiteY8" fmla="*/ 238601 h 899160"/>
                    <a:gd name="connsiteX9" fmla="*/ 461486 w 1706880"/>
                    <a:gd name="connsiteY9" fmla="*/ 274320 h 899160"/>
                    <a:gd name="connsiteX10" fmla="*/ 399574 w 1706880"/>
                    <a:gd name="connsiteY10" fmla="*/ 295751 h 899160"/>
                    <a:gd name="connsiteX11" fmla="*/ 237649 w 1706880"/>
                    <a:gd name="connsiteY11" fmla="*/ 357664 h 899160"/>
                    <a:gd name="connsiteX12" fmla="*/ 48577 w 1706880"/>
                    <a:gd name="connsiteY12" fmla="*/ 427196 h 899160"/>
                    <a:gd name="connsiteX13" fmla="*/ 0 w 1706880"/>
                    <a:gd name="connsiteY13" fmla="*/ 556260 h 899160"/>
                    <a:gd name="connsiteX14" fmla="*/ 129540 w 1706880"/>
                    <a:gd name="connsiteY14" fmla="*/ 777240 h 899160"/>
                    <a:gd name="connsiteX15" fmla="*/ 320040 w 1706880"/>
                    <a:gd name="connsiteY15" fmla="*/ 899160 h 899160"/>
                    <a:gd name="connsiteX16" fmla="*/ 800100 w 1706880"/>
                    <a:gd name="connsiteY16" fmla="*/ 883920 h 899160"/>
                    <a:gd name="connsiteX17" fmla="*/ 1455420 w 1706880"/>
                    <a:gd name="connsiteY17" fmla="*/ 495300 h 899160"/>
                    <a:gd name="connsiteX18" fmla="*/ 1524000 w 1706880"/>
                    <a:gd name="connsiteY18" fmla="*/ 441960 h 899160"/>
                    <a:gd name="connsiteX19" fmla="*/ 1691640 w 1706880"/>
                    <a:gd name="connsiteY19" fmla="*/ 335280 h 899160"/>
                    <a:gd name="connsiteX20" fmla="*/ 1706880 w 1706880"/>
                    <a:gd name="connsiteY20" fmla="*/ 205740 h 899160"/>
                    <a:gd name="connsiteX21" fmla="*/ 1645920 w 1706880"/>
                    <a:gd name="connsiteY21" fmla="*/ 76200 h 899160"/>
                    <a:gd name="connsiteX22" fmla="*/ 1508760 w 1706880"/>
                    <a:gd name="connsiteY22" fmla="*/ 0 h 899160"/>
                    <a:gd name="connsiteX23" fmla="*/ 1283970 w 1706880"/>
                    <a:gd name="connsiteY23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3443 w 1706880"/>
                    <a:gd name="connsiteY6" fmla="*/ 131445 h 899160"/>
                    <a:gd name="connsiteX7" fmla="*/ 723424 w 1706880"/>
                    <a:gd name="connsiteY7" fmla="*/ 167164 h 899160"/>
                    <a:gd name="connsiteX8" fmla="*/ 628174 w 1706880"/>
                    <a:gd name="connsiteY8" fmla="*/ 202883 h 899160"/>
                    <a:gd name="connsiteX9" fmla="*/ 547211 w 1706880"/>
                    <a:gd name="connsiteY9" fmla="*/ 238601 h 899160"/>
                    <a:gd name="connsiteX10" fmla="*/ 461486 w 1706880"/>
                    <a:gd name="connsiteY10" fmla="*/ 274320 h 899160"/>
                    <a:gd name="connsiteX11" fmla="*/ 399574 w 1706880"/>
                    <a:gd name="connsiteY11" fmla="*/ 295751 h 899160"/>
                    <a:gd name="connsiteX12" fmla="*/ 237649 w 1706880"/>
                    <a:gd name="connsiteY12" fmla="*/ 357664 h 899160"/>
                    <a:gd name="connsiteX13" fmla="*/ 48577 w 1706880"/>
                    <a:gd name="connsiteY13" fmla="*/ 427196 h 899160"/>
                    <a:gd name="connsiteX14" fmla="*/ 0 w 1706880"/>
                    <a:gd name="connsiteY14" fmla="*/ 556260 h 899160"/>
                    <a:gd name="connsiteX15" fmla="*/ 129540 w 1706880"/>
                    <a:gd name="connsiteY15" fmla="*/ 777240 h 899160"/>
                    <a:gd name="connsiteX16" fmla="*/ 320040 w 1706880"/>
                    <a:gd name="connsiteY16" fmla="*/ 899160 h 899160"/>
                    <a:gd name="connsiteX17" fmla="*/ 800100 w 1706880"/>
                    <a:gd name="connsiteY17" fmla="*/ 883920 h 899160"/>
                    <a:gd name="connsiteX18" fmla="*/ 1455420 w 1706880"/>
                    <a:gd name="connsiteY18" fmla="*/ 495300 h 899160"/>
                    <a:gd name="connsiteX19" fmla="*/ 1524000 w 1706880"/>
                    <a:gd name="connsiteY19" fmla="*/ 441960 h 899160"/>
                    <a:gd name="connsiteX20" fmla="*/ 1691640 w 1706880"/>
                    <a:gd name="connsiteY20" fmla="*/ 335280 h 899160"/>
                    <a:gd name="connsiteX21" fmla="*/ 1706880 w 1706880"/>
                    <a:gd name="connsiteY21" fmla="*/ 205740 h 899160"/>
                    <a:gd name="connsiteX22" fmla="*/ 1645920 w 1706880"/>
                    <a:gd name="connsiteY22" fmla="*/ 76200 h 899160"/>
                    <a:gd name="connsiteX23" fmla="*/ 1508760 w 1706880"/>
                    <a:gd name="connsiteY23" fmla="*/ 0 h 899160"/>
                    <a:gd name="connsiteX24" fmla="*/ 1283970 w 1706880"/>
                    <a:gd name="connsiteY24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723424 w 1706880"/>
                    <a:gd name="connsiteY7" fmla="*/ 167164 h 899160"/>
                    <a:gd name="connsiteX8" fmla="*/ 628174 w 1706880"/>
                    <a:gd name="connsiteY8" fmla="*/ 202883 h 899160"/>
                    <a:gd name="connsiteX9" fmla="*/ 547211 w 1706880"/>
                    <a:gd name="connsiteY9" fmla="*/ 238601 h 899160"/>
                    <a:gd name="connsiteX10" fmla="*/ 461486 w 1706880"/>
                    <a:gd name="connsiteY10" fmla="*/ 274320 h 899160"/>
                    <a:gd name="connsiteX11" fmla="*/ 399574 w 1706880"/>
                    <a:gd name="connsiteY11" fmla="*/ 295751 h 899160"/>
                    <a:gd name="connsiteX12" fmla="*/ 237649 w 1706880"/>
                    <a:gd name="connsiteY12" fmla="*/ 357664 h 899160"/>
                    <a:gd name="connsiteX13" fmla="*/ 48577 w 1706880"/>
                    <a:gd name="connsiteY13" fmla="*/ 427196 h 899160"/>
                    <a:gd name="connsiteX14" fmla="*/ 0 w 1706880"/>
                    <a:gd name="connsiteY14" fmla="*/ 556260 h 899160"/>
                    <a:gd name="connsiteX15" fmla="*/ 129540 w 1706880"/>
                    <a:gd name="connsiteY15" fmla="*/ 777240 h 899160"/>
                    <a:gd name="connsiteX16" fmla="*/ 320040 w 1706880"/>
                    <a:gd name="connsiteY16" fmla="*/ 899160 h 899160"/>
                    <a:gd name="connsiteX17" fmla="*/ 800100 w 1706880"/>
                    <a:gd name="connsiteY17" fmla="*/ 883920 h 899160"/>
                    <a:gd name="connsiteX18" fmla="*/ 1455420 w 1706880"/>
                    <a:gd name="connsiteY18" fmla="*/ 495300 h 899160"/>
                    <a:gd name="connsiteX19" fmla="*/ 1524000 w 1706880"/>
                    <a:gd name="connsiteY19" fmla="*/ 441960 h 899160"/>
                    <a:gd name="connsiteX20" fmla="*/ 1691640 w 1706880"/>
                    <a:gd name="connsiteY20" fmla="*/ 335280 h 899160"/>
                    <a:gd name="connsiteX21" fmla="*/ 1706880 w 1706880"/>
                    <a:gd name="connsiteY21" fmla="*/ 205740 h 899160"/>
                    <a:gd name="connsiteX22" fmla="*/ 1645920 w 1706880"/>
                    <a:gd name="connsiteY22" fmla="*/ 76200 h 899160"/>
                    <a:gd name="connsiteX23" fmla="*/ 1508760 w 1706880"/>
                    <a:gd name="connsiteY23" fmla="*/ 0 h 899160"/>
                    <a:gd name="connsiteX24" fmla="*/ 1283970 w 1706880"/>
                    <a:gd name="connsiteY24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02005 w 1706880"/>
                    <a:gd name="connsiteY7" fmla="*/ 167164 h 899160"/>
                    <a:gd name="connsiteX8" fmla="*/ 723424 w 1706880"/>
                    <a:gd name="connsiteY8" fmla="*/ 167164 h 899160"/>
                    <a:gd name="connsiteX9" fmla="*/ 628174 w 1706880"/>
                    <a:gd name="connsiteY9" fmla="*/ 202883 h 899160"/>
                    <a:gd name="connsiteX10" fmla="*/ 547211 w 1706880"/>
                    <a:gd name="connsiteY10" fmla="*/ 238601 h 899160"/>
                    <a:gd name="connsiteX11" fmla="*/ 461486 w 1706880"/>
                    <a:gd name="connsiteY11" fmla="*/ 274320 h 899160"/>
                    <a:gd name="connsiteX12" fmla="*/ 399574 w 1706880"/>
                    <a:gd name="connsiteY12" fmla="*/ 295751 h 899160"/>
                    <a:gd name="connsiteX13" fmla="*/ 237649 w 1706880"/>
                    <a:gd name="connsiteY13" fmla="*/ 357664 h 899160"/>
                    <a:gd name="connsiteX14" fmla="*/ 48577 w 1706880"/>
                    <a:gd name="connsiteY14" fmla="*/ 427196 h 899160"/>
                    <a:gd name="connsiteX15" fmla="*/ 0 w 1706880"/>
                    <a:gd name="connsiteY15" fmla="*/ 556260 h 899160"/>
                    <a:gd name="connsiteX16" fmla="*/ 129540 w 1706880"/>
                    <a:gd name="connsiteY16" fmla="*/ 777240 h 899160"/>
                    <a:gd name="connsiteX17" fmla="*/ 320040 w 1706880"/>
                    <a:gd name="connsiteY17" fmla="*/ 899160 h 899160"/>
                    <a:gd name="connsiteX18" fmla="*/ 800100 w 1706880"/>
                    <a:gd name="connsiteY18" fmla="*/ 883920 h 899160"/>
                    <a:gd name="connsiteX19" fmla="*/ 1455420 w 1706880"/>
                    <a:gd name="connsiteY19" fmla="*/ 495300 h 899160"/>
                    <a:gd name="connsiteX20" fmla="*/ 1524000 w 1706880"/>
                    <a:gd name="connsiteY20" fmla="*/ 441960 h 899160"/>
                    <a:gd name="connsiteX21" fmla="*/ 1691640 w 1706880"/>
                    <a:gd name="connsiteY21" fmla="*/ 335280 h 899160"/>
                    <a:gd name="connsiteX22" fmla="*/ 1706880 w 1706880"/>
                    <a:gd name="connsiteY22" fmla="*/ 205740 h 899160"/>
                    <a:gd name="connsiteX23" fmla="*/ 1645920 w 1706880"/>
                    <a:gd name="connsiteY23" fmla="*/ 76200 h 899160"/>
                    <a:gd name="connsiteX24" fmla="*/ 1508760 w 1706880"/>
                    <a:gd name="connsiteY24" fmla="*/ 0 h 899160"/>
                    <a:gd name="connsiteX25" fmla="*/ 1283970 w 1706880"/>
                    <a:gd name="connsiteY25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794861 w 1706880"/>
                    <a:gd name="connsiteY7" fmla="*/ 162401 h 899160"/>
                    <a:gd name="connsiteX8" fmla="*/ 723424 w 1706880"/>
                    <a:gd name="connsiteY8" fmla="*/ 167164 h 899160"/>
                    <a:gd name="connsiteX9" fmla="*/ 628174 w 1706880"/>
                    <a:gd name="connsiteY9" fmla="*/ 202883 h 899160"/>
                    <a:gd name="connsiteX10" fmla="*/ 547211 w 1706880"/>
                    <a:gd name="connsiteY10" fmla="*/ 238601 h 899160"/>
                    <a:gd name="connsiteX11" fmla="*/ 461486 w 1706880"/>
                    <a:gd name="connsiteY11" fmla="*/ 274320 h 899160"/>
                    <a:gd name="connsiteX12" fmla="*/ 399574 w 1706880"/>
                    <a:gd name="connsiteY12" fmla="*/ 295751 h 899160"/>
                    <a:gd name="connsiteX13" fmla="*/ 237649 w 1706880"/>
                    <a:gd name="connsiteY13" fmla="*/ 357664 h 899160"/>
                    <a:gd name="connsiteX14" fmla="*/ 48577 w 1706880"/>
                    <a:gd name="connsiteY14" fmla="*/ 427196 h 899160"/>
                    <a:gd name="connsiteX15" fmla="*/ 0 w 1706880"/>
                    <a:gd name="connsiteY15" fmla="*/ 556260 h 899160"/>
                    <a:gd name="connsiteX16" fmla="*/ 129540 w 1706880"/>
                    <a:gd name="connsiteY16" fmla="*/ 777240 h 899160"/>
                    <a:gd name="connsiteX17" fmla="*/ 320040 w 1706880"/>
                    <a:gd name="connsiteY17" fmla="*/ 899160 h 899160"/>
                    <a:gd name="connsiteX18" fmla="*/ 800100 w 1706880"/>
                    <a:gd name="connsiteY18" fmla="*/ 883920 h 899160"/>
                    <a:gd name="connsiteX19" fmla="*/ 1455420 w 1706880"/>
                    <a:gd name="connsiteY19" fmla="*/ 495300 h 899160"/>
                    <a:gd name="connsiteX20" fmla="*/ 1524000 w 1706880"/>
                    <a:gd name="connsiteY20" fmla="*/ 441960 h 899160"/>
                    <a:gd name="connsiteX21" fmla="*/ 1691640 w 1706880"/>
                    <a:gd name="connsiteY21" fmla="*/ 335280 h 899160"/>
                    <a:gd name="connsiteX22" fmla="*/ 1706880 w 1706880"/>
                    <a:gd name="connsiteY22" fmla="*/ 205740 h 899160"/>
                    <a:gd name="connsiteX23" fmla="*/ 1645920 w 1706880"/>
                    <a:gd name="connsiteY23" fmla="*/ 76200 h 899160"/>
                    <a:gd name="connsiteX24" fmla="*/ 1508760 w 1706880"/>
                    <a:gd name="connsiteY24" fmla="*/ 0 h 899160"/>
                    <a:gd name="connsiteX25" fmla="*/ 1283970 w 1706880"/>
                    <a:gd name="connsiteY25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54393 w 1706880"/>
                    <a:gd name="connsiteY7" fmla="*/ 164783 h 899160"/>
                    <a:gd name="connsiteX8" fmla="*/ 794861 w 1706880"/>
                    <a:gd name="connsiteY8" fmla="*/ 162401 h 899160"/>
                    <a:gd name="connsiteX9" fmla="*/ 723424 w 1706880"/>
                    <a:gd name="connsiteY9" fmla="*/ 167164 h 899160"/>
                    <a:gd name="connsiteX10" fmla="*/ 628174 w 1706880"/>
                    <a:gd name="connsiteY10" fmla="*/ 202883 h 899160"/>
                    <a:gd name="connsiteX11" fmla="*/ 547211 w 1706880"/>
                    <a:gd name="connsiteY11" fmla="*/ 238601 h 899160"/>
                    <a:gd name="connsiteX12" fmla="*/ 461486 w 1706880"/>
                    <a:gd name="connsiteY12" fmla="*/ 274320 h 899160"/>
                    <a:gd name="connsiteX13" fmla="*/ 399574 w 1706880"/>
                    <a:gd name="connsiteY13" fmla="*/ 295751 h 899160"/>
                    <a:gd name="connsiteX14" fmla="*/ 237649 w 1706880"/>
                    <a:gd name="connsiteY14" fmla="*/ 357664 h 899160"/>
                    <a:gd name="connsiteX15" fmla="*/ 48577 w 1706880"/>
                    <a:gd name="connsiteY15" fmla="*/ 427196 h 899160"/>
                    <a:gd name="connsiteX16" fmla="*/ 0 w 1706880"/>
                    <a:gd name="connsiteY16" fmla="*/ 556260 h 899160"/>
                    <a:gd name="connsiteX17" fmla="*/ 129540 w 1706880"/>
                    <a:gd name="connsiteY17" fmla="*/ 777240 h 899160"/>
                    <a:gd name="connsiteX18" fmla="*/ 320040 w 1706880"/>
                    <a:gd name="connsiteY18" fmla="*/ 899160 h 899160"/>
                    <a:gd name="connsiteX19" fmla="*/ 800100 w 1706880"/>
                    <a:gd name="connsiteY19" fmla="*/ 883920 h 899160"/>
                    <a:gd name="connsiteX20" fmla="*/ 1455420 w 1706880"/>
                    <a:gd name="connsiteY20" fmla="*/ 495300 h 899160"/>
                    <a:gd name="connsiteX21" fmla="*/ 1524000 w 1706880"/>
                    <a:gd name="connsiteY21" fmla="*/ 441960 h 899160"/>
                    <a:gd name="connsiteX22" fmla="*/ 1691640 w 1706880"/>
                    <a:gd name="connsiteY22" fmla="*/ 335280 h 899160"/>
                    <a:gd name="connsiteX23" fmla="*/ 1706880 w 1706880"/>
                    <a:gd name="connsiteY23" fmla="*/ 205740 h 899160"/>
                    <a:gd name="connsiteX24" fmla="*/ 1645920 w 1706880"/>
                    <a:gd name="connsiteY24" fmla="*/ 76200 h 899160"/>
                    <a:gd name="connsiteX25" fmla="*/ 1508760 w 1706880"/>
                    <a:gd name="connsiteY25" fmla="*/ 0 h 899160"/>
                    <a:gd name="connsiteX26" fmla="*/ 1283970 w 1706880"/>
                    <a:gd name="connsiteY26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16293 w 1706880"/>
                    <a:gd name="connsiteY7" fmla="*/ 212408 h 899160"/>
                    <a:gd name="connsiteX8" fmla="*/ 794861 w 1706880"/>
                    <a:gd name="connsiteY8" fmla="*/ 162401 h 899160"/>
                    <a:gd name="connsiteX9" fmla="*/ 723424 w 1706880"/>
                    <a:gd name="connsiteY9" fmla="*/ 167164 h 899160"/>
                    <a:gd name="connsiteX10" fmla="*/ 628174 w 1706880"/>
                    <a:gd name="connsiteY10" fmla="*/ 202883 h 899160"/>
                    <a:gd name="connsiteX11" fmla="*/ 547211 w 1706880"/>
                    <a:gd name="connsiteY11" fmla="*/ 238601 h 899160"/>
                    <a:gd name="connsiteX12" fmla="*/ 461486 w 1706880"/>
                    <a:gd name="connsiteY12" fmla="*/ 274320 h 899160"/>
                    <a:gd name="connsiteX13" fmla="*/ 399574 w 1706880"/>
                    <a:gd name="connsiteY13" fmla="*/ 295751 h 899160"/>
                    <a:gd name="connsiteX14" fmla="*/ 237649 w 1706880"/>
                    <a:gd name="connsiteY14" fmla="*/ 357664 h 899160"/>
                    <a:gd name="connsiteX15" fmla="*/ 48577 w 1706880"/>
                    <a:gd name="connsiteY15" fmla="*/ 427196 h 899160"/>
                    <a:gd name="connsiteX16" fmla="*/ 0 w 1706880"/>
                    <a:gd name="connsiteY16" fmla="*/ 556260 h 899160"/>
                    <a:gd name="connsiteX17" fmla="*/ 129540 w 1706880"/>
                    <a:gd name="connsiteY17" fmla="*/ 777240 h 899160"/>
                    <a:gd name="connsiteX18" fmla="*/ 320040 w 1706880"/>
                    <a:gd name="connsiteY18" fmla="*/ 899160 h 899160"/>
                    <a:gd name="connsiteX19" fmla="*/ 800100 w 1706880"/>
                    <a:gd name="connsiteY19" fmla="*/ 883920 h 899160"/>
                    <a:gd name="connsiteX20" fmla="*/ 1455420 w 1706880"/>
                    <a:gd name="connsiteY20" fmla="*/ 495300 h 899160"/>
                    <a:gd name="connsiteX21" fmla="*/ 1524000 w 1706880"/>
                    <a:gd name="connsiteY21" fmla="*/ 441960 h 899160"/>
                    <a:gd name="connsiteX22" fmla="*/ 1691640 w 1706880"/>
                    <a:gd name="connsiteY22" fmla="*/ 335280 h 899160"/>
                    <a:gd name="connsiteX23" fmla="*/ 1706880 w 1706880"/>
                    <a:gd name="connsiteY23" fmla="*/ 205740 h 899160"/>
                    <a:gd name="connsiteX24" fmla="*/ 1645920 w 1706880"/>
                    <a:gd name="connsiteY24" fmla="*/ 76200 h 899160"/>
                    <a:gd name="connsiteX25" fmla="*/ 1508760 w 1706880"/>
                    <a:gd name="connsiteY25" fmla="*/ 0 h 899160"/>
                    <a:gd name="connsiteX26" fmla="*/ 1283970 w 1706880"/>
                    <a:gd name="connsiteY26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63918 w 1706880"/>
                    <a:gd name="connsiteY7" fmla="*/ 17907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23424 w 1706880"/>
                    <a:gd name="connsiteY10" fmla="*/ 167164 h 899160"/>
                    <a:gd name="connsiteX11" fmla="*/ 628174 w 1706880"/>
                    <a:gd name="connsiteY11" fmla="*/ 202883 h 899160"/>
                    <a:gd name="connsiteX12" fmla="*/ 547211 w 1706880"/>
                    <a:gd name="connsiteY12" fmla="*/ 238601 h 899160"/>
                    <a:gd name="connsiteX13" fmla="*/ 461486 w 1706880"/>
                    <a:gd name="connsiteY13" fmla="*/ 274320 h 899160"/>
                    <a:gd name="connsiteX14" fmla="*/ 399574 w 1706880"/>
                    <a:gd name="connsiteY14" fmla="*/ 295751 h 899160"/>
                    <a:gd name="connsiteX15" fmla="*/ 237649 w 1706880"/>
                    <a:gd name="connsiteY15" fmla="*/ 357664 h 899160"/>
                    <a:gd name="connsiteX16" fmla="*/ 48577 w 1706880"/>
                    <a:gd name="connsiteY16" fmla="*/ 427196 h 899160"/>
                    <a:gd name="connsiteX17" fmla="*/ 0 w 1706880"/>
                    <a:gd name="connsiteY17" fmla="*/ 556260 h 899160"/>
                    <a:gd name="connsiteX18" fmla="*/ 129540 w 1706880"/>
                    <a:gd name="connsiteY18" fmla="*/ 777240 h 899160"/>
                    <a:gd name="connsiteX19" fmla="*/ 320040 w 1706880"/>
                    <a:gd name="connsiteY19" fmla="*/ 899160 h 899160"/>
                    <a:gd name="connsiteX20" fmla="*/ 800100 w 1706880"/>
                    <a:gd name="connsiteY20" fmla="*/ 883920 h 899160"/>
                    <a:gd name="connsiteX21" fmla="*/ 1455420 w 1706880"/>
                    <a:gd name="connsiteY21" fmla="*/ 495300 h 899160"/>
                    <a:gd name="connsiteX22" fmla="*/ 1524000 w 1706880"/>
                    <a:gd name="connsiteY22" fmla="*/ 441960 h 899160"/>
                    <a:gd name="connsiteX23" fmla="*/ 1691640 w 1706880"/>
                    <a:gd name="connsiteY23" fmla="*/ 335280 h 899160"/>
                    <a:gd name="connsiteX24" fmla="*/ 1706880 w 1706880"/>
                    <a:gd name="connsiteY24" fmla="*/ 205740 h 899160"/>
                    <a:gd name="connsiteX25" fmla="*/ 1645920 w 1706880"/>
                    <a:gd name="connsiteY25" fmla="*/ 76200 h 899160"/>
                    <a:gd name="connsiteX26" fmla="*/ 1508760 w 1706880"/>
                    <a:gd name="connsiteY26" fmla="*/ 0 h 899160"/>
                    <a:gd name="connsiteX27" fmla="*/ 1283970 w 1706880"/>
                    <a:gd name="connsiteY27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23424 w 1706880"/>
                    <a:gd name="connsiteY10" fmla="*/ 167164 h 899160"/>
                    <a:gd name="connsiteX11" fmla="*/ 628174 w 1706880"/>
                    <a:gd name="connsiteY11" fmla="*/ 202883 h 899160"/>
                    <a:gd name="connsiteX12" fmla="*/ 547211 w 1706880"/>
                    <a:gd name="connsiteY12" fmla="*/ 238601 h 899160"/>
                    <a:gd name="connsiteX13" fmla="*/ 461486 w 1706880"/>
                    <a:gd name="connsiteY13" fmla="*/ 274320 h 899160"/>
                    <a:gd name="connsiteX14" fmla="*/ 399574 w 1706880"/>
                    <a:gd name="connsiteY14" fmla="*/ 295751 h 899160"/>
                    <a:gd name="connsiteX15" fmla="*/ 237649 w 1706880"/>
                    <a:gd name="connsiteY15" fmla="*/ 357664 h 899160"/>
                    <a:gd name="connsiteX16" fmla="*/ 48577 w 1706880"/>
                    <a:gd name="connsiteY16" fmla="*/ 427196 h 899160"/>
                    <a:gd name="connsiteX17" fmla="*/ 0 w 1706880"/>
                    <a:gd name="connsiteY17" fmla="*/ 556260 h 899160"/>
                    <a:gd name="connsiteX18" fmla="*/ 129540 w 1706880"/>
                    <a:gd name="connsiteY18" fmla="*/ 777240 h 899160"/>
                    <a:gd name="connsiteX19" fmla="*/ 320040 w 1706880"/>
                    <a:gd name="connsiteY19" fmla="*/ 899160 h 899160"/>
                    <a:gd name="connsiteX20" fmla="*/ 800100 w 1706880"/>
                    <a:gd name="connsiteY20" fmla="*/ 883920 h 899160"/>
                    <a:gd name="connsiteX21" fmla="*/ 1455420 w 1706880"/>
                    <a:gd name="connsiteY21" fmla="*/ 495300 h 899160"/>
                    <a:gd name="connsiteX22" fmla="*/ 1524000 w 1706880"/>
                    <a:gd name="connsiteY22" fmla="*/ 441960 h 899160"/>
                    <a:gd name="connsiteX23" fmla="*/ 1691640 w 1706880"/>
                    <a:gd name="connsiteY23" fmla="*/ 335280 h 899160"/>
                    <a:gd name="connsiteX24" fmla="*/ 1706880 w 1706880"/>
                    <a:gd name="connsiteY24" fmla="*/ 205740 h 899160"/>
                    <a:gd name="connsiteX25" fmla="*/ 1645920 w 1706880"/>
                    <a:gd name="connsiteY25" fmla="*/ 76200 h 899160"/>
                    <a:gd name="connsiteX26" fmla="*/ 1508760 w 1706880"/>
                    <a:gd name="connsiteY26" fmla="*/ 0 h 899160"/>
                    <a:gd name="connsiteX27" fmla="*/ 1283970 w 1706880"/>
                    <a:gd name="connsiteY27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23424 w 1706880"/>
                    <a:gd name="connsiteY10" fmla="*/ 167164 h 899160"/>
                    <a:gd name="connsiteX11" fmla="*/ 628174 w 1706880"/>
                    <a:gd name="connsiteY11" fmla="*/ 202883 h 899160"/>
                    <a:gd name="connsiteX12" fmla="*/ 547211 w 1706880"/>
                    <a:gd name="connsiteY12" fmla="*/ 238601 h 899160"/>
                    <a:gd name="connsiteX13" fmla="*/ 461486 w 1706880"/>
                    <a:gd name="connsiteY13" fmla="*/ 274320 h 899160"/>
                    <a:gd name="connsiteX14" fmla="*/ 399574 w 1706880"/>
                    <a:gd name="connsiteY14" fmla="*/ 295751 h 899160"/>
                    <a:gd name="connsiteX15" fmla="*/ 173356 w 1706880"/>
                    <a:gd name="connsiteY15" fmla="*/ 419576 h 899160"/>
                    <a:gd name="connsiteX16" fmla="*/ 48577 w 1706880"/>
                    <a:gd name="connsiteY16" fmla="*/ 427196 h 899160"/>
                    <a:gd name="connsiteX17" fmla="*/ 0 w 1706880"/>
                    <a:gd name="connsiteY17" fmla="*/ 556260 h 899160"/>
                    <a:gd name="connsiteX18" fmla="*/ 129540 w 1706880"/>
                    <a:gd name="connsiteY18" fmla="*/ 777240 h 899160"/>
                    <a:gd name="connsiteX19" fmla="*/ 320040 w 1706880"/>
                    <a:gd name="connsiteY19" fmla="*/ 899160 h 899160"/>
                    <a:gd name="connsiteX20" fmla="*/ 800100 w 1706880"/>
                    <a:gd name="connsiteY20" fmla="*/ 883920 h 899160"/>
                    <a:gd name="connsiteX21" fmla="*/ 1455420 w 1706880"/>
                    <a:gd name="connsiteY21" fmla="*/ 495300 h 899160"/>
                    <a:gd name="connsiteX22" fmla="*/ 1524000 w 1706880"/>
                    <a:gd name="connsiteY22" fmla="*/ 441960 h 899160"/>
                    <a:gd name="connsiteX23" fmla="*/ 1691640 w 1706880"/>
                    <a:gd name="connsiteY23" fmla="*/ 335280 h 899160"/>
                    <a:gd name="connsiteX24" fmla="*/ 1706880 w 1706880"/>
                    <a:gd name="connsiteY24" fmla="*/ 205740 h 899160"/>
                    <a:gd name="connsiteX25" fmla="*/ 1645920 w 1706880"/>
                    <a:gd name="connsiteY25" fmla="*/ 76200 h 899160"/>
                    <a:gd name="connsiteX26" fmla="*/ 1508760 w 1706880"/>
                    <a:gd name="connsiteY26" fmla="*/ 0 h 899160"/>
                    <a:gd name="connsiteX27" fmla="*/ 1283970 w 1706880"/>
                    <a:gd name="connsiteY27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23424 w 1706880"/>
                    <a:gd name="connsiteY10" fmla="*/ 167164 h 899160"/>
                    <a:gd name="connsiteX11" fmla="*/ 628174 w 1706880"/>
                    <a:gd name="connsiteY11" fmla="*/ 202883 h 899160"/>
                    <a:gd name="connsiteX12" fmla="*/ 547211 w 1706880"/>
                    <a:gd name="connsiteY12" fmla="*/ 238601 h 899160"/>
                    <a:gd name="connsiteX13" fmla="*/ 461486 w 1706880"/>
                    <a:gd name="connsiteY13" fmla="*/ 274320 h 899160"/>
                    <a:gd name="connsiteX14" fmla="*/ 399574 w 1706880"/>
                    <a:gd name="connsiteY14" fmla="*/ 295751 h 899160"/>
                    <a:gd name="connsiteX15" fmla="*/ 285274 w 1706880"/>
                    <a:gd name="connsiteY15" fmla="*/ 352901 h 899160"/>
                    <a:gd name="connsiteX16" fmla="*/ 173356 w 1706880"/>
                    <a:gd name="connsiteY16" fmla="*/ 419576 h 899160"/>
                    <a:gd name="connsiteX17" fmla="*/ 48577 w 1706880"/>
                    <a:gd name="connsiteY17" fmla="*/ 427196 h 899160"/>
                    <a:gd name="connsiteX18" fmla="*/ 0 w 1706880"/>
                    <a:gd name="connsiteY18" fmla="*/ 556260 h 899160"/>
                    <a:gd name="connsiteX19" fmla="*/ 129540 w 1706880"/>
                    <a:gd name="connsiteY19" fmla="*/ 777240 h 899160"/>
                    <a:gd name="connsiteX20" fmla="*/ 320040 w 1706880"/>
                    <a:gd name="connsiteY20" fmla="*/ 899160 h 899160"/>
                    <a:gd name="connsiteX21" fmla="*/ 800100 w 1706880"/>
                    <a:gd name="connsiteY21" fmla="*/ 883920 h 899160"/>
                    <a:gd name="connsiteX22" fmla="*/ 1455420 w 1706880"/>
                    <a:gd name="connsiteY22" fmla="*/ 495300 h 899160"/>
                    <a:gd name="connsiteX23" fmla="*/ 1524000 w 1706880"/>
                    <a:gd name="connsiteY23" fmla="*/ 441960 h 899160"/>
                    <a:gd name="connsiteX24" fmla="*/ 1691640 w 1706880"/>
                    <a:gd name="connsiteY24" fmla="*/ 335280 h 899160"/>
                    <a:gd name="connsiteX25" fmla="*/ 1706880 w 1706880"/>
                    <a:gd name="connsiteY25" fmla="*/ 205740 h 899160"/>
                    <a:gd name="connsiteX26" fmla="*/ 1645920 w 1706880"/>
                    <a:gd name="connsiteY26" fmla="*/ 76200 h 899160"/>
                    <a:gd name="connsiteX27" fmla="*/ 1508760 w 1706880"/>
                    <a:gd name="connsiteY27" fmla="*/ 0 h 899160"/>
                    <a:gd name="connsiteX28" fmla="*/ 1283970 w 1706880"/>
                    <a:gd name="connsiteY28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23424 w 1706880"/>
                    <a:gd name="connsiteY10" fmla="*/ 167164 h 899160"/>
                    <a:gd name="connsiteX11" fmla="*/ 628174 w 1706880"/>
                    <a:gd name="connsiteY11" fmla="*/ 202883 h 899160"/>
                    <a:gd name="connsiteX12" fmla="*/ 547211 w 1706880"/>
                    <a:gd name="connsiteY12" fmla="*/ 238601 h 899160"/>
                    <a:gd name="connsiteX13" fmla="*/ 461486 w 1706880"/>
                    <a:gd name="connsiteY13" fmla="*/ 274320 h 899160"/>
                    <a:gd name="connsiteX14" fmla="*/ 399574 w 1706880"/>
                    <a:gd name="connsiteY14" fmla="*/ 295751 h 899160"/>
                    <a:gd name="connsiteX15" fmla="*/ 237649 w 1706880"/>
                    <a:gd name="connsiteY15" fmla="*/ 324326 h 899160"/>
                    <a:gd name="connsiteX16" fmla="*/ 173356 w 1706880"/>
                    <a:gd name="connsiteY16" fmla="*/ 419576 h 899160"/>
                    <a:gd name="connsiteX17" fmla="*/ 48577 w 1706880"/>
                    <a:gd name="connsiteY17" fmla="*/ 427196 h 899160"/>
                    <a:gd name="connsiteX18" fmla="*/ 0 w 1706880"/>
                    <a:gd name="connsiteY18" fmla="*/ 556260 h 899160"/>
                    <a:gd name="connsiteX19" fmla="*/ 129540 w 1706880"/>
                    <a:gd name="connsiteY19" fmla="*/ 777240 h 899160"/>
                    <a:gd name="connsiteX20" fmla="*/ 320040 w 1706880"/>
                    <a:gd name="connsiteY20" fmla="*/ 899160 h 899160"/>
                    <a:gd name="connsiteX21" fmla="*/ 800100 w 1706880"/>
                    <a:gd name="connsiteY21" fmla="*/ 883920 h 899160"/>
                    <a:gd name="connsiteX22" fmla="*/ 1455420 w 1706880"/>
                    <a:gd name="connsiteY22" fmla="*/ 495300 h 899160"/>
                    <a:gd name="connsiteX23" fmla="*/ 1524000 w 1706880"/>
                    <a:gd name="connsiteY23" fmla="*/ 441960 h 899160"/>
                    <a:gd name="connsiteX24" fmla="*/ 1691640 w 1706880"/>
                    <a:gd name="connsiteY24" fmla="*/ 335280 h 899160"/>
                    <a:gd name="connsiteX25" fmla="*/ 1706880 w 1706880"/>
                    <a:gd name="connsiteY25" fmla="*/ 205740 h 899160"/>
                    <a:gd name="connsiteX26" fmla="*/ 1645920 w 1706880"/>
                    <a:gd name="connsiteY26" fmla="*/ 76200 h 899160"/>
                    <a:gd name="connsiteX27" fmla="*/ 1508760 w 1706880"/>
                    <a:gd name="connsiteY27" fmla="*/ 0 h 899160"/>
                    <a:gd name="connsiteX28" fmla="*/ 1283970 w 1706880"/>
                    <a:gd name="connsiteY28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23424 w 1706880"/>
                    <a:gd name="connsiteY10" fmla="*/ 167164 h 899160"/>
                    <a:gd name="connsiteX11" fmla="*/ 628174 w 1706880"/>
                    <a:gd name="connsiteY11" fmla="*/ 202883 h 899160"/>
                    <a:gd name="connsiteX12" fmla="*/ 547211 w 1706880"/>
                    <a:gd name="connsiteY12" fmla="*/ 238601 h 899160"/>
                    <a:gd name="connsiteX13" fmla="*/ 461486 w 1706880"/>
                    <a:gd name="connsiteY13" fmla="*/ 274320 h 899160"/>
                    <a:gd name="connsiteX14" fmla="*/ 406718 w 1706880"/>
                    <a:gd name="connsiteY14" fmla="*/ 257651 h 899160"/>
                    <a:gd name="connsiteX15" fmla="*/ 237649 w 1706880"/>
                    <a:gd name="connsiteY15" fmla="*/ 324326 h 899160"/>
                    <a:gd name="connsiteX16" fmla="*/ 173356 w 1706880"/>
                    <a:gd name="connsiteY16" fmla="*/ 419576 h 899160"/>
                    <a:gd name="connsiteX17" fmla="*/ 48577 w 1706880"/>
                    <a:gd name="connsiteY17" fmla="*/ 427196 h 899160"/>
                    <a:gd name="connsiteX18" fmla="*/ 0 w 1706880"/>
                    <a:gd name="connsiteY18" fmla="*/ 556260 h 899160"/>
                    <a:gd name="connsiteX19" fmla="*/ 129540 w 1706880"/>
                    <a:gd name="connsiteY19" fmla="*/ 777240 h 899160"/>
                    <a:gd name="connsiteX20" fmla="*/ 320040 w 1706880"/>
                    <a:gd name="connsiteY20" fmla="*/ 899160 h 899160"/>
                    <a:gd name="connsiteX21" fmla="*/ 800100 w 1706880"/>
                    <a:gd name="connsiteY21" fmla="*/ 883920 h 899160"/>
                    <a:gd name="connsiteX22" fmla="*/ 1455420 w 1706880"/>
                    <a:gd name="connsiteY22" fmla="*/ 495300 h 899160"/>
                    <a:gd name="connsiteX23" fmla="*/ 1524000 w 1706880"/>
                    <a:gd name="connsiteY23" fmla="*/ 441960 h 899160"/>
                    <a:gd name="connsiteX24" fmla="*/ 1691640 w 1706880"/>
                    <a:gd name="connsiteY24" fmla="*/ 335280 h 899160"/>
                    <a:gd name="connsiteX25" fmla="*/ 1706880 w 1706880"/>
                    <a:gd name="connsiteY25" fmla="*/ 205740 h 899160"/>
                    <a:gd name="connsiteX26" fmla="*/ 1645920 w 1706880"/>
                    <a:gd name="connsiteY26" fmla="*/ 76200 h 899160"/>
                    <a:gd name="connsiteX27" fmla="*/ 1508760 w 1706880"/>
                    <a:gd name="connsiteY27" fmla="*/ 0 h 899160"/>
                    <a:gd name="connsiteX28" fmla="*/ 1283970 w 1706880"/>
                    <a:gd name="connsiteY28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23424 w 1706880"/>
                    <a:gd name="connsiteY10" fmla="*/ 167164 h 899160"/>
                    <a:gd name="connsiteX11" fmla="*/ 628174 w 1706880"/>
                    <a:gd name="connsiteY11" fmla="*/ 202883 h 899160"/>
                    <a:gd name="connsiteX12" fmla="*/ 547211 w 1706880"/>
                    <a:gd name="connsiteY12" fmla="*/ 238601 h 899160"/>
                    <a:gd name="connsiteX13" fmla="*/ 459104 w 1706880"/>
                    <a:gd name="connsiteY13" fmla="*/ 262414 h 899160"/>
                    <a:gd name="connsiteX14" fmla="*/ 406718 w 1706880"/>
                    <a:gd name="connsiteY14" fmla="*/ 257651 h 899160"/>
                    <a:gd name="connsiteX15" fmla="*/ 237649 w 1706880"/>
                    <a:gd name="connsiteY15" fmla="*/ 324326 h 899160"/>
                    <a:gd name="connsiteX16" fmla="*/ 173356 w 1706880"/>
                    <a:gd name="connsiteY16" fmla="*/ 419576 h 899160"/>
                    <a:gd name="connsiteX17" fmla="*/ 48577 w 1706880"/>
                    <a:gd name="connsiteY17" fmla="*/ 427196 h 899160"/>
                    <a:gd name="connsiteX18" fmla="*/ 0 w 1706880"/>
                    <a:gd name="connsiteY18" fmla="*/ 556260 h 899160"/>
                    <a:gd name="connsiteX19" fmla="*/ 129540 w 1706880"/>
                    <a:gd name="connsiteY19" fmla="*/ 777240 h 899160"/>
                    <a:gd name="connsiteX20" fmla="*/ 320040 w 1706880"/>
                    <a:gd name="connsiteY20" fmla="*/ 899160 h 899160"/>
                    <a:gd name="connsiteX21" fmla="*/ 800100 w 1706880"/>
                    <a:gd name="connsiteY21" fmla="*/ 883920 h 899160"/>
                    <a:gd name="connsiteX22" fmla="*/ 1455420 w 1706880"/>
                    <a:gd name="connsiteY22" fmla="*/ 495300 h 899160"/>
                    <a:gd name="connsiteX23" fmla="*/ 1524000 w 1706880"/>
                    <a:gd name="connsiteY23" fmla="*/ 441960 h 899160"/>
                    <a:gd name="connsiteX24" fmla="*/ 1691640 w 1706880"/>
                    <a:gd name="connsiteY24" fmla="*/ 335280 h 899160"/>
                    <a:gd name="connsiteX25" fmla="*/ 1706880 w 1706880"/>
                    <a:gd name="connsiteY25" fmla="*/ 205740 h 899160"/>
                    <a:gd name="connsiteX26" fmla="*/ 1645920 w 1706880"/>
                    <a:gd name="connsiteY26" fmla="*/ 76200 h 899160"/>
                    <a:gd name="connsiteX27" fmla="*/ 1508760 w 1706880"/>
                    <a:gd name="connsiteY27" fmla="*/ 0 h 899160"/>
                    <a:gd name="connsiteX28" fmla="*/ 1283970 w 1706880"/>
                    <a:gd name="connsiteY28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23424 w 1706880"/>
                    <a:gd name="connsiteY10" fmla="*/ 167164 h 899160"/>
                    <a:gd name="connsiteX11" fmla="*/ 616267 w 1706880"/>
                    <a:gd name="connsiteY11" fmla="*/ 240983 h 899160"/>
                    <a:gd name="connsiteX12" fmla="*/ 547211 w 1706880"/>
                    <a:gd name="connsiteY12" fmla="*/ 238601 h 899160"/>
                    <a:gd name="connsiteX13" fmla="*/ 459104 w 1706880"/>
                    <a:gd name="connsiteY13" fmla="*/ 262414 h 899160"/>
                    <a:gd name="connsiteX14" fmla="*/ 406718 w 1706880"/>
                    <a:gd name="connsiteY14" fmla="*/ 257651 h 899160"/>
                    <a:gd name="connsiteX15" fmla="*/ 237649 w 1706880"/>
                    <a:gd name="connsiteY15" fmla="*/ 324326 h 899160"/>
                    <a:gd name="connsiteX16" fmla="*/ 173356 w 1706880"/>
                    <a:gd name="connsiteY16" fmla="*/ 419576 h 899160"/>
                    <a:gd name="connsiteX17" fmla="*/ 48577 w 1706880"/>
                    <a:gd name="connsiteY17" fmla="*/ 427196 h 899160"/>
                    <a:gd name="connsiteX18" fmla="*/ 0 w 1706880"/>
                    <a:gd name="connsiteY18" fmla="*/ 556260 h 899160"/>
                    <a:gd name="connsiteX19" fmla="*/ 129540 w 1706880"/>
                    <a:gd name="connsiteY19" fmla="*/ 777240 h 899160"/>
                    <a:gd name="connsiteX20" fmla="*/ 320040 w 1706880"/>
                    <a:gd name="connsiteY20" fmla="*/ 899160 h 899160"/>
                    <a:gd name="connsiteX21" fmla="*/ 800100 w 1706880"/>
                    <a:gd name="connsiteY21" fmla="*/ 883920 h 899160"/>
                    <a:gd name="connsiteX22" fmla="*/ 1455420 w 1706880"/>
                    <a:gd name="connsiteY22" fmla="*/ 495300 h 899160"/>
                    <a:gd name="connsiteX23" fmla="*/ 1524000 w 1706880"/>
                    <a:gd name="connsiteY23" fmla="*/ 441960 h 899160"/>
                    <a:gd name="connsiteX24" fmla="*/ 1691640 w 1706880"/>
                    <a:gd name="connsiteY24" fmla="*/ 335280 h 899160"/>
                    <a:gd name="connsiteX25" fmla="*/ 1706880 w 1706880"/>
                    <a:gd name="connsiteY25" fmla="*/ 205740 h 899160"/>
                    <a:gd name="connsiteX26" fmla="*/ 1645920 w 1706880"/>
                    <a:gd name="connsiteY26" fmla="*/ 76200 h 899160"/>
                    <a:gd name="connsiteX27" fmla="*/ 1508760 w 1706880"/>
                    <a:gd name="connsiteY27" fmla="*/ 0 h 899160"/>
                    <a:gd name="connsiteX28" fmla="*/ 1283970 w 1706880"/>
                    <a:gd name="connsiteY28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16281 w 1706880"/>
                    <a:gd name="connsiteY10" fmla="*/ 198120 h 899160"/>
                    <a:gd name="connsiteX11" fmla="*/ 616267 w 1706880"/>
                    <a:gd name="connsiteY11" fmla="*/ 240983 h 899160"/>
                    <a:gd name="connsiteX12" fmla="*/ 547211 w 1706880"/>
                    <a:gd name="connsiteY12" fmla="*/ 238601 h 899160"/>
                    <a:gd name="connsiteX13" fmla="*/ 459104 w 1706880"/>
                    <a:gd name="connsiteY13" fmla="*/ 262414 h 899160"/>
                    <a:gd name="connsiteX14" fmla="*/ 406718 w 1706880"/>
                    <a:gd name="connsiteY14" fmla="*/ 257651 h 899160"/>
                    <a:gd name="connsiteX15" fmla="*/ 237649 w 1706880"/>
                    <a:gd name="connsiteY15" fmla="*/ 324326 h 899160"/>
                    <a:gd name="connsiteX16" fmla="*/ 173356 w 1706880"/>
                    <a:gd name="connsiteY16" fmla="*/ 419576 h 899160"/>
                    <a:gd name="connsiteX17" fmla="*/ 48577 w 1706880"/>
                    <a:gd name="connsiteY17" fmla="*/ 427196 h 899160"/>
                    <a:gd name="connsiteX18" fmla="*/ 0 w 1706880"/>
                    <a:gd name="connsiteY18" fmla="*/ 556260 h 899160"/>
                    <a:gd name="connsiteX19" fmla="*/ 129540 w 1706880"/>
                    <a:gd name="connsiteY19" fmla="*/ 777240 h 899160"/>
                    <a:gd name="connsiteX20" fmla="*/ 320040 w 1706880"/>
                    <a:gd name="connsiteY20" fmla="*/ 899160 h 899160"/>
                    <a:gd name="connsiteX21" fmla="*/ 800100 w 1706880"/>
                    <a:gd name="connsiteY21" fmla="*/ 883920 h 899160"/>
                    <a:gd name="connsiteX22" fmla="*/ 1455420 w 1706880"/>
                    <a:gd name="connsiteY22" fmla="*/ 495300 h 899160"/>
                    <a:gd name="connsiteX23" fmla="*/ 1524000 w 1706880"/>
                    <a:gd name="connsiteY23" fmla="*/ 441960 h 899160"/>
                    <a:gd name="connsiteX24" fmla="*/ 1691640 w 1706880"/>
                    <a:gd name="connsiteY24" fmla="*/ 335280 h 899160"/>
                    <a:gd name="connsiteX25" fmla="*/ 1706880 w 1706880"/>
                    <a:gd name="connsiteY25" fmla="*/ 205740 h 899160"/>
                    <a:gd name="connsiteX26" fmla="*/ 1645920 w 1706880"/>
                    <a:gd name="connsiteY26" fmla="*/ 76200 h 899160"/>
                    <a:gd name="connsiteX27" fmla="*/ 1508760 w 1706880"/>
                    <a:gd name="connsiteY27" fmla="*/ 0 h 899160"/>
                    <a:gd name="connsiteX28" fmla="*/ 1283970 w 1706880"/>
                    <a:gd name="connsiteY28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16281 w 1706880"/>
                    <a:gd name="connsiteY10" fmla="*/ 198120 h 899160"/>
                    <a:gd name="connsiteX11" fmla="*/ 616267 w 1706880"/>
                    <a:gd name="connsiteY11" fmla="*/ 240983 h 899160"/>
                    <a:gd name="connsiteX12" fmla="*/ 601980 w 1706880"/>
                    <a:gd name="connsiteY12" fmla="*/ 264795 h 899160"/>
                    <a:gd name="connsiteX13" fmla="*/ 459104 w 1706880"/>
                    <a:gd name="connsiteY13" fmla="*/ 262414 h 899160"/>
                    <a:gd name="connsiteX14" fmla="*/ 406718 w 1706880"/>
                    <a:gd name="connsiteY14" fmla="*/ 257651 h 899160"/>
                    <a:gd name="connsiteX15" fmla="*/ 237649 w 1706880"/>
                    <a:gd name="connsiteY15" fmla="*/ 324326 h 899160"/>
                    <a:gd name="connsiteX16" fmla="*/ 173356 w 1706880"/>
                    <a:gd name="connsiteY16" fmla="*/ 419576 h 899160"/>
                    <a:gd name="connsiteX17" fmla="*/ 48577 w 1706880"/>
                    <a:gd name="connsiteY17" fmla="*/ 427196 h 899160"/>
                    <a:gd name="connsiteX18" fmla="*/ 0 w 1706880"/>
                    <a:gd name="connsiteY18" fmla="*/ 556260 h 899160"/>
                    <a:gd name="connsiteX19" fmla="*/ 129540 w 1706880"/>
                    <a:gd name="connsiteY19" fmla="*/ 777240 h 899160"/>
                    <a:gd name="connsiteX20" fmla="*/ 320040 w 1706880"/>
                    <a:gd name="connsiteY20" fmla="*/ 899160 h 899160"/>
                    <a:gd name="connsiteX21" fmla="*/ 800100 w 1706880"/>
                    <a:gd name="connsiteY21" fmla="*/ 883920 h 899160"/>
                    <a:gd name="connsiteX22" fmla="*/ 1455420 w 1706880"/>
                    <a:gd name="connsiteY22" fmla="*/ 495300 h 899160"/>
                    <a:gd name="connsiteX23" fmla="*/ 1524000 w 1706880"/>
                    <a:gd name="connsiteY23" fmla="*/ 441960 h 899160"/>
                    <a:gd name="connsiteX24" fmla="*/ 1691640 w 1706880"/>
                    <a:gd name="connsiteY24" fmla="*/ 335280 h 899160"/>
                    <a:gd name="connsiteX25" fmla="*/ 1706880 w 1706880"/>
                    <a:gd name="connsiteY25" fmla="*/ 205740 h 899160"/>
                    <a:gd name="connsiteX26" fmla="*/ 1645920 w 1706880"/>
                    <a:gd name="connsiteY26" fmla="*/ 76200 h 899160"/>
                    <a:gd name="connsiteX27" fmla="*/ 1508760 w 1706880"/>
                    <a:gd name="connsiteY27" fmla="*/ 0 h 899160"/>
                    <a:gd name="connsiteX28" fmla="*/ 1283970 w 1706880"/>
                    <a:gd name="connsiteY28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16281 w 1706880"/>
                    <a:gd name="connsiteY10" fmla="*/ 198120 h 899160"/>
                    <a:gd name="connsiteX11" fmla="*/ 616267 w 1706880"/>
                    <a:gd name="connsiteY11" fmla="*/ 240983 h 899160"/>
                    <a:gd name="connsiteX12" fmla="*/ 601980 w 1706880"/>
                    <a:gd name="connsiteY12" fmla="*/ 264795 h 899160"/>
                    <a:gd name="connsiteX13" fmla="*/ 511493 w 1706880"/>
                    <a:gd name="connsiteY13" fmla="*/ 240983 h 899160"/>
                    <a:gd name="connsiteX14" fmla="*/ 459104 w 1706880"/>
                    <a:gd name="connsiteY14" fmla="*/ 262414 h 899160"/>
                    <a:gd name="connsiteX15" fmla="*/ 406718 w 1706880"/>
                    <a:gd name="connsiteY15" fmla="*/ 257651 h 899160"/>
                    <a:gd name="connsiteX16" fmla="*/ 237649 w 1706880"/>
                    <a:gd name="connsiteY16" fmla="*/ 324326 h 899160"/>
                    <a:gd name="connsiteX17" fmla="*/ 173356 w 1706880"/>
                    <a:gd name="connsiteY17" fmla="*/ 419576 h 899160"/>
                    <a:gd name="connsiteX18" fmla="*/ 48577 w 1706880"/>
                    <a:gd name="connsiteY18" fmla="*/ 427196 h 899160"/>
                    <a:gd name="connsiteX19" fmla="*/ 0 w 1706880"/>
                    <a:gd name="connsiteY19" fmla="*/ 556260 h 899160"/>
                    <a:gd name="connsiteX20" fmla="*/ 129540 w 1706880"/>
                    <a:gd name="connsiteY20" fmla="*/ 777240 h 899160"/>
                    <a:gd name="connsiteX21" fmla="*/ 320040 w 1706880"/>
                    <a:gd name="connsiteY21" fmla="*/ 899160 h 899160"/>
                    <a:gd name="connsiteX22" fmla="*/ 800100 w 1706880"/>
                    <a:gd name="connsiteY22" fmla="*/ 883920 h 899160"/>
                    <a:gd name="connsiteX23" fmla="*/ 1455420 w 1706880"/>
                    <a:gd name="connsiteY23" fmla="*/ 495300 h 899160"/>
                    <a:gd name="connsiteX24" fmla="*/ 1524000 w 1706880"/>
                    <a:gd name="connsiteY24" fmla="*/ 441960 h 899160"/>
                    <a:gd name="connsiteX25" fmla="*/ 1691640 w 1706880"/>
                    <a:gd name="connsiteY25" fmla="*/ 335280 h 899160"/>
                    <a:gd name="connsiteX26" fmla="*/ 1706880 w 1706880"/>
                    <a:gd name="connsiteY26" fmla="*/ 205740 h 899160"/>
                    <a:gd name="connsiteX27" fmla="*/ 1645920 w 1706880"/>
                    <a:gd name="connsiteY27" fmla="*/ 76200 h 899160"/>
                    <a:gd name="connsiteX28" fmla="*/ 1508760 w 1706880"/>
                    <a:gd name="connsiteY28" fmla="*/ 0 h 899160"/>
                    <a:gd name="connsiteX29" fmla="*/ 1283970 w 1706880"/>
                    <a:gd name="connsiteY29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16281 w 1706880"/>
                    <a:gd name="connsiteY10" fmla="*/ 198120 h 899160"/>
                    <a:gd name="connsiteX11" fmla="*/ 616267 w 1706880"/>
                    <a:gd name="connsiteY11" fmla="*/ 240983 h 899160"/>
                    <a:gd name="connsiteX12" fmla="*/ 601980 w 1706880"/>
                    <a:gd name="connsiteY12" fmla="*/ 264795 h 899160"/>
                    <a:gd name="connsiteX13" fmla="*/ 544830 w 1706880"/>
                    <a:gd name="connsiteY13" fmla="*/ 264795 h 899160"/>
                    <a:gd name="connsiteX14" fmla="*/ 511493 w 1706880"/>
                    <a:gd name="connsiteY14" fmla="*/ 240983 h 899160"/>
                    <a:gd name="connsiteX15" fmla="*/ 459104 w 1706880"/>
                    <a:gd name="connsiteY15" fmla="*/ 262414 h 899160"/>
                    <a:gd name="connsiteX16" fmla="*/ 406718 w 1706880"/>
                    <a:gd name="connsiteY16" fmla="*/ 257651 h 899160"/>
                    <a:gd name="connsiteX17" fmla="*/ 237649 w 1706880"/>
                    <a:gd name="connsiteY17" fmla="*/ 324326 h 899160"/>
                    <a:gd name="connsiteX18" fmla="*/ 173356 w 1706880"/>
                    <a:gd name="connsiteY18" fmla="*/ 419576 h 899160"/>
                    <a:gd name="connsiteX19" fmla="*/ 48577 w 1706880"/>
                    <a:gd name="connsiteY19" fmla="*/ 427196 h 899160"/>
                    <a:gd name="connsiteX20" fmla="*/ 0 w 1706880"/>
                    <a:gd name="connsiteY20" fmla="*/ 556260 h 899160"/>
                    <a:gd name="connsiteX21" fmla="*/ 129540 w 1706880"/>
                    <a:gd name="connsiteY21" fmla="*/ 777240 h 899160"/>
                    <a:gd name="connsiteX22" fmla="*/ 320040 w 1706880"/>
                    <a:gd name="connsiteY22" fmla="*/ 899160 h 899160"/>
                    <a:gd name="connsiteX23" fmla="*/ 800100 w 1706880"/>
                    <a:gd name="connsiteY23" fmla="*/ 883920 h 899160"/>
                    <a:gd name="connsiteX24" fmla="*/ 1455420 w 1706880"/>
                    <a:gd name="connsiteY24" fmla="*/ 495300 h 899160"/>
                    <a:gd name="connsiteX25" fmla="*/ 1524000 w 1706880"/>
                    <a:gd name="connsiteY25" fmla="*/ 441960 h 899160"/>
                    <a:gd name="connsiteX26" fmla="*/ 1691640 w 1706880"/>
                    <a:gd name="connsiteY26" fmla="*/ 335280 h 899160"/>
                    <a:gd name="connsiteX27" fmla="*/ 1706880 w 1706880"/>
                    <a:gd name="connsiteY27" fmla="*/ 205740 h 899160"/>
                    <a:gd name="connsiteX28" fmla="*/ 1645920 w 1706880"/>
                    <a:gd name="connsiteY28" fmla="*/ 76200 h 899160"/>
                    <a:gd name="connsiteX29" fmla="*/ 1508760 w 1706880"/>
                    <a:gd name="connsiteY29" fmla="*/ 0 h 899160"/>
                    <a:gd name="connsiteX30" fmla="*/ 1283970 w 1706880"/>
                    <a:gd name="connsiteY30" fmla="*/ 37148 h 899160"/>
                    <a:gd name="connsiteX0" fmla="*/ 1283970 w 1706880"/>
                    <a:gd name="connsiteY0" fmla="*/ 37148 h 899160"/>
                    <a:gd name="connsiteX1" fmla="*/ 1111568 w 1706880"/>
                    <a:gd name="connsiteY1" fmla="*/ 133827 h 899160"/>
                    <a:gd name="connsiteX2" fmla="*/ 1080611 w 1706880"/>
                    <a:gd name="connsiteY2" fmla="*/ 212408 h 899160"/>
                    <a:gd name="connsiteX3" fmla="*/ 1016318 w 1706880"/>
                    <a:gd name="connsiteY3" fmla="*/ 233839 h 899160"/>
                    <a:gd name="connsiteX4" fmla="*/ 987743 w 1706880"/>
                    <a:gd name="connsiteY4" fmla="*/ 148114 h 899160"/>
                    <a:gd name="connsiteX5" fmla="*/ 918687 w 1706880"/>
                    <a:gd name="connsiteY5" fmla="*/ 119539 h 899160"/>
                    <a:gd name="connsiteX6" fmla="*/ 875824 w 1706880"/>
                    <a:gd name="connsiteY6" fmla="*/ 164782 h 899160"/>
                    <a:gd name="connsiteX7" fmla="*/ 840106 w 1706880"/>
                    <a:gd name="connsiteY7" fmla="*/ 160020 h 899160"/>
                    <a:gd name="connsiteX8" fmla="*/ 816293 w 1706880"/>
                    <a:gd name="connsiteY8" fmla="*/ 212408 h 899160"/>
                    <a:gd name="connsiteX9" fmla="*/ 794861 w 1706880"/>
                    <a:gd name="connsiteY9" fmla="*/ 162401 h 899160"/>
                    <a:gd name="connsiteX10" fmla="*/ 716281 w 1706880"/>
                    <a:gd name="connsiteY10" fmla="*/ 198120 h 899160"/>
                    <a:gd name="connsiteX11" fmla="*/ 616267 w 1706880"/>
                    <a:gd name="connsiteY11" fmla="*/ 240983 h 899160"/>
                    <a:gd name="connsiteX12" fmla="*/ 601980 w 1706880"/>
                    <a:gd name="connsiteY12" fmla="*/ 264795 h 899160"/>
                    <a:gd name="connsiteX13" fmla="*/ 544830 w 1706880"/>
                    <a:gd name="connsiteY13" fmla="*/ 264795 h 899160"/>
                    <a:gd name="connsiteX14" fmla="*/ 511493 w 1706880"/>
                    <a:gd name="connsiteY14" fmla="*/ 240983 h 899160"/>
                    <a:gd name="connsiteX15" fmla="*/ 459104 w 1706880"/>
                    <a:gd name="connsiteY15" fmla="*/ 262414 h 899160"/>
                    <a:gd name="connsiteX16" fmla="*/ 406718 w 1706880"/>
                    <a:gd name="connsiteY16" fmla="*/ 257651 h 899160"/>
                    <a:gd name="connsiteX17" fmla="*/ 237649 w 1706880"/>
                    <a:gd name="connsiteY17" fmla="*/ 324326 h 899160"/>
                    <a:gd name="connsiteX18" fmla="*/ 173356 w 1706880"/>
                    <a:gd name="connsiteY18" fmla="*/ 419576 h 899160"/>
                    <a:gd name="connsiteX19" fmla="*/ 48577 w 1706880"/>
                    <a:gd name="connsiteY19" fmla="*/ 427196 h 899160"/>
                    <a:gd name="connsiteX20" fmla="*/ 0 w 1706880"/>
                    <a:gd name="connsiteY20" fmla="*/ 556260 h 899160"/>
                    <a:gd name="connsiteX21" fmla="*/ 129540 w 1706880"/>
                    <a:gd name="connsiteY21" fmla="*/ 777240 h 899160"/>
                    <a:gd name="connsiteX22" fmla="*/ 320040 w 1706880"/>
                    <a:gd name="connsiteY22" fmla="*/ 899160 h 899160"/>
                    <a:gd name="connsiteX23" fmla="*/ 800100 w 1706880"/>
                    <a:gd name="connsiteY23" fmla="*/ 883920 h 899160"/>
                    <a:gd name="connsiteX24" fmla="*/ 1455420 w 1706880"/>
                    <a:gd name="connsiteY24" fmla="*/ 495300 h 899160"/>
                    <a:gd name="connsiteX25" fmla="*/ 1524000 w 1706880"/>
                    <a:gd name="connsiteY25" fmla="*/ 441960 h 899160"/>
                    <a:gd name="connsiteX26" fmla="*/ 1691640 w 1706880"/>
                    <a:gd name="connsiteY26" fmla="*/ 335280 h 899160"/>
                    <a:gd name="connsiteX27" fmla="*/ 1706880 w 1706880"/>
                    <a:gd name="connsiteY27" fmla="*/ 205740 h 899160"/>
                    <a:gd name="connsiteX28" fmla="*/ 1645920 w 1706880"/>
                    <a:gd name="connsiteY28" fmla="*/ 76200 h 899160"/>
                    <a:gd name="connsiteX29" fmla="*/ 1508760 w 1706880"/>
                    <a:gd name="connsiteY29" fmla="*/ 0 h 899160"/>
                    <a:gd name="connsiteX30" fmla="*/ 1290161 w 1706880"/>
                    <a:gd name="connsiteY30" fmla="*/ 14764 h 899160"/>
                    <a:gd name="connsiteX31" fmla="*/ 1283970 w 1706880"/>
                    <a:gd name="connsiteY31" fmla="*/ 37148 h 899160"/>
                    <a:gd name="connsiteX0" fmla="*/ 1283970 w 1706880"/>
                    <a:gd name="connsiteY0" fmla="*/ 22996 h 885008"/>
                    <a:gd name="connsiteX1" fmla="*/ 1111568 w 1706880"/>
                    <a:gd name="connsiteY1" fmla="*/ 119675 h 885008"/>
                    <a:gd name="connsiteX2" fmla="*/ 1080611 w 1706880"/>
                    <a:gd name="connsiteY2" fmla="*/ 198256 h 885008"/>
                    <a:gd name="connsiteX3" fmla="*/ 1016318 w 1706880"/>
                    <a:gd name="connsiteY3" fmla="*/ 219687 h 885008"/>
                    <a:gd name="connsiteX4" fmla="*/ 987743 w 1706880"/>
                    <a:gd name="connsiteY4" fmla="*/ 133962 h 885008"/>
                    <a:gd name="connsiteX5" fmla="*/ 918687 w 1706880"/>
                    <a:gd name="connsiteY5" fmla="*/ 105387 h 885008"/>
                    <a:gd name="connsiteX6" fmla="*/ 875824 w 1706880"/>
                    <a:gd name="connsiteY6" fmla="*/ 150630 h 885008"/>
                    <a:gd name="connsiteX7" fmla="*/ 840106 w 1706880"/>
                    <a:gd name="connsiteY7" fmla="*/ 145868 h 885008"/>
                    <a:gd name="connsiteX8" fmla="*/ 816293 w 1706880"/>
                    <a:gd name="connsiteY8" fmla="*/ 198256 h 885008"/>
                    <a:gd name="connsiteX9" fmla="*/ 794861 w 1706880"/>
                    <a:gd name="connsiteY9" fmla="*/ 148249 h 885008"/>
                    <a:gd name="connsiteX10" fmla="*/ 716281 w 1706880"/>
                    <a:gd name="connsiteY10" fmla="*/ 183968 h 885008"/>
                    <a:gd name="connsiteX11" fmla="*/ 616267 w 1706880"/>
                    <a:gd name="connsiteY11" fmla="*/ 226831 h 885008"/>
                    <a:gd name="connsiteX12" fmla="*/ 601980 w 1706880"/>
                    <a:gd name="connsiteY12" fmla="*/ 250643 h 885008"/>
                    <a:gd name="connsiteX13" fmla="*/ 544830 w 1706880"/>
                    <a:gd name="connsiteY13" fmla="*/ 250643 h 885008"/>
                    <a:gd name="connsiteX14" fmla="*/ 511493 w 1706880"/>
                    <a:gd name="connsiteY14" fmla="*/ 226831 h 885008"/>
                    <a:gd name="connsiteX15" fmla="*/ 459104 w 1706880"/>
                    <a:gd name="connsiteY15" fmla="*/ 248262 h 885008"/>
                    <a:gd name="connsiteX16" fmla="*/ 406718 w 1706880"/>
                    <a:gd name="connsiteY16" fmla="*/ 243499 h 885008"/>
                    <a:gd name="connsiteX17" fmla="*/ 237649 w 1706880"/>
                    <a:gd name="connsiteY17" fmla="*/ 310174 h 885008"/>
                    <a:gd name="connsiteX18" fmla="*/ 173356 w 1706880"/>
                    <a:gd name="connsiteY18" fmla="*/ 405424 h 885008"/>
                    <a:gd name="connsiteX19" fmla="*/ 48577 w 1706880"/>
                    <a:gd name="connsiteY19" fmla="*/ 413044 h 885008"/>
                    <a:gd name="connsiteX20" fmla="*/ 0 w 1706880"/>
                    <a:gd name="connsiteY20" fmla="*/ 542108 h 885008"/>
                    <a:gd name="connsiteX21" fmla="*/ 129540 w 1706880"/>
                    <a:gd name="connsiteY21" fmla="*/ 763088 h 885008"/>
                    <a:gd name="connsiteX22" fmla="*/ 320040 w 1706880"/>
                    <a:gd name="connsiteY22" fmla="*/ 885008 h 885008"/>
                    <a:gd name="connsiteX23" fmla="*/ 800100 w 1706880"/>
                    <a:gd name="connsiteY23" fmla="*/ 869768 h 885008"/>
                    <a:gd name="connsiteX24" fmla="*/ 1455420 w 1706880"/>
                    <a:gd name="connsiteY24" fmla="*/ 481148 h 885008"/>
                    <a:gd name="connsiteX25" fmla="*/ 1524000 w 1706880"/>
                    <a:gd name="connsiteY25" fmla="*/ 427808 h 885008"/>
                    <a:gd name="connsiteX26" fmla="*/ 1691640 w 1706880"/>
                    <a:gd name="connsiteY26" fmla="*/ 321128 h 885008"/>
                    <a:gd name="connsiteX27" fmla="*/ 1706880 w 1706880"/>
                    <a:gd name="connsiteY27" fmla="*/ 191588 h 885008"/>
                    <a:gd name="connsiteX28" fmla="*/ 1645920 w 1706880"/>
                    <a:gd name="connsiteY28" fmla="*/ 62048 h 885008"/>
                    <a:gd name="connsiteX29" fmla="*/ 1456373 w 1706880"/>
                    <a:gd name="connsiteY29" fmla="*/ 73954 h 885008"/>
                    <a:gd name="connsiteX30" fmla="*/ 1290161 w 1706880"/>
                    <a:gd name="connsiteY30" fmla="*/ 612 h 885008"/>
                    <a:gd name="connsiteX31" fmla="*/ 1283970 w 1706880"/>
                    <a:gd name="connsiteY31" fmla="*/ 22996 h 885008"/>
                    <a:gd name="connsiteX0" fmla="*/ 1283970 w 1706880"/>
                    <a:gd name="connsiteY0" fmla="*/ 22384 h 884396"/>
                    <a:gd name="connsiteX1" fmla="*/ 1111568 w 1706880"/>
                    <a:gd name="connsiteY1" fmla="*/ 119063 h 884396"/>
                    <a:gd name="connsiteX2" fmla="*/ 1080611 w 1706880"/>
                    <a:gd name="connsiteY2" fmla="*/ 197644 h 884396"/>
                    <a:gd name="connsiteX3" fmla="*/ 1016318 w 1706880"/>
                    <a:gd name="connsiteY3" fmla="*/ 219075 h 884396"/>
                    <a:gd name="connsiteX4" fmla="*/ 987743 w 1706880"/>
                    <a:gd name="connsiteY4" fmla="*/ 133350 h 884396"/>
                    <a:gd name="connsiteX5" fmla="*/ 918687 w 1706880"/>
                    <a:gd name="connsiteY5" fmla="*/ 104775 h 884396"/>
                    <a:gd name="connsiteX6" fmla="*/ 875824 w 1706880"/>
                    <a:gd name="connsiteY6" fmla="*/ 150018 h 884396"/>
                    <a:gd name="connsiteX7" fmla="*/ 840106 w 1706880"/>
                    <a:gd name="connsiteY7" fmla="*/ 145256 h 884396"/>
                    <a:gd name="connsiteX8" fmla="*/ 816293 w 1706880"/>
                    <a:gd name="connsiteY8" fmla="*/ 197644 h 884396"/>
                    <a:gd name="connsiteX9" fmla="*/ 794861 w 1706880"/>
                    <a:gd name="connsiteY9" fmla="*/ 147637 h 884396"/>
                    <a:gd name="connsiteX10" fmla="*/ 716281 w 1706880"/>
                    <a:gd name="connsiteY10" fmla="*/ 183356 h 884396"/>
                    <a:gd name="connsiteX11" fmla="*/ 616267 w 1706880"/>
                    <a:gd name="connsiteY11" fmla="*/ 226219 h 884396"/>
                    <a:gd name="connsiteX12" fmla="*/ 601980 w 1706880"/>
                    <a:gd name="connsiteY12" fmla="*/ 250031 h 884396"/>
                    <a:gd name="connsiteX13" fmla="*/ 544830 w 1706880"/>
                    <a:gd name="connsiteY13" fmla="*/ 250031 h 884396"/>
                    <a:gd name="connsiteX14" fmla="*/ 511493 w 1706880"/>
                    <a:gd name="connsiteY14" fmla="*/ 226219 h 884396"/>
                    <a:gd name="connsiteX15" fmla="*/ 459104 w 1706880"/>
                    <a:gd name="connsiteY15" fmla="*/ 247650 h 884396"/>
                    <a:gd name="connsiteX16" fmla="*/ 406718 w 1706880"/>
                    <a:gd name="connsiteY16" fmla="*/ 242887 h 884396"/>
                    <a:gd name="connsiteX17" fmla="*/ 237649 w 1706880"/>
                    <a:gd name="connsiteY17" fmla="*/ 309562 h 884396"/>
                    <a:gd name="connsiteX18" fmla="*/ 173356 w 1706880"/>
                    <a:gd name="connsiteY18" fmla="*/ 404812 h 884396"/>
                    <a:gd name="connsiteX19" fmla="*/ 48577 w 1706880"/>
                    <a:gd name="connsiteY19" fmla="*/ 412432 h 884396"/>
                    <a:gd name="connsiteX20" fmla="*/ 0 w 1706880"/>
                    <a:gd name="connsiteY20" fmla="*/ 541496 h 884396"/>
                    <a:gd name="connsiteX21" fmla="*/ 129540 w 1706880"/>
                    <a:gd name="connsiteY21" fmla="*/ 762476 h 884396"/>
                    <a:gd name="connsiteX22" fmla="*/ 320040 w 1706880"/>
                    <a:gd name="connsiteY22" fmla="*/ 884396 h 884396"/>
                    <a:gd name="connsiteX23" fmla="*/ 800100 w 1706880"/>
                    <a:gd name="connsiteY23" fmla="*/ 869156 h 884396"/>
                    <a:gd name="connsiteX24" fmla="*/ 1455420 w 1706880"/>
                    <a:gd name="connsiteY24" fmla="*/ 480536 h 884396"/>
                    <a:gd name="connsiteX25" fmla="*/ 1524000 w 1706880"/>
                    <a:gd name="connsiteY25" fmla="*/ 427196 h 884396"/>
                    <a:gd name="connsiteX26" fmla="*/ 1691640 w 1706880"/>
                    <a:gd name="connsiteY26" fmla="*/ 320516 h 884396"/>
                    <a:gd name="connsiteX27" fmla="*/ 1706880 w 1706880"/>
                    <a:gd name="connsiteY27" fmla="*/ 190976 h 884396"/>
                    <a:gd name="connsiteX28" fmla="*/ 1645920 w 1706880"/>
                    <a:gd name="connsiteY28" fmla="*/ 61436 h 884396"/>
                    <a:gd name="connsiteX29" fmla="*/ 1456373 w 1706880"/>
                    <a:gd name="connsiteY29" fmla="*/ 73342 h 884396"/>
                    <a:gd name="connsiteX30" fmla="*/ 1375886 w 1706880"/>
                    <a:gd name="connsiteY30" fmla="*/ 19050 h 884396"/>
                    <a:gd name="connsiteX31" fmla="*/ 1290161 w 1706880"/>
                    <a:gd name="connsiteY31" fmla="*/ 0 h 884396"/>
                    <a:gd name="connsiteX32" fmla="*/ 1283970 w 1706880"/>
                    <a:gd name="connsiteY32" fmla="*/ 22384 h 884396"/>
                    <a:gd name="connsiteX0" fmla="*/ 1283970 w 1706880"/>
                    <a:gd name="connsiteY0" fmla="*/ 22384 h 884396"/>
                    <a:gd name="connsiteX1" fmla="*/ 1111568 w 1706880"/>
                    <a:gd name="connsiteY1" fmla="*/ 119063 h 884396"/>
                    <a:gd name="connsiteX2" fmla="*/ 1080611 w 1706880"/>
                    <a:gd name="connsiteY2" fmla="*/ 197644 h 884396"/>
                    <a:gd name="connsiteX3" fmla="*/ 1016318 w 1706880"/>
                    <a:gd name="connsiteY3" fmla="*/ 219075 h 884396"/>
                    <a:gd name="connsiteX4" fmla="*/ 987743 w 1706880"/>
                    <a:gd name="connsiteY4" fmla="*/ 133350 h 884396"/>
                    <a:gd name="connsiteX5" fmla="*/ 918687 w 1706880"/>
                    <a:gd name="connsiteY5" fmla="*/ 104775 h 884396"/>
                    <a:gd name="connsiteX6" fmla="*/ 875824 w 1706880"/>
                    <a:gd name="connsiteY6" fmla="*/ 150018 h 884396"/>
                    <a:gd name="connsiteX7" fmla="*/ 840106 w 1706880"/>
                    <a:gd name="connsiteY7" fmla="*/ 145256 h 884396"/>
                    <a:gd name="connsiteX8" fmla="*/ 816293 w 1706880"/>
                    <a:gd name="connsiteY8" fmla="*/ 197644 h 884396"/>
                    <a:gd name="connsiteX9" fmla="*/ 794861 w 1706880"/>
                    <a:gd name="connsiteY9" fmla="*/ 147637 h 884396"/>
                    <a:gd name="connsiteX10" fmla="*/ 716281 w 1706880"/>
                    <a:gd name="connsiteY10" fmla="*/ 183356 h 884396"/>
                    <a:gd name="connsiteX11" fmla="*/ 616267 w 1706880"/>
                    <a:gd name="connsiteY11" fmla="*/ 226219 h 884396"/>
                    <a:gd name="connsiteX12" fmla="*/ 601980 w 1706880"/>
                    <a:gd name="connsiteY12" fmla="*/ 250031 h 884396"/>
                    <a:gd name="connsiteX13" fmla="*/ 544830 w 1706880"/>
                    <a:gd name="connsiteY13" fmla="*/ 250031 h 884396"/>
                    <a:gd name="connsiteX14" fmla="*/ 511493 w 1706880"/>
                    <a:gd name="connsiteY14" fmla="*/ 226219 h 884396"/>
                    <a:gd name="connsiteX15" fmla="*/ 459104 w 1706880"/>
                    <a:gd name="connsiteY15" fmla="*/ 247650 h 884396"/>
                    <a:gd name="connsiteX16" fmla="*/ 406718 w 1706880"/>
                    <a:gd name="connsiteY16" fmla="*/ 242887 h 884396"/>
                    <a:gd name="connsiteX17" fmla="*/ 237649 w 1706880"/>
                    <a:gd name="connsiteY17" fmla="*/ 309562 h 884396"/>
                    <a:gd name="connsiteX18" fmla="*/ 173356 w 1706880"/>
                    <a:gd name="connsiteY18" fmla="*/ 404812 h 884396"/>
                    <a:gd name="connsiteX19" fmla="*/ 48577 w 1706880"/>
                    <a:gd name="connsiteY19" fmla="*/ 412432 h 884396"/>
                    <a:gd name="connsiteX20" fmla="*/ 0 w 1706880"/>
                    <a:gd name="connsiteY20" fmla="*/ 541496 h 884396"/>
                    <a:gd name="connsiteX21" fmla="*/ 129540 w 1706880"/>
                    <a:gd name="connsiteY21" fmla="*/ 762476 h 884396"/>
                    <a:gd name="connsiteX22" fmla="*/ 320040 w 1706880"/>
                    <a:gd name="connsiteY22" fmla="*/ 884396 h 884396"/>
                    <a:gd name="connsiteX23" fmla="*/ 800100 w 1706880"/>
                    <a:gd name="connsiteY23" fmla="*/ 869156 h 884396"/>
                    <a:gd name="connsiteX24" fmla="*/ 1455420 w 1706880"/>
                    <a:gd name="connsiteY24" fmla="*/ 480536 h 884396"/>
                    <a:gd name="connsiteX25" fmla="*/ 1524000 w 1706880"/>
                    <a:gd name="connsiteY25" fmla="*/ 427196 h 884396"/>
                    <a:gd name="connsiteX26" fmla="*/ 1691640 w 1706880"/>
                    <a:gd name="connsiteY26" fmla="*/ 320516 h 884396"/>
                    <a:gd name="connsiteX27" fmla="*/ 1706880 w 1706880"/>
                    <a:gd name="connsiteY27" fmla="*/ 190976 h 884396"/>
                    <a:gd name="connsiteX28" fmla="*/ 1645920 w 1706880"/>
                    <a:gd name="connsiteY28" fmla="*/ 61436 h 884396"/>
                    <a:gd name="connsiteX29" fmla="*/ 1456373 w 1706880"/>
                    <a:gd name="connsiteY29" fmla="*/ 73342 h 884396"/>
                    <a:gd name="connsiteX30" fmla="*/ 1368743 w 1706880"/>
                    <a:gd name="connsiteY30" fmla="*/ 73819 h 884396"/>
                    <a:gd name="connsiteX31" fmla="*/ 1375886 w 1706880"/>
                    <a:gd name="connsiteY31" fmla="*/ 19050 h 884396"/>
                    <a:gd name="connsiteX32" fmla="*/ 1290161 w 1706880"/>
                    <a:gd name="connsiteY32" fmla="*/ 0 h 884396"/>
                    <a:gd name="connsiteX33" fmla="*/ 1283970 w 1706880"/>
                    <a:gd name="connsiteY33" fmla="*/ 22384 h 884396"/>
                    <a:gd name="connsiteX0" fmla="*/ 1283970 w 1706880"/>
                    <a:gd name="connsiteY0" fmla="*/ 22384 h 884396"/>
                    <a:gd name="connsiteX1" fmla="*/ 1111568 w 1706880"/>
                    <a:gd name="connsiteY1" fmla="*/ 119063 h 884396"/>
                    <a:gd name="connsiteX2" fmla="*/ 1080611 w 1706880"/>
                    <a:gd name="connsiteY2" fmla="*/ 197644 h 884396"/>
                    <a:gd name="connsiteX3" fmla="*/ 1016318 w 1706880"/>
                    <a:gd name="connsiteY3" fmla="*/ 219075 h 884396"/>
                    <a:gd name="connsiteX4" fmla="*/ 987743 w 1706880"/>
                    <a:gd name="connsiteY4" fmla="*/ 133350 h 884396"/>
                    <a:gd name="connsiteX5" fmla="*/ 918687 w 1706880"/>
                    <a:gd name="connsiteY5" fmla="*/ 104775 h 884396"/>
                    <a:gd name="connsiteX6" fmla="*/ 875824 w 1706880"/>
                    <a:gd name="connsiteY6" fmla="*/ 150018 h 884396"/>
                    <a:gd name="connsiteX7" fmla="*/ 840106 w 1706880"/>
                    <a:gd name="connsiteY7" fmla="*/ 145256 h 884396"/>
                    <a:gd name="connsiteX8" fmla="*/ 816293 w 1706880"/>
                    <a:gd name="connsiteY8" fmla="*/ 197644 h 884396"/>
                    <a:gd name="connsiteX9" fmla="*/ 794861 w 1706880"/>
                    <a:gd name="connsiteY9" fmla="*/ 147637 h 884396"/>
                    <a:gd name="connsiteX10" fmla="*/ 716281 w 1706880"/>
                    <a:gd name="connsiteY10" fmla="*/ 183356 h 884396"/>
                    <a:gd name="connsiteX11" fmla="*/ 616267 w 1706880"/>
                    <a:gd name="connsiteY11" fmla="*/ 226219 h 884396"/>
                    <a:gd name="connsiteX12" fmla="*/ 601980 w 1706880"/>
                    <a:gd name="connsiteY12" fmla="*/ 250031 h 884396"/>
                    <a:gd name="connsiteX13" fmla="*/ 544830 w 1706880"/>
                    <a:gd name="connsiteY13" fmla="*/ 250031 h 884396"/>
                    <a:gd name="connsiteX14" fmla="*/ 511493 w 1706880"/>
                    <a:gd name="connsiteY14" fmla="*/ 226219 h 884396"/>
                    <a:gd name="connsiteX15" fmla="*/ 459104 w 1706880"/>
                    <a:gd name="connsiteY15" fmla="*/ 247650 h 884396"/>
                    <a:gd name="connsiteX16" fmla="*/ 406718 w 1706880"/>
                    <a:gd name="connsiteY16" fmla="*/ 242887 h 884396"/>
                    <a:gd name="connsiteX17" fmla="*/ 237649 w 1706880"/>
                    <a:gd name="connsiteY17" fmla="*/ 309562 h 884396"/>
                    <a:gd name="connsiteX18" fmla="*/ 173356 w 1706880"/>
                    <a:gd name="connsiteY18" fmla="*/ 404812 h 884396"/>
                    <a:gd name="connsiteX19" fmla="*/ 48577 w 1706880"/>
                    <a:gd name="connsiteY19" fmla="*/ 412432 h 884396"/>
                    <a:gd name="connsiteX20" fmla="*/ 0 w 1706880"/>
                    <a:gd name="connsiteY20" fmla="*/ 541496 h 884396"/>
                    <a:gd name="connsiteX21" fmla="*/ 129540 w 1706880"/>
                    <a:gd name="connsiteY21" fmla="*/ 762476 h 884396"/>
                    <a:gd name="connsiteX22" fmla="*/ 320040 w 1706880"/>
                    <a:gd name="connsiteY22" fmla="*/ 884396 h 884396"/>
                    <a:gd name="connsiteX23" fmla="*/ 800100 w 1706880"/>
                    <a:gd name="connsiteY23" fmla="*/ 869156 h 884396"/>
                    <a:gd name="connsiteX24" fmla="*/ 1455420 w 1706880"/>
                    <a:gd name="connsiteY24" fmla="*/ 480536 h 884396"/>
                    <a:gd name="connsiteX25" fmla="*/ 1524000 w 1706880"/>
                    <a:gd name="connsiteY25" fmla="*/ 427196 h 884396"/>
                    <a:gd name="connsiteX26" fmla="*/ 1691640 w 1706880"/>
                    <a:gd name="connsiteY26" fmla="*/ 320516 h 884396"/>
                    <a:gd name="connsiteX27" fmla="*/ 1706880 w 1706880"/>
                    <a:gd name="connsiteY27" fmla="*/ 190976 h 884396"/>
                    <a:gd name="connsiteX28" fmla="*/ 1519714 w 1706880"/>
                    <a:gd name="connsiteY28" fmla="*/ 137636 h 884396"/>
                    <a:gd name="connsiteX29" fmla="*/ 1456373 w 1706880"/>
                    <a:gd name="connsiteY29" fmla="*/ 73342 h 884396"/>
                    <a:gd name="connsiteX30" fmla="*/ 1368743 w 1706880"/>
                    <a:gd name="connsiteY30" fmla="*/ 73819 h 884396"/>
                    <a:gd name="connsiteX31" fmla="*/ 1375886 w 1706880"/>
                    <a:gd name="connsiteY31" fmla="*/ 19050 h 884396"/>
                    <a:gd name="connsiteX32" fmla="*/ 1290161 w 1706880"/>
                    <a:gd name="connsiteY32" fmla="*/ 0 h 884396"/>
                    <a:gd name="connsiteX33" fmla="*/ 1283970 w 1706880"/>
                    <a:gd name="connsiteY33" fmla="*/ 22384 h 884396"/>
                    <a:gd name="connsiteX0" fmla="*/ 1283970 w 1706880"/>
                    <a:gd name="connsiteY0" fmla="*/ 22384 h 884396"/>
                    <a:gd name="connsiteX1" fmla="*/ 1111568 w 1706880"/>
                    <a:gd name="connsiteY1" fmla="*/ 119063 h 884396"/>
                    <a:gd name="connsiteX2" fmla="*/ 1080611 w 1706880"/>
                    <a:gd name="connsiteY2" fmla="*/ 197644 h 884396"/>
                    <a:gd name="connsiteX3" fmla="*/ 1016318 w 1706880"/>
                    <a:gd name="connsiteY3" fmla="*/ 219075 h 884396"/>
                    <a:gd name="connsiteX4" fmla="*/ 987743 w 1706880"/>
                    <a:gd name="connsiteY4" fmla="*/ 133350 h 884396"/>
                    <a:gd name="connsiteX5" fmla="*/ 918687 w 1706880"/>
                    <a:gd name="connsiteY5" fmla="*/ 104775 h 884396"/>
                    <a:gd name="connsiteX6" fmla="*/ 875824 w 1706880"/>
                    <a:gd name="connsiteY6" fmla="*/ 150018 h 884396"/>
                    <a:gd name="connsiteX7" fmla="*/ 840106 w 1706880"/>
                    <a:gd name="connsiteY7" fmla="*/ 145256 h 884396"/>
                    <a:gd name="connsiteX8" fmla="*/ 816293 w 1706880"/>
                    <a:gd name="connsiteY8" fmla="*/ 197644 h 884396"/>
                    <a:gd name="connsiteX9" fmla="*/ 794861 w 1706880"/>
                    <a:gd name="connsiteY9" fmla="*/ 147637 h 884396"/>
                    <a:gd name="connsiteX10" fmla="*/ 716281 w 1706880"/>
                    <a:gd name="connsiteY10" fmla="*/ 183356 h 884396"/>
                    <a:gd name="connsiteX11" fmla="*/ 616267 w 1706880"/>
                    <a:gd name="connsiteY11" fmla="*/ 226219 h 884396"/>
                    <a:gd name="connsiteX12" fmla="*/ 601980 w 1706880"/>
                    <a:gd name="connsiteY12" fmla="*/ 250031 h 884396"/>
                    <a:gd name="connsiteX13" fmla="*/ 544830 w 1706880"/>
                    <a:gd name="connsiteY13" fmla="*/ 250031 h 884396"/>
                    <a:gd name="connsiteX14" fmla="*/ 511493 w 1706880"/>
                    <a:gd name="connsiteY14" fmla="*/ 226219 h 884396"/>
                    <a:gd name="connsiteX15" fmla="*/ 459104 w 1706880"/>
                    <a:gd name="connsiteY15" fmla="*/ 247650 h 884396"/>
                    <a:gd name="connsiteX16" fmla="*/ 406718 w 1706880"/>
                    <a:gd name="connsiteY16" fmla="*/ 242887 h 884396"/>
                    <a:gd name="connsiteX17" fmla="*/ 237649 w 1706880"/>
                    <a:gd name="connsiteY17" fmla="*/ 309562 h 884396"/>
                    <a:gd name="connsiteX18" fmla="*/ 173356 w 1706880"/>
                    <a:gd name="connsiteY18" fmla="*/ 404812 h 884396"/>
                    <a:gd name="connsiteX19" fmla="*/ 48577 w 1706880"/>
                    <a:gd name="connsiteY19" fmla="*/ 412432 h 884396"/>
                    <a:gd name="connsiteX20" fmla="*/ 0 w 1706880"/>
                    <a:gd name="connsiteY20" fmla="*/ 541496 h 884396"/>
                    <a:gd name="connsiteX21" fmla="*/ 129540 w 1706880"/>
                    <a:gd name="connsiteY21" fmla="*/ 762476 h 884396"/>
                    <a:gd name="connsiteX22" fmla="*/ 320040 w 1706880"/>
                    <a:gd name="connsiteY22" fmla="*/ 884396 h 884396"/>
                    <a:gd name="connsiteX23" fmla="*/ 800100 w 1706880"/>
                    <a:gd name="connsiteY23" fmla="*/ 869156 h 884396"/>
                    <a:gd name="connsiteX24" fmla="*/ 1455420 w 1706880"/>
                    <a:gd name="connsiteY24" fmla="*/ 480536 h 884396"/>
                    <a:gd name="connsiteX25" fmla="*/ 1524000 w 1706880"/>
                    <a:gd name="connsiteY25" fmla="*/ 427196 h 884396"/>
                    <a:gd name="connsiteX26" fmla="*/ 1691640 w 1706880"/>
                    <a:gd name="connsiteY26" fmla="*/ 320516 h 884396"/>
                    <a:gd name="connsiteX27" fmla="*/ 1706880 w 1706880"/>
                    <a:gd name="connsiteY27" fmla="*/ 190976 h 884396"/>
                    <a:gd name="connsiteX28" fmla="*/ 1519714 w 1706880"/>
                    <a:gd name="connsiteY28" fmla="*/ 137636 h 884396"/>
                    <a:gd name="connsiteX29" fmla="*/ 1456373 w 1706880"/>
                    <a:gd name="connsiteY29" fmla="*/ 73342 h 884396"/>
                    <a:gd name="connsiteX30" fmla="*/ 1368743 w 1706880"/>
                    <a:gd name="connsiteY30" fmla="*/ 73819 h 884396"/>
                    <a:gd name="connsiteX31" fmla="*/ 1375886 w 1706880"/>
                    <a:gd name="connsiteY31" fmla="*/ 19050 h 884396"/>
                    <a:gd name="connsiteX32" fmla="*/ 1290161 w 1706880"/>
                    <a:gd name="connsiteY32" fmla="*/ 0 h 884396"/>
                    <a:gd name="connsiteX33" fmla="*/ 1283970 w 1706880"/>
                    <a:gd name="connsiteY33" fmla="*/ 22384 h 884396"/>
                    <a:gd name="connsiteX0" fmla="*/ 1283970 w 1691640"/>
                    <a:gd name="connsiteY0" fmla="*/ 22384 h 884396"/>
                    <a:gd name="connsiteX1" fmla="*/ 1111568 w 1691640"/>
                    <a:gd name="connsiteY1" fmla="*/ 119063 h 884396"/>
                    <a:gd name="connsiteX2" fmla="*/ 1080611 w 1691640"/>
                    <a:gd name="connsiteY2" fmla="*/ 197644 h 884396"/>
                    <a:gd name="connsiteX3" fmla="*/ 1016318 w 1691640"/>
                    <a:gd name="connsiteY3" fmla="*/ 219075 h 884396"/>
                    <a:gd name="connsiteX4" fmla="*/ 987743 w 1691640"/>
                    <a:gd name="connsiteY4" fmla="*/ 133350 h 884396"/>
                    <a:gd name="connsiteX5" fmla="*/ 918687 w 1691640"/>
                    <a:gd name="connsiteY5" fmla="*/ 104775 h 884396"/>
                    <a:gd name="connsiteX6" fmla="*/ 875824 w 1691640"/>
                    <a:gd name="connsiteY6" fmla="*/ 150018 h 884396"/>
                    <a:gd name="connsiteX7" fmla="*/ 840106 w 1691640"/>
                    <a:gd name="connsiteY7" fmla="*/ 145256 h 884396"/>
                    <a:gd name="connsiteX8" fmla="*/ 816293 w 1691640"/>
                    <a:gd name="connsiteY8" fmla="*/ 197644 h 884396"/>
                    <a:gd name="connsiteX9" fmla="*/ 794861 w 1691640"/>
                    <a:gd name="connsiteY9" fmla="*/ 147637 h 884396"/>
                    <a:gd name="connsiteX10" fmla="*/ 716281 w 1691640"/>
                    <a:gd name="connsiteY10" fmla="*/ 183356 h 884396"/>
                    <a:gd name="connsiteX11" fmla="*/ 616267 w 1691640"/>
                    <a:gd name="connsiteY11" fmla="*/ 226219 h 884396"/>
                    <a:gd name="connsiteX12" fmla="*/ 601980 w 1691640"/>
                    <a:gd name="connsiteY12" fmla="*/ 250031 h 884396"/>
                    <a:gd name="connsiteX13" fmla="*/ 544830 w 1691640"/>
                    <a:gd name="connsiteY13" fmla="*/ 250031 h 884396"/>
                    <a:gd name="connsiteX14" fmla="*/ 511493 w 1691640"/>
                    <a:gd name="connsiteY14" fmla="*/ 226219 h 884396"/>
                    <a:gd name="connsiteX15" fmla="*/ 459104 w 1691640"/>
                    <a:gd name="connsiteY15" fmla="*/ 247650 h 884396"/>
                    <a:gd name="connsiteX16" fmla="*/ 406718 w 1691640"/>
                    <a:gd name="connsiteY16" fmla="*/ 242887 h 884396"/>
                    <a:gd name="connsiteX17" fmla="*/ 237649 w 1691640"/>
                    <a:gd name="connsiteY17" fmla="*/ 309562 h 884396"/>
                    <a:gd name="connsiteX18" fmla="*/ 173356 w 1691640"/>
                    <a:gd name="connsiteY18" fmla="*/ 404812 h 884396"/>
                    <a:gd name="connsiteX19" fmla="*/ 48577 w 1691640"/>
                    <a:gd name="connsiteY19" fmla="*/ 412432 h 884396"/>
                    <a:gd name="connsiteX20" fmla="*/ 0 w 1691640"/>
                    <a:gd name="connsiteY20" fmla="*/ 541496 h 884396"/>
                    <a:gd name="connsiteX21" fmla="*/ 129540 w 1691640"/>
                    <a:gd name="connsiteY21" fmla="*/ 762476 h 884396"/>
                    <a:gd name="connsiteX22" fmla="*/ 320040 w 1691640"/>
                    <a:gd name="connsiteY22" fmla="*/ 884396 h 884396"/>
                    <a:gd name="connsiteX23" fmla="*/ 800100 w 1691640"/>
                    <a:gd name="connsiteY23" fmla="*/ 869156 h 884396"/>
                    <a:gd name="connsiteX24" fmla="*/ 1455420 w 1691640"/>
                    <a:gd name="connsiteY24" fmla="*/ 480536 h 884396"/>
                    <a:gd name="connsiteX25" fmla="*/ 1524000 w 1691640"/>
                    <a:gd name="connsiteY25" fmla="*/ 427196 h 884396"/>
                    <a:gd name="connsiteX26" fmla="*/ 1691640 w 1691640"/>
                    <a:gd name="connsiteY26" fmla="*/ 320516 h 884396"/>
                    <a:gd name="connsiteX27" fmla="*/ 1540192 w 1691640"/>
                    <a:gd name="connsiteY27" fmla="*/ 219551 h 884396"/>
                    <a:gd name="connsiteX28" fmla="*/ 1519714 w 1691640"/>
                    <a:gd name="connsiteY28" fmla="*/ 137636 h 884396"/>
                    <a:gd name="connsiteX29" fmla="*/ 1456373 w 1691640"/>
                    <a:gd name="connsiteY29" fmla="*/ 73342 h 884396"/>
                    <a:gd name="connsiteX30" fmla="*/ 1368743 w 1691640"/>
                    <a:gd name="connsiteY30" fmla="*/ 73819 h 884396"/>
                    <a:gd name="connsiteX31" fmla="*/ 1375886 w 1691640"/>
                    <a:gd name="connsiteY31" fmla="*/ 19050 h 884396"/>
                    <a:gd name="connsiteX32" fmla="*/ 1290161 w 1691640"/>
                    <a:gd name="connsiteY32" fmla="*/ 0 h 884396"/>
                    <a:gd name="connsiteX33" fmla="*/ 1283970 w 1691640"/>
                    <a:gd name="connsiteY33" fmla="*/ 22384 h 884396"/>
                    <a:gd name="connsiteX0" fmla="*/ 1283970 w 1691640"/>
                    <a:gd name="connsiteY0" fmla="*/ 22384 h 884396"/>
                    <a:gd name="connsiteX1" fmla="*/ 1111568 w 1691640"/>
                    <a:gd name="connsiteY1" fmla="*/ 119063 h 884396"/>
                    <a:gd name="connsiteX2" fmla="*/ 1080611 w 1691640"/>
                    <a:gd name="connsiteY2" fmla="*/ 197644 h 884396"/>
                    <a:gd name="connsiteX3" fmla="*/ 1016318 w 1691640"/>
                    <a:gd name="connsiteY3" fmla="*/ 219075 h 884396"/>
                    <a:gd name="connsiteX4" fmla="*/ 987743 w 1691640"/>
                    <a:gd name="connsiteY4" fmla="*/ 133350 h 884396"/>
                    <a:gd name="connsiteX5" fmla="*/ 918687 w 1691640"/>
                    <a:gd name="connsiteY5" fmla="*/ 104775 h 884396"/>
                    <a:gd name="connsiteX6" fmla="*/ 875824 w 1691640"/>
                    <a:gd name="connsiteY6" fmla="*/ 150018 h 884396"/>
                    <a:gd name="connsiteX7" fmla="*/ 840106 w 1691640"/>
                    <a:gd name="connsiteY7" fmla="*/ 145256 h 884396"/>
                    <a:gd name="connsiteX8" fmla="*/ 816293 w 1691640"/>
                    <a:gd name="connsiteY8" fmla="*/ 197644 h 884396"/>
                    <a:gd name="connsiteX9" fmla="*/ 794861 w 1691640"/>
                    <a:gd name="connsiteY9" fmla="*/ 147637 h 884396"/>
                    <a:gd name="connsiteX10" fmla="*/ 716281 w 1691640"/>
                    <a:gd name="connsiteY10" fmla="*/ 183356 h 884396"/>
                    <a:gd name="connsiteX11" fmla="*/ 616267 w 1691640"/>
                    <a:gd name="connsiteY11" fmla="*/ 226219 h 884396"/>
                    <a:gd name="connsiteX12" fmla="*/ 601980 w 1691640"/>
                    <a:gd name="connsiteY12" fmla="*/ 250031 h 884396"/>
                    <a:gd name="connsiteX13" fmla="*/ 544830 w 1691640"/>
                    <a:gd name="connsiteY13" fmla="*/ 250031 h 884396"/>
                    <a:gd name="connsiteX14" fmla="*/ 511493 w 1691640"/>
                    <a:gd name="connsiteY14" fmla="*/ 226219 h 884396"/>
                    <a:gd name="connsiteX15" fmla="*/ 459104 w 1691640"/>
                    <a:gd name="connsiteY15" fmla="*/ 247650 h 884396"/>
                    <a:gd name="connsiteX16" fmla="*/ 406718 w 1691640"/>
                    <a:gd name="connsiteY16" fmla="*/ 242887 h 884396"/>
                    <a:gd name="connsiteX17" fmla="*/ 237649 w 1691640"/>
                    <a:gd name="connsiteY17" fmla="*/ 309562 h 884396"/>
                    <a:gd name="connsiteX18" fmla="*/ 173356 w 1691640"/>
                    <a:gd name="connsiteY18" fmla="*/ 404812 h 884396"/>
                    <a:gd name="connsiteX19" fmla="*/ 48577 w 1691640"/>
                    <a:gd name="connsiteY19" fmla="*/ 412432 h 884396"/>
                    <a:gd name="connsiteX20" fmla="*/ 0 w 1691640"/>
                    <a:gd name="connsiteY20" fmla="*/ 541496 h 884396"/>
                    <a:gd name="connsiteX21" fmla="*/ 129540 w 1691640"/>
                    <a:gd name="connsiteY21" fmla="*/ 762476 h 884396"/>
                    <a:gd name="connsiteX22" fmla="*/ 320040 w 1691640"/>
                    <a:gd name="connsiteY22" fmla="*/ 884396 h 884396"/>
                    <a:gd name="connsiteX23" fmla="*/ 800100 w 1691640"/>
                    <a:gd name="connsiteY23" fmla="*/ 869156 h 884396"/>
                    <a:gd name="connsiteX24" fmla="*/ 1455420 w 1691640"/>
                    <a:gd name="connsiteY24" fmla="*/ 480536 h 884396"/>
                    <a:gd name="connsiteX25" fmla="*/ 1524000 w 1691640"/>
                    <a:gd name="connsiteY25" fmla="*/ 427196 h 884396"/>
                    <a:gd name="connsiteX26" fmla="*/ 1691640 w 1691640"/>
                    <a:gd name="connsiteY26" fmla="*/ 320516 h 884396"/>
                    <a:gd name="connsiteX27" fmla="*/ 1540192 w 1691640"/>
                    <a:gd name="connsiteY27" fmla="*/ 219551 h 884396"/>
                    <a:gd name="connsiteX28" fmla="*/ 1504474 w 1691640"/>
                    <a:gd name="connsiteY28" fmla="*/ 195262 h 884396"/>
                    <a:gd name="connsiteX29" fmla="*/ 1519714 w 1691640"/>
                    <a:gd name="connsiteY29" fmla="*/ 137636 h 884396"/>
                    <a:gd name="connsiteX30" fmla="*/ 1456373 w 1691640"/>
                    <a:gd name="connsiteY30" fmla="*/ 73342 h 884396"/>
                    <a:gd name="connsiteX31" fmla="*/ 1368743 w 1691640"/>
                    <a:gd name="connsiteY31" fmla="*/ 73819 h 884396"/>
                    <a:gd name="connsiteX32" fmla="*/ 1375886 w 1691640"/>
                    <a:gd name="connsiteY32" fmla="*/ 19050 h 884396"/>
                    <a:gd name="connsiteX33" fmla="*/ 1290161 w 1691640"/>
                    <a:gd name="connsiteY33" fmla="*/ 0 h 884396"/>
                    <a:gd name="connsiteX34" fmla="*/ 1283970 w 1691640"/>
                    <a:gd name="connsiteY34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800100 w 1540192"/>
                    <a:gd name="connsiteY23" fmla="*/ 869156 h 884396"/>
                    <a:gd name="connsiteX24" fmla="*/ 1455420 w 1540192"/>
                    <a:gd name="connsiteY24" fmla="*/ 480536 h 884396"/>
                    <a:gd name="connsiteX25" fmla="*/ 1524000 w 1540192"/>
                    <a:gd name="connsiteY25" fmla="*/ 427196 h 884396"/>
                    <a:gd name="connsiteX26" fmla="*/ 1527333 w 1540192"/>
                    <a:gd name="connsiteY26" fmla="*/ 258603 h 884396"/>
                    <a:gd name="connsiteX27" fmla="*/ 1540192 w 1540192"/>
                    <a:gd name="connsiteY27" fmla="*/ 219551 h 884396"/>
                    <a:gd name="connsiteX28" fmla="*/ 1504474 w 1540192"/>
                    <a:gd name="connsiteY28" fmla="*/ 195262 h 884396"/>
                    <a:gd name="connsiteX29" fmla="*/ 1519714 w 1540192"/>
                    <a:gd name="connsiteY29" fmla="*/ 137636 h 884396"/>
                    <a:gd name="connsiteX30" fmla="*/ 1456373 w 1540192"/>
                    <a:gd name="connsiteY30" fmla="*/ 73342 h 884396"/>
                    <a:gd name="connsiteX31" fmla="*/ 1368743 w 1540192"/>
                    <a:gd name="connsiteY31" fmla="*/ 73819 h 884396"/>
                    <a:gd name="connsiteX32" fmla="*/ 1375886 w 1540192"/>
                    <a:gd name="connsiteY32" fmla="*/ 19050 h 884396"/>
                    <a:gd name="connsiteX33" fmla="*/ 1290161 w 1540192"/>
                    <a:gd name="connsiteY33" fmla="*/ 0 h 884396"/>
                    <a:gd name="connsiteX34" fmla="*/ 1283970 w 1540192"/>
                    <a:gd name="connsiteY34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800100 w 1540192"/>
                    <a:gd name="connsiteY23" fmla="*/ 869156 h 884396"/>
                    <a:gd name="connsiteX24" fmla="*/ 1455420 w 1540192"/>
                    <a:gd name="connsiteY24" fmla="*/ 480536 h 884396"/>
                    <a:gd name="connsiteX25" fmla="*/ 1223963 w 1540192"/>
                    <a:gd name="connsiteY25" fmla="*/ 434340 h 884396"/>
                    <a:gd name="connsiteX26" fmla="*/ 1527333 w 1540192"/>
                    <a:gd name="connsiteY26" fmla="*/ 258603 h 884396"/>
                    <a:gd name="connsiteX27" fmla="*/ 1540192 w 1540192"/>
                    <a:gd name="connsiteY27" fmla="*/ 219551 h 884396"/>
                    <a:gd name="connsiteX28" fmla="*/ 1504474 w 1540192"/>
                    <a:gd name="connsiteY28" fmla="*/ 195262 h 884396"/>
                    <a:gd name="connsiteX29" fmla="*/ 1519714 w 1540192"/>
                    <a:gd name="connsiteY29" fmla="*/ 137636 h 884396"/>
                    <a:gd name="connsiteX30" fmla="*/ 1456373 w 1540192"/>
                    <a:gd name="connsiteY30" fmla="*/ 73342 h 884396"/>
                    <a:gd name="connsiteX31" fmla="*/ 1368743 w 1540192"/>
                    <a:gd name="connsiteY31" fmla="*/ 73819 h 884396"/>
                    <a:gd name="connsiteX32" fmla="*/ 1375886 w 1540192"/>
                    <a:gd name="connsiteY32" fmla="*/ 19050 h 884396"/>
                    <a:gd name="connsiteX33" fmla="*/ 1290161 w 1540192"/>
                    <a:gd name="connsiteY33" fmla="*/ 0 h 884396"/>
                    <a:gd name="connsiteX34" fmla="*/ 1283970 w 1540192"/>
                    <a:gd name="connsiteY34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800100 w 1540192"/>
                    <a:gd name="connsiteY23" fmla="*/ 869156 h 884396"/>
                    <a:gd name="connsiteX24" fmla="*/ 1455420 w 1540192"/>
                    <a:gd name="connsiteY24" fmla="*/ 480536 h 884396"/>
                    <a:gd name="connsiteX25" fmla="*/ 1223963 w 1540192"/>
                    <a:gd name="connsiteY25" fmla="*/ 434340 h 884396"/>
                    <a:gd name="connsiteX26" fmla="*/ 1459230 w 1540192"/>
                    <a:gd name="connsiteY26" fmla="*/ 276225 h 884396"/>
                    <a:gd name="connsiteX27" fmla="*/ 1527333 w 1540192"/>
                    <a:gd name="connsiteY27" fmla="*/ 258603 h 884396"/>
                    <a:gd name="connsiteX28" fmla="*/ 1540192 w 1540192"/>
                    <a:gd name="connsiteY28" fmla="*/ 219551 h 884396"/>
                    <a:gd name="connsiteX29" fmla="*/ 1504474 w 1540192"/>
                    <a:gd name="connsiteY29" fmla="*/ 195262 h 884396"/>
                    <a:gd name="connsiteX30" fmla="*/ 1519714 w 1540192"/>
                    <a:gd name="connsiteY30" fmla="*/ 137636 h 884396"/>
                    <a:gd name="connsiteX31" fmla="*/ 1456373 w 1540192"/>
                    <a:gd name="connsiteY31" fmla="*/ 73342 h 884396"/>
                    <a:gd name="connsiteX32" fmla="*/ 1368743 w 1540192"/>
                    <a:gd name="connsiteY32" fmla="*/ 73819 h 884396"/>
                    <a:gd name="connsiteX33" fmla="*/ 1375886 w 1540192"/>
                    <a:gd name="connsiteY33" fmla="*/ 19050 h 884396"/>
                    <a:gd name="connsiteX34" fmla="*/ 1290161 w 1540192"/>
                    <a:gd name="connsiteY34" fmla="*/ 0 h 884396"/>
                    <a:gd name="connsiteX35" fmla="*/ 1283970 w 1540192"/>
                    <a:gd name="connsiteY35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800100 w 1540192"/>
                    <a:gd name="connsiteY23" fmla="*/ 869156 h 884396"/>
                    <a:gd name="connsiteX24" fmla="*/ 1455420 w 1540192"/>
                    <a:gd name="connsiteY24" fmla="*/ 480536 h 884396"/>
                    <a:gd name="connsiteX25" fmla="*/ 1223963 w 1540192"/>
                    <a:gd name="connsiteY25" fmla="*/ 434340 h 884396"/>
                    <a:gd name="connsiteX26" fmla="*/ 1366361 w 1540192"/>
                    <a:gd name="connsiteY26" fmla="*/ 352425 h 884396"/>
                    <a:gd name="connsiteX27" fmla="*/ 1459230 w 1540192"/>
                    <a:gd name="connsiteY27" fmla="*/ 276225 h 884396"/>
                    <a:gd name="connsiteX28" fmla="*/ 1527333 w 1540192"/>
                    <a:gd name="connsiteY28" fmla="*/ 258603 h 884396"/>
                    <a:gd name="connsiteX29" fmla="*/ 1540192 w 1540192"/>
                    <a:gd name="connsiteY29" fmla="*/ 219551 h 884396"/>
                    <a:gd name="connsiteX30" fmla="*/ 1504474 w 1540192"/>
                    <a:gd name="connsiteY30" fmla="*/ 195262 h 884396"/>
                    <a:gd name="connsiteX31" fmla="*/ 1519714 w 1540192"/>
                    <a:gd name="connsiteY31" fmla="*/ 137636 h 884396"/>
                    <a:gd name="connsiteX32" fmla="*/ 1456373 w 1540192"/>
                    <a:gd name="connsiteY32" fmla="*/ 73342 h 884396"/>
                    <a:gd name="connsiteX33" fmla="*/ 1368743 w 1540192"/>
                    <a:gd name="connsiteY33" fmla="*/ 73819 h 884396"/>
                    <a:gd name="connsiteX34" fmla="*/ 1375886 w 1540192"/>
                    <a:gd name="connsiteY34" fmla="*/ 19050 h 884396"/>
                    <a:gd name="connsiteX35" fmla="*/ 1290161 w 1540192"/>
                    <a:gd name="connsiteY35" fmla="*/ 0 h 884396"/>
                    <a:gd name="connsiteX36" fmla="*/ 1283970 w 1540192"/>
                    <a:gd name="connsiteY36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800100 w 1540192"/>
                    <a:gd name="connsiteY23" fmla="*/ 869156 h 884396"/>
                    <a:gd name="connsiteX24" fmla="*/ 1029177 w 1540192"/>
                    <a:gd name="connsiteY24" fmla="*/ 504348 h 884396"/>
                    <a:gd name="connsiteX25" fmla="*/ 1223963 w 1540192"/>
                    <a:gd name="connsiteY25" fmla="*/ 434340 h 884396"/>
                    <a:gd name="connsiteX26" fmla="*/ 1366361 w 1540192"/>
                    <a:gd name="connsiteY26" fmla="*/ 352425 h 884396"/>
                    <a:gd name="connsiteX27" fmla="*/ 1459230 w 1540192"/>
                    <a:gd name="connsiteY27" fmla="*/ 276225 h 884396"/>
                    <a:gd name="connsiteX28" fmla="*/ 1527333 w 1540192"/>
                    <a:gd name="connsiteY28" fmla="*/ 258603 h 884396"/>
                    <a:gd name="connsiteX29" fmla="*/ 1540192 w 1540192"/>
                    <a:gd name="connsiteY29" fmla="*/ 219551 h 884396"/>
                    <a:gd name="connsiteX30" fmla="*/ 1504474 w 1540192"/>
                    <a:gd name="connsiteY30" fmla="*/ 195262 h 884396"/>
                    <a:gd name="connsiteX31" fmla="*/ 1519714 w 1540192"/>
                    <a:gd name="connsiteY31" fmla="*/ 137636 h 884396"/>
                    <a:gd name="connsiteX32" fmla="*/ 1456373 w 1540192"/>
                    <a:gd name="connsiteY32" fmla="*/ 73342 h 884396"/>
                    <a:gd name="connsiteX33" fmla="*/ 1368743 w 1540192"/>
                    <a:gd name="connsiteY33" fmla="*/ 73819 h 884396"/>
                    <a:gd name="connsiteX34" fmla="*/ 1375886 w 1540192"/>
                    <a:gd name="connsiteY34" fmla="*/ 19050 h 884396"/>
                    <a:gd name="connsiteX35" fmla="*/ 1290161 w 1540192"/>
                    <a:gd name="connsiteY35" fmla="*/ 0 h 884396"/>
                    <a:gd name="connsiteX36" fmla="*/ 1283970 w 1540192"/>
                    <a:gd name="connsiteY36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800100 w 1540192"/>
                    <a:gd name="connsiteY23" fmla="*/ 869156 h 884396"/>
                    <a:gd name="connsiteX24" fmla="*/ 1029177 w 1540192"/>
                    <a:gd name="connsiteY24" fmla="*/ 504348 h 884396"/>
                    <a:gd name="connsiteX25" fmla="*/ 1223963 w 1540192"/>
                    <a:gd name="connsiteY25" fmla="*/ 434340 h 884396"/>
                    <a:gd name="connsiteX26" fmla="*/ 1292543 w 1540192"/>
                    <a:gd name="connsiteY26" fmla="*/ 414337 h 884396"/>
                    <a:gd name="connsiteX27" fmla="*/ 1366361 w 1540192"/>
                    <a:gd name="connsiteY27" fmla="*/ 352425 h 884396"/>
                    <a:gd name="connsiteX28" fmla="*/ 1459230 w 1540192"/>
                    <a:gd name="connsiteY28" fmla="*/ 276225 h 884396"/>
                    <a:gd name="connsiteX29" fmla="*/ 1527333 w 1540192"/>
                    <a:gd name="connsiteY29" fmla="*/ 258603 h 884396"/>
                    <a:gd name="connsiteX30" fmla="*/ 1540192 w 1540192"/>
                    <a:gd name="connsiteY30" fmla="*/ 219551 h 884396"/>
                    <a:gd name="connsiteX31" fmla="*/ 1504474 w 1540192"/>
                    <a:gd name="connsiteY31" fmla="*/ 195262 h 884396"/>
                    <a:gd name="connsiteX32" fmla="*/ 1519714 w 1540192"/>
                    <a:gd name="connsiteY32" fmla="*/ 137636 h 884396"/>
                    <a:gd name="connsiteX33" fmla="*/ 1456373 w 1540192"/>
                    <a:gd name="connsiteY33" fmla="*/ 73342 h 884396"/>
                    <a:gd name="connsiteX34" fmla="*/ 1368743 w 1540192"/>
                    <a:gd name="connsiteY34" fmla="*/ 73819 h 884396"/>
                    <a:gd name="connsiteX35" fmla="*/ 1375886 w 1540192"/>
                    <a:gd name="connsiteY35" fmla="*/ 19050 h 884396"/>
                    <a:gd name="connsiteX36" fmla="*/ 1290161 w 1540192"/>
                    <a:gd name="connsiteY36" fmla="*/ 0 h 884396"/>
                    <a:gd name="connsiteX37" fmla="*/ 1283970 w 1540192"/>
                    <a:gd name="connsiteY37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800100 w 1540192"/>
                    <a:gd name="connsiteY23" fmla="*/ 869156 h 884396"/>
                    <a:gd name="connsiteX24" fmla="*/ 1029177 w 1540192"/>
                    <a:gd name="connsiteY24" fmla="*/ 504348 h 884396"/>
                    <a:gd name="connsiteX25" fmla="*/ 1147286 w 1540192"/>
                    <a:gd name="connsiteY25" fmla="*/ 476250 h 884396"/>
                    <a:gd name="connsiteX26" fmla="*/ 1223963 w 1540192"/>
                    <a:gd name="connsiteY26" fmla="*/ 434340 h 884396"/>
                    <a:gd name="connsiteX27" fmla="*/ 1292543 w 1540192"/>
                    <a:gd name="connsiteY27" fmla="*/ 414337 h 884396"/>
                    <a:gd name="connsiteX28" fmla="*/ 1366361 w 1540192"/>
                    <a:gd name="connsiteY28" fmla="*/ 352425 h 884396"/>
                    <a:gd name="connsiteX29" fmla="*/ 1459230 w 1540192"/>
                    <a:gd name="connsiteY29" fmla="*/ 276225 h 884396"/>
                    <a:gd name="connsiteX30" fmla="*/ 1527333 w 1540192"/>
                    <a:gd name="connsiteY30" fmla="*/ 258603 h 884396"/>
                    <a:gd name="connsiteX31" fmla="*/ 1540192 w 1540192"/>
                    <a:gd name="connsiteY31" fmla="*/ 219551 h 884396"/>
                    <a:gd name="connsiteX32" fmla="*/ 1504474 w 1540192"/>
                    <a:gd name="connsiteY32" fmla="*/ 195262 h 884396"/>
                    <a:gd name="connsiteX33" fmla="*/ 1519714 w 1540192"/>
                    <a:gd name="connsiteY33" fmla="*/ 137636 h 884396"/>
                    <a:gd name="connsiteX34" fmla="*/ 1456373 w 1540192"/>
                    <a:gd name="connsiteY34" fmla="*/ 73342 h 884396"/>
                    <a:gd name="connsiteX35" fmla="*/ 1368743 w 1540192"/>
                    <a:gd name="connsiteY35" fmla="*/ 73819 h 884396"/>
                    <a:gd name="connsiteX36" fmla="*/ 1375886 w 1540192"/>
                    <a:gd name="connsiteY36" fmla="*/ 19050 h 884396"/>
                    <a:gd name="connsiteX37" fmla="*/ 1290161 w 1540192"/>
                    <a:gd name="connsiteY37" fmla="*/ 0 h 884396"/>
                    <a:gd name="connsiteX38" fmla="*/ 1283970 w 1540192"/>
                    <a:gd name="connsiteY38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728663 w 1540192"/>
                    <a:gd name="connsiteY23" fmla="*/ 621506 h 884396"/>
                    <a:gd name="connsiteX24" fmla="*/ 1029177 w 1540192"/>
                    <a:gd name="connsiteY24" fmla="*/ 504348 h 884396"/>
                    <a:gd name="connsiteX25" fmla="*/ 1147286 w 1540192"/>
                    <a:gd name="connsiteY25" fmla="*/ 476250 h 884396"/>
                    <a:gd name="connsiteX26" fmla="*/ 1223963 w 1540192"/>
                    <a:gd name="connsiteY26" fmla="*/ 434340 h 884396"/>
                    <a:gd name="connsiteX27" fmla="*/ 1292543 w 1540192"/>
                    <a:gd name="connsiteY27" fmla="*/ 414337 h 884396"/>
                    <a:gd name="connsiteX28" fmla="*/ 1366361 w 1540192"/>
                    <a:gd name="connsiteY28" fmla="*/ 352425 h 884396"/>
                    <a:gd name="connsiteX29" fmla="*/ 1459230 w 1540192"/>
                    <a:gd name="connsiteY29" fmla="*/ 276225 h 884396"/>
                    <a:gd name="connsiteX30" fmla="*/ 1527333 w 1540192"/>
                    <a:gd name="connsiteY30" fmla="*/ 258603 h 884396"/>
                    <a:gd name="connsiteX31" fmla="*/ 1540192 w 1540192"/>
                    <a:gd name="connsiteY31" fmla="*/ 219551 h 884396"/>
                    <a:gd name="connsiteX32" fmla="*/ 1504474 w 1540192"/>
                    <a:gd name="connsiteY32" fmla="*/ 195262 h 884396"/>
                    <a:gd name="connsiteX33" fmla="*/ 1519714 w 1540192"/>
                    <a:gd name="connsiteY33" fmla="*/ 137636 h 884396"/>
                    <a:gd name="connsiteX34" fmla="*/ 1456373 w 1540192"/>
                    <a:gd name="connsiteY34" fmla="*/ 73342 h 884396"/>
                    <a:gd name="connsiteX35" fmla="*/ 1368743 w 1540192"/>
                    <a:gd name="connsiteY35" fmla="*/ 73819 h 884396"/>
                    <a:gd name="connsiteX36" fmla="*/ 1375886 w 1540192"/>
                    <a:gd name="connsiteY36" fmla="*/ 19050 h 884396"/>
                    <a:gd name="connsiteX37" fmla="*/ 1290161 w 1540192"/>
                    <a:gd name="connsiteY37" fmla="*/ 0 h 884396"/>
                    <a:gd name="connsiteX38" fmla="*/ 1283970 w 1540192"/>
                    <a:gd name="connsiteY38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728663 w 1540192"/>
                    <a:gd name="connsiteY23" fmla="*/ 621506 h 884396"/>
                    <a:gd name="connsiteX24" fmla="*/ 809149 w 1540192"/>
                    <a:gd name="connsiteY24" fmla="*/ 623887 h 884396"/>
                    <a:gd name="connsiteX25" fmla="*/ 1029177 w 1540192"/>
                    <a:gd name="connsiteY25" fmla="*/ 504348 h 884396"/>
                    <a:gd name="connsiteX26" fmla="*/ 1147286 w 1540192"/>
                    <a:gd name="connsiteY26" fmla="*/ 476250 h 884396"/>
                    <a:gd name="connsiteX27" fmla="*/ 1223963 w 1540192"/>
                    <a:gd name="connsiteY27" fmla="*/ 434340 h 884396"/>
                    <a:gd name="connsiteX28" fmla="*/ 1292543 w 1540192"/>
                    <a:gd name="connsiteY28" fmla="*/ 414337 h 884396"/>
                    <a:gd name="connsiteX29" fmla="*/ 1366361 w 1540192"/>
                    <a:gd name="connsiteY29" fmla="*/ 352425 h 884396"/>
                    <a:gd name="connsiteX30" fmla="*/ 1459230 w 1540192"/>
                    <a:gd name="connsiteY30" fmla="*/ 276225 h 884396"/>
                    <a:gd name="connsiteX31" fmla="*/ 1527333 w 1540192"/>
                    <a:gd name="connsiteY31" fmla="*/ 258603 h 884396"/>
                    <a:gd name="connsiteX32" fmla="*/ 1540192 w 1540192"/>
                    <a:gd name="connsiteY32" fmla="*/ 219551 h 884396"/>
                    <a:gd name="connsiteX33" fmla="*/ 1504474 w 1540192"/>
                    <a:gd name="connsiteY33" fmla="*/ 195262 h 884396"/>
                    <a:gd name="connsiteX34" fmla="*/ 1519714 w 1540192"/>
                    <a:gd name="connsiteY34" fmla="*/ 137636 h 884396"/>
                    <a:gd name="connsiteX35" fmla="*/ 1456373 w 1540192"/>
                    <a:gd name="connsiteY35" fmla="*/ 73342 h 884396"/>
                    <a:gd name="connsiteX36" fmla="*/ 1368743 w 1540192"/>
                    <a:gd name="connsiteY36" fmla="*/ 73819 h 884396"/>
                    <a:gd name="connsiteX37" fmla="*/ 1375886 w 1540192"/>
                    <a:gd name="connsiteY37" fmla="*/ 19050 h 884396"/>
                    <a:gd name="connsiteX38" fmla="*/ 1290161 w 1540192"/>
                    <a:gd name="connsiteY38" fmla="*/ 0 h 884396"/>
                    <a:gd name="connsiteX39" fmla="*/ 1283970 w 1540192"/>
                    <a:gd name="connsiteY39" fmla="*/ 22384 h 884396"/>
                    <a:gd name="connsiteX0" fmla="*/ 1283970 w 1540192"/>
                    <a:gd name="connsiteY0" fmla="*/ 22384 h 884396"/>
                    <a:gd name="connsiteX1" fmla="*/ 1111568 w 1540192"/>
                    <a:gd name="connsiteY1" fmla="*/ 119063 h 884396"/>
                    <a:gd name="connsiteX2" fmla="*/ 1080611 w 1540192"/>
                    <a:gd name="connsiteY2" fmla="*/ 197644 h 884396"/>
                    <a:gd name="connsiteX3" fmla="*/ 1016318 w 1540192"/>
                    <a:gd name="connsiteY3" fmla="*/ 219075 h 884396"/>
                    <a:gd name="connsiteX4" fmla="*/ 987743 w 1540192"/>
                    <a:gd name="connsiteY4" fmla="*/ 133350 h 884396"/>
                    <a:gd name="connsiteX5" fmla="*/ 918687 w 1540192"/>
                    <a:gd name="connsiteY5" fmla="*/ 104775 h 884396"/>
                    <a:gd name="connsiteX6" fmla="*/ 875824 w 1540192"/>
                    <a:gd name="connsiteY6" fmla="*/ 150018 h 884396"/>
                    <a:gd name="connsiteX7" fmla="*/ 840106 w 1540192"/>
                    <a:gd name="connsiteY7" fmla="*/ 145256 h 884396"/>
                    <a:gd name="connsiteX8" fmla="*/ 816293 w 1540192"/>
                    <a:gd name="connsiteY8" fmla="*/ 197644 h 884396"/>
                    <a:gd name="connsiteX9" fmla="*/ 794861 w 1540192"/>
                    <a:gd name="connsiteY9" fmla="*/ 147637 h 884396"/>
                    <a:gd name="connsiteX10" fmla="*/ 716281 w 1540192"/>
                    <a:gd name="connsiteY10" fmla="*/ 183356 h 884396"/>
                    <a:gd name="connsiteX11" fmla="*/ 616267 w 1540192"/>
                    <a:gd name="connsiteY11" fmla="*/ 226219 h 884396"/>
                    <a:gd name="connsiteX12" fmla="*/ 601980 w 1540192"/>
                    <a:gd name="connsiteY12" fmla="*/ 250031 h 884396"/>
                    <a:gd name="connsiteX13" fmla="*/ 544830 w 1540192"/>
                    <a:gd name="connsiteY13" fmla="*/ 250031 h 884396"/>
                    <a:gd name="connsiteX14" fmla="*/ 511493 w 1540192"/>
                    <a:gd name="connsiteY14" fmla="*/ 226219 h 884396"/>
                    <a:gd name="connsiteX15" fmla="*/ 459104 w 1540192"/>
                    <a:gd name="connsiteY15" fmla="*/ 247650 h 884396"/>
                    <a:gd name="connsiteX16" fmla="*/ 406718 w 1540192"/>
                    <a:gd name="connsiteY16" fmla="*/ 242887 h 884396"/>
                    <a:gd name="connsiteX17" fmla="*/ 237649 w 1540192"/>
                    <a:gd name="connsiteY17" fmla="*/ 309562 h 884396"/>
                    <a:gd name="connsiteX18" fmla="*/ 173356 w 1540192"/>
                    <a:gd name="connsiteY18" fmla="*/ 404812 h 884396"/>
                    <a:gd name="connsiteX19" fmla="*/ 48577 w 1540192"/>
                    <a:gd name="connsiteY19" fmla="*/ 412432 h 884396"/>
                    <a:gd name="connsiteX20" fmla="*/ 0 w 1540192"/>
                    <a:gd name="connsiteY20" fmla="*/ 541496 h 884396"/>
                    <a:gd name="connsiteX21" fmla="*/ 129540 w 1540192"/>
                    <a:gd name="connsiteY21" fmla="*/ 762476 h 884396"/>
                    <a:gd name="connsiteX22" fmla="*/ 320040 w 1540192"/>
                    <a:gd name="connsiteY22" fmla="*/ 884396 h 884396"/>
                    <a:gd name="connsiteX23" fmla="*/ 728663 w 1540192"/>
                    <a:gd name="connsiteY23" fmla="*/ 621506 h 884396"/>
                    <a:gd name="connsiteX24" fmla="*/ 809149 w 1540192"/>
                    <a:gd name="connsiteY24" fmla="*/ 623887 h 884396"/>
                    <a:gd name="connsiteX25" fmla="*/ 840105 w 1540192"/>
                    <a:gd name="connsiteY25" fmla="*/ 640556 h 884396"/>
                    <a:gd name="connsiteX26" fmla="*/ 1029177 w 1540192"/>
                    <a:gd name="connsiteY26" fmla="*/ 504348 h 884396"/>
                    <a:gd name="connsiteX27" fmla="*/ 1147286 w 1540192"/>
                    <a:gd name="connsiteY27" fmla="*/ 476250 h 884396"/>
                    <a:gd name="connsiteX28" fmla="*/ 1223963 w 1540192"/>
                    <a:gd name="connsiteY28" fmla="*/ 434340 h 884396"/>
                    <a:gd name="connsiteX29" fmla="*/ 1292543 w 1540192"/>
                    <a:gd name="connsiteY29" fmla="*/ 414337 h 884396"/>
                    <a:gd name="connsiteX30" fmla="*/ 1366361 w 1540192"/>
                    <a:gd name="connsiteY30" fmla="*/ 352425 h 884396"/>
                    <a:gd name="connsiteX31" fmla="*/ 1459230 w 1540192"/>
                    <a:gd name="connsiteY31" fmla="*/ 276225 h 884396"/>
                    <a:gd name="connsiteX32" fmla="*/ 1527333 w 1540192"/>
                    <a:gd name="connsiteY32" fmla="*/ 258603 h 884396"/>
                    <a:gd name="connsiteX33" fmla="*/ 1540192 w 1540192"/>
                    <a:gd name="connsiteY33" fmla="*/ 219551 h 884396"/>
                    <a:gd name="connsiteX34" fmla="*/ 1504474 w 1540192"/>
                    <a:gd name="connsiteY34" fmla="*/ 195262 h 884396"/>
                    <a:gd name="connsiteX35" fmla="*/ 1519714 w 1540192"/>
                    <a:gd name="connsiteY35" fmla="*/ 137636 h 884396"/>
                    <a:gd name="connsiteX36" fmla="*/ 1456373 w 1540192"/>
                    <a:gd name="connsiteY36" fmla="*/ 73342 h 884396"/>
                    <a:gd name="connsiteX37" fmla="*/ 1368743 w 1540192"/>
                    <a:gd name="connsiteY37" fmla="*/ 73819 h 884396"/>
                    <a:gd name="connsiteX38" fmla="*/ 1375886 w 1540192"/>
                    <a:gd name="connsiteY38" fmla="*/ 19050 h 884396"/>
                    <a:gd name="connsiteX39" fmla="*/ 1290161 w 1540192"/>
                    <a:gd name="connsiteY39" fmla="*/ 0 h 884396"/>
                    <a:gd name="connsiteX40" fmla="*/ 1283970 w 1540192"/>
                    <a:gd name="connsiteY40" fmla="*/ 22384 h 884396"/>
                    <a:gd name="connsiteX0" fmla="*/ 1283970 w 1540192"/>
                    <a:gd name="connsiteY0" fmla="*/ 22384 h 789146"/>
                    <a:gd name="connsiteX1" fmla="*/ 1111568 w 1540192"/>
                    <a:gd name="connsiteY1" fmla="*/ 119063 h 789146"/>
                    <a:gd name="connsiteX2" fmla="*/ 1080611 w 1540192"/>
                    <a:gd name="connsiteY2" fmla="*/ 197644 h 789146"/>
                    <a:gd name="connsiteX3" fmla="*/ 1016318 w 1540192"/>
                    <a:gd name="connsiteY3" fmla="*/ 219075 h 789146"/>
                    <a:gd name="connsiteX4" fmla="*/ 987743 w 1540192"/>
                    <a:gd name="connsiteY4" fmla="*/ 133350 h 789146"/>
                    <a:gd name="connsiteX5" fmla="*/ 918687 w 1540192"/>
                    <a:gd name="connsiteY5" fmla="*/ 104775 h 789146"/>
                    <a:gd name="connsiteX6" fmla="*/ 875824 w 1540192"/>
                    <a:gd name="connsiteY6" fmla="*/ 150018 h 789146"/>
                    <a:gd name="connsiteX7" fmla="*/ 840106 w 1540192"/>
                    <a:gd name="connsiteY7" fmla="*/ 145256 h 789146"/>
                    <a:gd name="connsiteX8" fmla="*/ 816293 w 1540192"/>
                    <a:gd name="connsiteY8" fmla="*/ 197644 h 789146"/>
                    <a:gd name="connsiteX9" fmla="*/ 794861 w 1540192"/>
                    <a:gd name="connsiteY9" fmla="*/ 147637 h 789146"/>
                    <a:gd name="connsiteX10" fmla="*/ 716281 w 1540192"/>
                    <a:gd name="connsiteY10" fmla="*/ 183356 h 789146"/>
                    <a:gd name="connsiteX11" fmla="*/ 616267 w 1540192"/>
                    <a:gd name="connsiteY11" fmla="*/ 226219 h 789146"/>
                    <a:gd name="connsiteX12" fmla="*/ 601980 w 1540192"/>
                    <a:gd name="connsiteY12" fmla="*/ 250031 h 789146"/>
                    <a:gd name="connsiteX13" fmla="*/ 544830 w 1540192"/>
                    <a:gd name="connsiteY13" fmla="*/ 250031 h 789146"/>
                    <a:gd name="connsiteX14" fmla="*/ 511493 w 1540192"/>
                    <a:gd name="connsiteY14" fmla="*/ 226219 h 789146"/>
                    <a:gd name="connsiteX15" fmla="*/ 459104 w 1540192"/>
                    <a:gd name="connsiteY15" fmla="*/ 247650 h 789146"/>
                    <a:gd name="connsiteX16" fmla="*/ 406718 w 1540192"/>
                    <a:gd name="connsiteY16" fmla="*/ 242887 h 789146"/>
                    <a:gd name="connsiteX17" fmla="*/ 237649 w 1540192"/>
                    <a:gd name="connsiteY17" fmla="*/ 309562 h 789146"/>
                    <a:gd name="connsiteX18" fmla="*/ 173356 w 1540192"/>
                    <a:gd name="connsiteY18" fmla="*/ 404812 h 789146"/>
                    <a:gd name="connsiteX19" fmla="*/ 48577 w 1540192"/>
                    <a:gd name="connsiteY19" fmla="*/ 412432 h 789146"/>
                    <a:gd name="connsiteX20" fmla="*/ 0 w 1540192"/>
                    <a:gd name="connsiteY20" fmla="*/ 541496 h 789146"/>
                    <a:gd name="connsiteX21" fmla="*/ 129540 w 1540192"/>
                    <a:gd name="connsiteY21" fmla="*/ 762476 h 789146"/>
                    <a:gd name="connsiteX22" fmla="*/ 355759 w 1540192"/>
                    <a:gd name="connsiteY22" fmla="*/ 789146 h 789146"/>
                    <a:gd name="connsiteX23" fmla="*/ 728663 w 1540192"/>
                    <a:gd name="connsiteY23" fmla="*/ 621506 h 789146"/>
                    <a:gd name="connsiteX24" fmla="*/ 809149 w 1540192"/>
                    <a:gd name="connsiteY24" fmla="*/ 623887 h 789146"/>
                    <a:gd name="connsiteX25" fmla="*/ 840105 w 1540192"/>
                    <a:gd name="connsiteY25" fmla="*/ 640556 h 789146"/>
                    <a:gd name="connsiteX26" fmla="*/ 1029177 w 1540192"/>
                    <a:gd name="connsiteY26" fmla="*/ 504348 h 789146"/>
                    <a:gd name="connsiteX27" fmla="*/ 1147286 w 1540192"/>
                    <a:gd name="connsiteY27" fmla="*/ 476250 h 789146"/>
                    <a:gd name="connsiteX28" fmla="*/ 1223963 w 1540192"/>
                    <a:gd name="connsiteY28" fmla="*/ 434340 h 789146"/>
                    <a:gd name="connsiteX29" fmla="*/ 1292543 w 1540192"/>
                    <a:gd name="connsiteY29" fmla="*/ 414337 h 789146"/>
                    <a:gd name="connsiteX30" fmla="*/ 1366361 w 1540192"/>
                    <a:gd name="connsiteY30" fmla="*/ 352425 h 789146"/>
                    <a:gd name="connsiteX31" fmla="*/ 1459230 w 1540192"/>
                    <a:gd name="connsiteY31" fmla="*/ 276225 h 789146"/>
                    <a:gd name="connsiteX32" fmla="*/ 1527333 w 1540192"/>
                    <a:gd name="connsiteY32" fmla="*/ 258603 h 789146"/>
                    <a:gd name="connsiteX33" fmla="*/ 1540192 w 1540192"/>
                    <a:gd name="connsiteY33" fmla="*/ 219551 h 789146"/>
                    <a:gd name="connsiteX34" fmla="*/ 1504474 w 1540192"/>
                    <a:gd name="connsiteY34" fmla="*/ 195262 h 789146"/>
                    <a:gd name="connsiteX35" fmla="*/ 1519714 w 1540192"/>
                    <a:gd name="connsiteY35" fmla="*/ 137636 h 789146"/>
                    <a:gd name="connsiteX36" fmla="*/ 1456373 w 1540192"/>
                    <a:gd name="connsiteY36" fmla="*/ 73342 h 789146"/>
                    <a:gd name="connsiteX37" fmla="*/ 1368743 w 1540192"/>
                    <a:gd name="connsiteY37" fmla="*/ 73819 h 789146"/>
                    <a:gd name="connsiteX38" fmla="*/ 1375886 w 1540192"/>
                    <a:gd name="connsiteY38" fmla="*/ 19050 h 789146"/>
                    <a:gd name="connsiteX39" fmla="*/ 1290161 w 1540192"/>
                    <a:gd name="connsiteY39" fmla="*/ 0 h 789146"/>
                    <a:gd name="connsiteX40" fmla="*/ 1283970 w 1540192"/>
                    <a:gd name="connsiteY40" fmla="*/ 22384 h 789146"/>
                    <a:gd name="connsiteX0" fmla="*/ 1283970 w 1540192"/>
                    <a:gd name="connsiteY0" fmla="*/ 22384 h 789146"/>
                    <a:gd name="connsiteX1" fmla="*/ 1111568 w 1540192"/>
                    <a:gd name="connsiteY1" fmla="*/ 119063 h 789146"/>
                    <a:gd name="connsiteX2" fmla="*/ 1080611 w 1540192"/>
                    <a:gd name="connsiteY2" fmla="*/ 197644 h 789146"/>
                    <a:gd name="connsiteX3" fmla="*/ 1016318 w 1540192"/>
                    <a:gd name="connsiteY3" fmla="*/ 219075 h 789146"/>
                    <a:gd name="connsiteX4" fmla="*/ 987743 w 1540192"/>
                    <a:gd name="connsiteY4" fmla="*/ 133350 h 789146"/>
                    <a:gd name="connsiteX5" fmla="*/ 918687 w 1540192"/>
                    <a:gd name="connsiteY5" fmla="*/ 104775 h 789146"/>
                    <a:gd name="connsiteX6" fmla="*/ 875824 w 1540192"/>
                    <a:gd name="connsiteY6" fmla="*/ 150018 h 789146"/>
                    <a:gd name="connsiteX7" fmla="*/ 840106 w 1540192"/>
                    <a:gd name="connsiteY7" fmla="*/ 145256 h 789146"/>
                    <a:gd name="connsiteX8" fmla="*/ 816293 w 1540192"/>
                    <a:gd name="connsiteY8" fmla="*/ 197644 h 789146"/>
                    <a:gd name="connsiteX9" fmla="*/ 794861 w 1540192"/>
                    <a:gd name="connsiteY9" fmla="*/ 147637 h 789146"/>
                    <a:gd name="connsiteX10" fmla="*/ 716281 w 1540192"/>
                    <a:gd name="connsiteY10" fmla="*/ 183356 h 789146"/>
                    <a:gd name="connsiteX11" fmla="*/ 616267 w 1540192"/>
                    <a:gd name="connsiteY11" fmla="*/ 226219 h 789146"/>
                    <a:gd name="connsiteX12" fmla="*/ 601980 w 1540192"/>
                    <a:gd name="connsiteY12" fmla="*/ 250031 h 789146"/>
                    <a:gd name="connsiteX13" fmla="*/ 544830 w 1540192"/>
                    <a:gd name="connsiteY13" fmla="*/ 250031 h 789146"/>
                    <a:gd name="connsiteX14" fmla="*/ 511493 w 1540192"/>
                    <a:gd name="connsiteY14" fmla="*/ 226219 h 789146"/>
                    <a:gd name="connsiteX15" fmla="*/ 459104 w 1540192"/>
                    <a:gd name="connsiteY15" fmla="*/ 247650 h 789146"/>
                    <a:gd name="connsiteX16" fmla="*/ 406718 w 1540192"/>
                    <a:gd name="connsiteY16" fmla="*/ 242887 h 789146"/>
                    <a:gd name="connsiteX17" fmla="*/ 237649 w 1540192"/>
                    <a:gd name="connsiteY17" fmla="*/ 309562 h 789146"/>
                    <a:gd name="connsiteX18" fmla="*/ 173356 w 1540192"/>
                    <a:gd name="connsiteY18" fmla="*/ 404812 h 789146"/>
                    <a:gd name="connsiteX19" fmla="*/ 48577 w 1540192"/>
                    <a:gd name="connsiteY19" fmla="*/ 412432 h 789146"/>
                    <a:gd name="connsiteX20" fmla="*/ 0 w 1540192"/>
                    <a:gd name="connsiteY20" fmla="*/ 541496 h 789146"/>
                    <a:gd name="connsiteX21" fmla="*/ 127159 w 1540192"/>
                    <a:gd name="connsiteY21" fmla="*/ 705326 h 789146"/>
                    <a:gd name="connsiteX22" fmla="*/ 355759 w 1540192"/>
                    <a:gd name="connsiteY22" fmla="*/ 789146 h 789146"/>
                    <a:gd name="connsiteX23" fmla="*/ 728663 w 1540192"/>
                    <a:gd name="connsiteY23" fmla="*/ 621506 h 789146"/>
                    <a:gd name="connsiteX24" fmla="*/ 809149 w 1540192"/>
                    <a:gd name="connsiteY24" fmla="*/ 623887 h 789146"/>
                    <a:gd name="connsiteX25" fmla="*/ 840105 w 1540192"/>
                    <a:gd name="connsiteY25" fmla="*/ 640556 h 789146"/>
                    <a:gd name="connsiteX26" fmla="*/ 1029177 w 1540192"/>
                    <a:gd name="connsiteY26" fmla="*/ 504348 h 789146"/>
                    <a:gd name="connsiteX27" fmla="*/ 1147286 w 1540192"/>
                    <a:gd name="connsiteY27" fmla="*/ 476250 h 789146"/>
                    <a:gd name="connsiteX28" fmla="*/ 1223963 w 1540192"/>
                    <a:gd name="connsiteY28" fmla="*/ 434340 h 789146"/>
                    <a:gd name="connsiteX29" fmla="*/ 1292543 w 1540192"/>
                    <a:gd name="connsiteY29" fmla="*/ 414337 h 789146"/>
                    <a:gd name="connsiteX30" fmla="*/ 1366361 w 1540192"/>
                    <a:gd name="connsiteY30" fmla="*/ 352425 h 789146"/>
                    <a:gd name="connsiteX31" fmla="*/ 1459230 w 1540192"/>
                    <a:gd name="connsiteY31" fmla="*/ 276225 h 789146"/>
                    <a:gd name="connsiteX32" fmla="*/ 1527333 w 1540192"/>
                    <a:gd name="connsiteY32" fmla="*/ 258603 h 789146"/>
                    <a:gd name="connsiteX33" fmla="*/ 1540192 w 1540192"/>
                    <a:gd name="connsiteY33" fmla="*/ 219551 h 789146"/>
                    <a:gd name="connsiteX34" fmla="*/ 1504474 w 1540192"/>
                    <a:gd name="connsiteY34" fmla="*/ 195262 h 789146"/>
                    <a:gd name="connsiteX35" fmla="*/ 1519714 w 1540192"/>
                    <a:gd name="connsiteY35" fmla="*/ 137636 h 789146"/>
                    <a:gd name="connsiteX36" fmla="*/ 1456373 w 1540192"/>
                    <a:gd name="connsiteY36" fmla="*/ 73342 h 789146"/>
                    <a:gd name="connsiteX37" fmla="*/ 1368743 w 1540192"/>
                    <a:gd name="connsiteY37" fmla="*/ 73819 h 789146"/>
                    <a:gd name="connsiteX38" fmla="*/ 1375886 w 1540192"/>
                    <a:gd name="connsiteY38" fmla="*/ 19050 h 789146"/>
                    <a:gd name="connsiteX39" fmla="*/ 1290161 w 1540192"/>
                    <a:gd name="connsiteY39" fmla="*/ 0 h 789146"/>
                    <a:gd name="connsiteX40" fmla="*/ 1283970 w 1540192"/>
                    <a:gd name="connsiteY40" fmla="*/ 22384 h 789146"/>
                    <a:gd name="connsiteX0" fmla="*/ 1283970 w 1540192"/>
                    <a:gd name="connsiteY0" fmla="*/ 22384 h 789146"/>
                    <a:gd name="connsiteX1" fmla="*/ 1111568 w 1540192"/>
                    <a:gd name="connsiteY1" fmla="*/ 119063 h 789146"/>
                    <a:gd name="connsiteX2" fmla="*/ 1080611 w 1540192"/>
                    <a:gd name="connsiteY2" fmla="*/ 197644 h 789146"/>
                    <a:gd name="connsiteX3" fmla="*/ 1016318 w 1540192"/>
                    <a:gd name="connsiteY3" fmla="*/ 219075 h 789146"/>
                    <a:gd name="connsiteX4" fmla="*/ 987743 w 1540192"/>
                    <a:gd name="connsiteY4" fmla="*/ 133350 h 789146"/>
                    <a:gd name="connsiteX5" fmla="*/ 918687 w 1540192"/>
                    <a:gd name="connsiteY5" fmla="*/ 104775 h 789146"/>
                    <a:gd name="connsiteX6" fmla="*/ 875824 w 1540192"/>
                    <a:gd name="connsiteY6" fmla="*/ 150018 h 789146"/>
                    <a:gd name="connsiteX7" fmla="*/ 840106 w 1540192"/>
                    <a:gd name="connsiteY7" fmla="*/ 145256 h 789146"/>
                    <a:gd name="connsiteX8" fmla="*/ 816293 w 1540192"/>
                    <a:gd name="connsiteY8" fmla="*/ 197644 h 789146"/>
                    <a:gd name="connsiteX9" fmla="*/ 794861 w 1540192"/>
                    <a:gd name="connsiteY9" fmla="*/ 147637 h 789146"/>
                    <a:gd name="connsiteX10" fmla="*/ 716281 w 1540192"/>
                    <a:gd name="connsiteY10" fmla="*/ 183356 h 789146"/>
                    <a:gd name="connsiteX11" fmla="*/ 616267 w 1540192"/>
                    <a:gd name="connsiteY11" fmla="*/ 226219 h 789146"/>
                    <a:gd name="connsiteX12" fmla="*/ 601980 w 1540192"/>
                    <a:gd name="connsiteY12" fmla="*/ 250031 h 789146"/>
                    <a:gd name="connsiteX13" fmla="*/ 544830 w 1540192"/>
                    <a:gd name="connsiteY13" fmla="*/ 250031 h 789146"/>
                    <a:gd name="connsiteX14" fmla="*/ 511493 w 1540192"/>
                    <a:gd name="connsiteY14" fmla="*/ 226219 h 789146"/>
                    <a:gd name="connsiteX15" fmla="*/ 459104 w 1540192"/>
                    <a:gd name="connsiteY15" fmla="*/ 247650 h 789146"/>
                    <a:gd name="connsiteX16" fmla="*/ 406718 w 1540192"/>
                    <a:gd name="connsiteY16" fmla="*/ 242887 h 789146"/>
                    <a:gd name="connsiteX17" fmla="*/ 237649 w 1540192"/>
                    <a:gd name="connsiteY17" fmla="*/ 309562 h 789146"/>
                    <a:gd name="connsiteX18" fmla="*/ 173356 w 1540192"/>
                    <a:gd name="connsiteY18" fmla="*/ 404812 h 789146"/>
                    <a:gd name="connsiteX19" fmla="*/ 48577 w 1540192"/>
                    <a:gd name="connsiteY19" fmla="*/ 412432 h 789146"/>
                    <a:gd name="connsiteX20" fmla="*/ 0 w 1540192"/>
                    <a:gd name="connsiteY20" fmla="*/ 541496 h 789146"/>
                    <a:gd name="connsiteX21" fmla="*/ 127159 w 1540192"/>
                    <a:gd name="connsiteY21" fmla="*/ 705326 h 789146"/>
                    <a:gd name="connsiteX22" fmla="*/ 223361 w 1540192"/>
                    <a:gd name="connsiteY22" fmla="*/ 711994 h 789146"/>
                    <a:gd name="connsiteX23" fmla="*/ 355759 w 1540192"/>
                    <a:gd name="connsiteY23" fmla="*/ 789146 h 789146"/>
                    <a:gd name="connsiteX24" fmla="*/ 728663 w 1540192"/>
                    <a:gd name="connsiteY24" fmla="*/ 621506 h 789146"/>
                    <a:gd name="connsiteX25" fmla="*/ 809149 w 1540192"/>
                    <a:gd name="connsiteY25" fmla="*/ 623887 h 789146"/>
                    <a:gd name="connsiteX26" fmla="*/ 840105 w 1540192"/>
                    <a:gd name="connsiteY26" fmla="*/ 640556 h 789146"/>
                    <a:gd name="connsiteX27" fmla="*/ 1029177 w 1540192"/>
                    <a:gd name="connsiteY27" fmla="*/ 504348 h 789146"/>
                    <a:gd name="connsiteX28" fmla="*/ 1147286 w 1540192"/>
                    <a:gd name="connsiteY28" fmla="*/ 476250 h 789146"/>
                    <a:gd name="connsiteX29" fmla="*/ 1223963 w 1540192"/>
                    <a:gd name="connsiteY29" fmla="*/ 434340 h 789146"/>
                    <a:gd name="connsiteX30" fmla="*/ 1292543 w 1540192"/>
                    <a:gd name="connsiteY30" fmla="*/ 414337 h 789146"/>
                    <a:gd name="connsiteX31" fmla="*/ 1366361 w 1540192"/>
                    <a:gd name="connsiteY31" fmla="*/ 352425 h 789146"/>
                    <a:gd name="connsiteX32" fmla="*/ 1459230 w 1540192"/>
                    <a:gd name="connsiteY32" fmla="*/ 276225 h 789146"/>
                    <a:gd name="connsiteX33" fmla="*/ 1527333 w 1540192"/>
                    <a:gd name="connsiteY33" fmla="*/ 258603 h 789146"/>
                    <a:gd name="connsiteX34" fmla="*/ 1540192 w 1540192"/>
                    <a:gd name="connsiteY34" fmla="*/ 219551 h 789146"/>
                    <a:gd name="connsiteX35" fmla="*/ 1504474 w 1540192"/>
                    <a:gd name="connsiteY35" fmla="*/ 195262 h 789146"/>
                    <a:gd name="connsiteX36" fmla="*/ 1519714 w 1540192"/>
                    <a:gd name="connsiteY36" fmla="*/ 137636 h 789146"/>
                    <a:gd name="connsiteX37" fmla="*/ 1456373 w 1540192"/>
                    <a:gd name="connsiteY37" fmla="*/ 73342 h 789146"/>
                    <a:gd name="connsiteX38" fmla="*/ 1368743 w 1540192"/>
                    <a:gd name="connsiteY38" fmla="*/ 73819 h 789146"/>
                    <a:gd name="connsiteX39" fmla="*/ 1375886 w 1540192"/>
                    <a:gd name="connsiteY39" fmla="*/ 19050 h 789146"/>
                    <a:gd name="connsiteX40" fmla="*/ 1290161 w 1540192"/>
                    <a:gd name="connsiteY40" fmla="*/ 0 h 789146"/>
                    <a:gd name="connsiteX41" fmla="*/ 1283970 w 1540192"/>
                    <a:gd name="connsiteY41" fmla="*/ 22384 h 789146"/>
                    <a:gd name="connsiteX0" fmla="*/ 1283970 w 1540192"/>
                    <a:gd name="connsiteY0" fmla="*/ 22384 h 789146"/>
                    <a:gd name="connsiteX1" fmla="*/ 1111568 w 1540192"/>
                    <a:gd name="connsiteY1" fmla="*/ 119063 h 789146"/>
                    <a:gd name="connsiteX2" fmla="*/ 1080611 w 1540192"/>
                    <a:gd name="connsiteY2" fmla="*/ 197644 h 789146"/>
                    <a:gd name="connsiteX3" fmla="*/ 1016318 w 1540192"/>
                    <a:gd name="connsiteY3" fmla="*/ 219075 h 789146"/>
                    <a:gd name="connsiteX4" fmla="*/ 987743 w 1540192"/>
                    <a:gd name="connsiteY4" fmla="*/ 133350 h 789146"/>
                    <a:gd name="connsiteX5" fmla="*/ 918687 w 1540192"/>
                    <a:gd name="connsiteY5" fmla="*/ 104775 h 789146"/>
                    <a:gd name="connsiteX6" fmla="*/ 875824 w 1540192"/>
                    <a:gd name="connsiteY6" fmla="*/ 150018 h 789146"/>
                    <a:gd name="connsiteX7" fmla="*/ 840106 w 1540192"/>
                    <a:gd name="connsiteY7" fmla="*/ 145256 h 789146"/>
                    <a:gd name="connsiteX8" fmla="*/ 816293 w 1540192"/>
                    <a:gd name="connsiteY8" fmla="*/ 197644 h 789146"/>
                    <a:gd name="connsiteX9" fmla="*/ 794861 w 1540192"/>
                    <a:gd name="connsiteY9" fmla="*/ 147637 h 789146"/>
                    <a:gd name="connsiteX10" fmla="*/ 716281 w 1540192"/>
                    <a:gd name="connsiteY10" fmla="*/ 183356 h 789146"/>
                    <a:gd name="connsiteX11" fmla="*/ 616267 w 1540192"/>
                    <a:gd name="connsiteY11" fmla="*/ 226219 h 789146"/>
                    <a:gd name="connsiteX12" fmla="*/ 601980 w 1540192"/>
                    <a:gd name="connsiteY12" fmla="*/ 250031 h 789146"/>
                    <a:gd name="connsiteX13" fmla="*/ 544830 w 1540192"/>
                    <a:gd name="connsiteY13" fmla="*/ 250031 h 789146"/>
                    <a:gd name="connsiteX14" fmla="*/ 511493 w 1540192"/>
                    <a:gd name="connsiteY14" fmla="*/ 226219 h 789146"/>
                    <a:gd name="connsiteX15" fmla="*/ 459104 w 1540192"/>
                    <a:gd name="connsiteY15" fmla="*/ 247650 h 789146"/>
                    <a:gd name="connsiteX16" fmla="*/ 406718 w 1540192"/>
                    <a:gd name="connsiteY16" fmla="*/ 242887 h 789146"/>
                    <a:gd name="connsiteX17" fmla="*/ 237649 w 1540192"/>
                    <a:gd name="connsiteY17" fmla="*/ 309562 h 789146"/>
                    <a:gd name="connsiteX18" fmla="*/ 173356 w 1540192"/>
                    <a:gd name="connsiteY18" fmla="*/ 404812 h 789146"/>
                    <a:gd name="connsiteX19" fmla="*/ 48577 w 1540192"/>
                    <a:gd name="connsiteY19" fmla="*/ 412432 h 789146"/>
                    <a:gd name="connsiteX20" fmla="*/ 0 w 1540192"/>
                    <a:gd name="connsiteY20" fmla="*/ 541496 h 789146"/>
                    <a:gd name="connsiteX21" fmla="*/ 127159 w 1540192"/>
                    <a:gd name="connsiteY21" fmla="*/ 705326 h 789146"/>
                    <a:gd name="connsiteX22" fmla="*/ 223361 w 1540192"/>
                    <a:gd name="connsiteY22" fmla="*/ 711994 h 789146"/>
                    <a:gd name="connsiteX23" fmla="*/ 287655 w 1540192"/>
                    <a:gd name="connsiteY23" fmla="*/ 764381 h 789146"/>
                    <a:gd name="connsiteX24" fmla="*/ 355759 w 1540192"/>
                    <a:gd name="connsiteY24" fmla="*/ 789146 h 789146"/>
                    <a:gd name="connsiteX25" fmla="*/ 728663 w 1540192"/>
                    <a:gd name="connsiteY25" fmla="*/ 621506 h 789146"/>
                    <a:gd name="connsiteX26" fmla="*/ 809149 w 1540192"/>
                    <a:gd name="connsiteY26" fmla="*/ 623887 h 789146"/>
                    <a:gd name="connsiteX27" fmla="*/ 840105 w 1540192"/>
                    <a:gd name="connsiteY27" fmla="*/ 640556 h 789146"/>
                    <a:gd name="connsiteX28" fmla="*/ 1029177 w 1540192"/>
                    <a:gd name="connsiteY28" fmla="*/ 504348 h 789146"/>
                    <a:gd name="connsiteX29" fmla="*/ 1147286 w 1540192"/>
                    <a:gd name="connsiteY29" fmla="*/ 476250 h 789146"/>
                    <a:gd name="connsiteX30" fmla="*/ 1223963 w 1540192"/>
                    <a:gd name="connsiteY30" fmla="*/ 434340 h 789146"/>
                    <a:gd name="connsiteX31" fmla="*/ 1292543 w 1540192"/>
                    <a:gd name="connsiteY31" fmla="*/ 414337 h 789146"/>
                    <a:gd name="connsiteX32" fmla="*/ 1366361 w 1540192"/>
                    <a:gd name="connsiteY32" fmla="*/ 352425 h 789146"/>
                    <a:gd name="connsiteX33" fmla="*/ 1459230 w 1540192"/>
                    <a:gd name="connsiteY33" fmla="*/ 276225 h 789146"/>
                    <a:gd name="connsiteX34" fmla="*/ 1527333 w 1540192"/>
                    <a:gd name="connsiteY34" fmla="*/ 258603 h 789146"/>
                    <a:gd name="connsiteX35" fmla="*/ 1540192 w 1540192"/>
                    <a:gd name="connsiteY35" fmla="*/ 219551 h 789146"/>
                    <a:gd name="connsiteX36" fmla="*/ 1504474 w 1540192"/>
                    <a:gd name="connsiteY36" fmla="*/ 195262 h 789146"/>
                    <a:gd name="connsiteX37" fmla="*/ 1519714 w 1540192"/>
                    <a:gd name="connsiteY37" fmla="*/ 137636 h 789146"/>
                    <a:gd name="connsiteX38" fmla="*/ 1456373 w 1540192"/>
                    <a:gd name="connsiteY38" fmla="*/ 73342 h 789146"/>
                    <a:gd name="connsiteX39" fmla="*/ 1368743 w 1540192"/>
                    <a:gd name="connsiteY39" fmla="*/ 73819 h 789146"/>
                    <a:gd name="connsiteX40" fmla="*/ 1375886 w 1540192"/>
                    <a:gd name="connsiteY40" fmla="*/ 19050 h 789146"/>
                    <a:gd name="connsiteX41" fmla="*/ 1290161 w 1540192"/>
                    <a:gd name="connsiteY41" fmla="*/ 0 h 789146"/>
                    <a:gd name="connsiteX42" fmla="*/ 1283970 w 1540192"/>
                    <a:gd name="connsiteY42" fmla="*/ 22384 h 789146"/>
                    <a:gd name="connsiteX0" fmla="*/ 1283970 w 1540192"/>
                    <a:gd name="connsiteY0" fmla="*/ 22384 h 789146"/>
                    <a:gd name="connsiteX1" fmla="*/ 1111568 w 1540192"/>
                    <a:gd name="connsiteY1" fmla="*/ 119063 h 789146"/>
                    <a:gd name="connsiteX2" fmla="*/ 1080611 w 1540192"/>
                    <a:gd name="connsiteY2" fmla="*/ 197644 h 789146"/>
                    <a:gd name="connsiteX3" fmla="*/ 1016318 w 1540192"/>
                    <a:gd name="connsiteY3" fmla="*/ 219075 h 789146"/>
                    <a:gd name="connsiteX4" fmla="*/ 987743 w 1540192"/>
                    <a:gd name="connsiteY4" fmla="*/ 133350 h 789146"/>
                    <a:gd name="connsiteX5" fmla="*/ 918687 w 1540192"/>
                    <a:gd name="connsiteY5" fmla="*/ 104775 h 789146"/>
                    <a:gd name="connsiteX6" fmla="*/ 875824 w 1540192"/>
                    <a:gd name="connsiteY6" fmla="*/ 150018 h 789146"/>
                    <a:gd name="connsiteX7" fmla="*/ 840106 w 1540192"/>
                    <a:gd name="connsiteY7" fmla="*/ 145256 h 789146"/>
                    <a:gd name="connsiteX8" fmla="*/ 816293 w 1540192"/>
                    <a:gd name="connsiteY8" fmla="*/ 197644 h 789146"/>
                    <a:gd name="connsiteX9" fmla="*/ 794861 w 1540192"/>
                    <a:gd name="connsiteY9" fmla="*/ 147637 h 789146"/>
                    <a:gd name="connsiteX10" fmla="*/ 716281 w 1540192"/>
                    <a:gd name="connsiteY10" fmla="*/ 183356 h 789146"/>
                    <a:gd name="connsiteX11" fmla="*/ 616267 w 1540192"/>
                    <a:gd name="connsiteY11" fmla="*/ 226219 h 789146"/>
                    <a:gd name="connsiteX12" fmla="*/ 601980 w 1540192"/>
                    <a:gd name="connsiteY12" fmla="*/ 250031 h 789146"/>
                    <a:gd name="connsiteX13" fmla="*/ 544830 w 1540192"/>
                    <a:gd name="connsiteY13" fmla="*/ 250031 h 789146"/>
                    <a:gd name="connsiteX14" fmla="*/ 511493 w 1540192"/>
                    <a:gd name="connsiteY14" fmla="*/ 226219 h 789146"/>
                    <a:gd name="connsiteX15" fmla="*/ 459104 w 1540192"/>
                    <a:gd name="connsiteY15" fmla="*/ 247650 h 789146"/>
                    <a:gd name="connsiteX16" fmla="*/ 406718 w 1540192"/>
                    <a:gd name="connsiteY16" fmla="*/ 242887 h 789146"/>
                    <a:gd name="connsiteX17" fmla="*/ 237649 w 1540192"/>
                    <a:gd name="connsiteY17" fmla="*/ 309562 h 789146"/>
                    <a:gd name="connsiteX18" fmla="*/ 173356 w 1540192"/>
                    <a:gd name="connsiteY18" fmla="*/ 404812 h 789146"/>
                    <a:gd name="connsiteX19" fmla="*/ 48577 w 1540192"/>
                    <a:gd name="connsiteY19" fmla="*/ 412432 h 789146"/>
                    <a:gd name="connsiteX20" fmla="*/ 0 w 1540192"/>
                    <a:gd name="connsiteY20" fmla="*/ 541496 h 789146"/>
                    <a:gd name="connsiteX21" fmla="*/ 127159 w 1540192"/>
                    <a:gd name="connsiteY21" fmla="*/ 705326 h 789146"/>
                    <a:gd name="connsiteX22" fmla="*/ 223361 w 1540192"/>
                    <a:gd name="connsiteY22" fmla="*/ 711994 h 789146"/>
                    <a:gd name="connsiteX23" fmla="*/ 287655 w 1540192"/>
                    <a:gd name="connsiteY23" fmla="*/ 764381 h 789146"/>
                    <a:gd name="connsiteX24" fmla="*/ 355759 w 1540192"/>
                    <a:gd name="connsiteY24" fmla="*/ 789146 h 789146"/>
                    <a:gd name="connsiteX25" fmla="*/ 475774 w 1540192"/>
                    <a:gd name="connsiteY25" fmla="*/ 702469 h 789146"/>
                    <a:gd name="connsiteX26" fmla="*/ 728663 w 1540192"/>
                    <a:gd name="connsiteY26" fmla="*/ 621506 h 789146"/>
                    <a:gd name="connsiteX27" fmla="*/ 809149 w 1540192"/>
                    <a:gd name="connsiteY27" fmla="*/ 623887 h 789146"/>
                    <a:gd name="connsiteX28" fmla="*/ 840105 w 1540192"/>
                    <a:gd name="connsiteY28" fmla="*/ 640556 h 789146"/>
                    <a:gd name="connsiteX29" fmla="*/ 1029177 w 1540192"/>
                    <a:gd name="connsiteY29" fmla="*/ 504348 h 789146"/>
                    <a:gd name="connsiteX30" fmla="*/ 1147286 w 1540192"/>
                    <a:gd name="connsiteY30" fmla="*/ 476250 h 789146"/>
                    <a:gd name="connsiteX31" fmla="*/ 1223963 w 1540192"/>
                    <a:gd name="connsiteY31" fmla="*/ 434340 h 789146"/>
                    <a:gd name="connsiteX32" fmla="*/ 1292543 w 1540192"/>
                    <a:gd name="connsiteY32" fmla="*/ 414337 h 789146"/>
                    <a:gd name="connsiteX33" fmla="*/ 1366361 w 1540192"/>
                    <a:gd name="connsiteY33" fmla="*/ 352425 h 789146"/>
                    <a:gd name="connsiteX34" fmla="*/ 1459230 w 1540192"/>
                    <a:gd name="connsiteY34" fmla="*/ 276225 h 789146"/>
                    <a:gd name="connsiteX35" fmla="*/ 1527333 w 1540192"/>
                    <a:gd name="connsiteY35" fmla="*/ 258603 h 789146"/>
                    <a:gd name="connsiteX36" fmla="*/ 1540192 w 1540192"/>
                    <a:gd name="connsiteY36" fmla="*/ 219551 h 789146"/>
                    <a:gd name="connsiteX37" fmla="*/ 1504474 w 1540192"/>
                    <a:gd name="connsiteY37" fmla="*/ 195262 h 789146"/>
                    <a:gd name="connsiteX38" fmla="*/ 1519714 w 1540192"/>
                    <a:gd name="connsiteY38" fmla="*/ 137636 h 789146"/>
                    <a:gd name="connsiteX39" fmla="*/ 1456373 w 1540192"/>
                    <a:gd name="connsiteY39" fmla="*/ 73342 h 789146"/>
                    <a:gd name="connsiteX40" fmla="*/ 1368743 w 1540192"/>
                    <a:gd name="connsiteY40" fmla="*/ 73819 h 789146"/>
                    <a:gd name="connsiteX41" fmla="*/ 1375886 w 1540192"/>
                    <a:gd name="connsiteY41" fmla="*/ 19050 h 789146"/>
                    <a:gd name="connsiteX42" fmla="*/ 1290161 w 1540192"/>
                    <a:gd name="connsiteY42" fmla="*/ 0 h 789146"/>
                    <a:gd name="connsiteX43" fmla="*/ 1283970 w 1540192"/>
                    <a:gd name="connsiteY43" fmla="*/ 22384 h 789146"/>
                    <a:gd name="connsiteX0" fmla="*/ 1283970 w 1540192"/>
                    <a:gd name="connsiteY0" fmla="*/ 22384 h 789146"/>
                    <a:gd name="connsiteX1" fmla="*/ 1111568 w 1540192"/>
                    <a:gd name="connsiteY1" fmla="*/ 119063 h 789146"/>
                    <a:gd name="connsiteX2" fmla="*/ 1080611 w 1540192"/>
                    <a:gd name="connsiteY2" fmla="*/ 197644 h 789146"/>
                    <a:gd name="connsiteX3" fmla="*/ 1016318 w 1540192"/>
                    <a:gd name="connsiteY3" fmla="*/ 219075 h 789146"/>
                    <a:gd name="connsiteX4" fmla="*/ 987743 w 1540192"/>
                    <a:gd name="connsiteY4" fmla="*/ 133350 h 789146"/>
                    <a:gd name="connsiteX5" fmla="*/ 918687 w 1540192"/>
                    <a:gd name="connsiteY5" fmla="*/ 104775 h 789146"/>
                    <a:gd name="connsiteX6" fmla="*/ 875824 w 1540192"/>
                    <a:gd name="connsiteY6" fmla="*/ 150018 h 789146"/>
                    <a:gd name="connsiteX7" fmla="*/ 840106 w 1540192"/>
                    <a:gd name="connsiteY7" fmla="*/ 145256 h 789146"/>
                    <a:gd name="connsiteX8" fmla="*/ 816293 w 1540192"/>
                    <a:gd name="connsiteY8" fmla="*/ 197644 h 789146"/>
                    <a:gd name="connsiteX9" fmla="*/ 794861 w 1540192"/>
                    <a:gd name="connsiteY9" fmla="*/ 147637 h 789146"/>
                    <a:gd name="connsiteX10" fmla="*/ 716281 w 1540192"/>
                    <a:gd name="connsiteY10" fmla="*/ 183356 h 789146"/>
                    <a:gd name="connsiteX11" fmla="*/ 616267 w 1540192"/>
                    <a:gd name="connsiteY11" fmla="*/ 226219 h 789146"/>
                    <a:gd name="connsiteX12" fmla="*/ 601980 w 1540192"/>
                    <a:gd name="connsiteY12" fmla="*/ 250031 h 789146"/>
                    <a:gd name="connsiteX13" fmla="*/ 544830 w 1540192"/>
                    <a:gd name="connsiteY13" fmla="*/ 250031 h 789146"/>
                    <a:gd name="connsiteX14" fmla="*/ 511493 w 1540192"/>
                    <a:gd name="connsiteY14" fmla="*/ 226219 h 789146"/>
                    <a:gd name="connsiteX15" fmla="*/ 459104 w 1540192"/>
                    <a:gd name="connsiteY15" fmla="*/ 247650 h 789146"/>
                    <a:gd name="connsiteX16" fmla="*/ 406718 w 1540192"/>
                    <a:gd name="connsiteY16" fmla="*/ 242887 h 789146"/>
                    <a:gd name="connsiteX17" fmla="*/ 237649 w 1540192"/>
                    <a:gd name="connsiteY17" fmla="*/ 309562 h 789146"/>
                    <a:gd name="connsiteX18" fmla="*/ 173356 w 1540192"/>
                    <a:gd name="connsiteY18" fmla="*/ 404812 h 789146"/>
                    <a:gd name="connsiteX19" fmla="*/ 48577 w 1540192"/>
                    <a:gd name="connsiteY19" fmla="*/ 412432 h 789146"/>
                    <a:gd name="connsiteX20" fmla="*/ 0 w 1540192"/>
                    <a:gd name="connsiteY20" fmla="*/ 541496 h 789146"/>
                    <a:gd name="connsiteX21" fmla="*/ 127159 w 1540192"/>
                    <a:gd name="connsiteY21" fmla="*/ 705326 h 789146"/>
                    <a:gd name="connsiteX22" fmla="*/ 223361 w 1540192"/>
                    <a:gd name="connsiteY22" fmla="*/ 711994 h 789146"/>
                    <a:gd name="connsiteX23" fmla="*/ 287655 w 1540192"/>
                    <a:gd name="connsiteY23" fmla="*/ 764381 h 789146"/>
                    <a:gd name="connsiteX24" fmla="*/ 355759 w 1540192"/>
                    <a:gd name="connsiteY24" fmla="*/ 789146 h 789146"/>
                    <a:gd name="connsiteX25" fmla="*/ 475774 w 1540192"/>
                    <a:gd name="connsiteY25" fmla="*/ 702469 h 789146"/>
                    <a:gd name="connsiteX26" fmla="*/ 611505 w 1540192"/>
                    <a:gd name="connsiteY26" fmla="*/ 635794 h 789146"/>
                    <a:gd name="connsiteX27" fmla="*/ 728663 w 1540192"/>
                    <a:gd name="connsiteY27" fmla="*/ 621506 h 789146"/>
                    <a:gd name="connsiteX28" fmla="*/ 809149 w 1540192"/>
                    <a:gd name="connsiteY28" fmla="*/ 623887 h 789146"/>
                    <a:gd name="connsiteX29" fmla="*/ 840105 w 1540192"/>
                    <a:gd name="connsiteY29" fmla="*/ 640556 h 789146"/>
                    <a:gd name="connsiteX30" fmla="*/ 1029177 w 1540192"/>
                    <a:gd name="connsiteY30" fmla="*/ 504348 h 789146"/>
                    <a:gd name="connsiteX31" fmla="*/ 1147286 w 1540192"/>
                    <a:gd name="connsiteY31" fmla="*/ 476250 h 789146"/>
                    <a:gd name="connsiteX32" fmla="*/ 1223963 w 1540192"/>
                    <a:gd name="connsiteY32" fmla="*/ 434340 h 789146"/>
                    <a:gd name="connsiteX33" fmla="*/ 1292543 w 1540192"/>
                    <a:gd name="connsiteY33" fmla="*/ 414337 h 789146"/>
                    <a:gd name="connsiteX34" fmla="*/ 1366361 w 1540192"/>
                    <a:gd name="connsiteY34" fmla="*/ 352425 h 789146"/>
                    <a:gd name="connsiteX35" fmla="*/ 1459230 w 1540192"/>
                    <a:gd name="connsiteY35" fmla="*/ 276225 h 789146"/>
                    <a:gd name="connsiteX36" fmla="*/ 1527333 w 1540192"/>
                    <a:gd name="connsiteY36" fmla="*/ 258603 h 789146"/>
                    <a:gd name="connsiteX37" fmla="*/ 1540192 w 1540192"/>
                    <a:gd name="connsiteY37" fmla="*/ 219551 h 789146"/>
                    <a:gd name="connsiteX38" fmla="*/ 1504474 w 1540192"/>
                    <a:gd name="connsiteY38" fmla="*/ 195262 h 789146"/>
                    <a:gd name="connsiteX39" fmla="*/ 1519714 w 1540192"/>
                    <a:gd name="connsiteY39" fmla="*/ 137636 h 789146"/>
                    <a:gd name="connsiteX40" fmla="*/ 1456373 w 1540192"/>
                    <a:gd name="connsiteY40" fmla="*/ 73342 h 789146"/>
                    <a:gd name="connsiteX41" fmla="*/ 1368743 w 1540192"/>
                    <a:gd name="connsiteY41" fmla="*/ 73819 h 789146"/>
                    <a:gd name="connsiteX42" fmla="*/ 1375886 w 1540192"/>
                    <a:gd name="connsiteY42" fmla="*/ 19050 h 789146"/>
                    <a:gd name="connsiteX43" fmla="*/ 1290161 w 1540192"/>
                    <a:gd name="connsiteY43" fmla="*/ 0 h 789146"/>
                    <a:gd name="connsiteX44" fmla="*/ 1283970 w 1540192"/>
                    <a:gd name="connsiteY44" fmla="*/ 22384 h 789146"/>
                    <a:gd name="connsiteX0" fmla="*/ 1283970 w 1540192"/>
                    <a:gd name="connsiteY0" fmla="*/ 22384 h 789146"/>
                    <a:gd name="connsiteX1" fmla="*/ 1111568 w 1540192"/>
                    <a:gd name="connsiteY1" fmla="*/ 119063 h 789146"/>
                    <a:gd name="connsiteX2" fmla="*/ 1080611 w 1540192"/>
                    <a:gd name="connsiteY2" fmla="*/ 197644 h 789146"/>
                    <a:gd name="connsiteX3" fmla="*/ 1016318 w 1540192"/>
                    <a:gd name="connsiteY3" fmla="*/ 219075 h 789146"/>
                    <a:gd name="connsiteX4" fmla="*/ 987743 w 1540192"/>
                    <a:gd name="connsiteY4" fmla="*/ 133350 h 789146"/>
                    <a:gd name="connsiteX5" fmla="*/ 918687 w 1540192"/>
                    <a:gd name="connsiteY5" fmla="*/ 104775 h 789146"/>
                    <a:gd name="connsiteX6" fmla="*/ 875824 w 1540192"/>
                    <a:gd name="connsiteY6" fmla="*/ 150018 h 789146"/>
                    <a:gd name="connsiteX7" fmla="*/ 840106 w 1540192"/>
                    <a:gd name="connsiteY7" fmla="*/ 145256 h 789146"/>
                    <a:gd name="connsiteX8" fmla="*/ 816293 w 1540192"/>
                    <a:gd name="connsiteY8" fmla="*/ 197644 h 789146"/>
                    <a:gd name="connsiteX9" fmla="*/ 794861 w 1540192"/>
                    <a:gd name="connsiteY9" fmla="*/ 147637 h 789146"/>
                    <a:gd name="connsiteX10" fmla="*/ 716281 w 1540192"/>
                    <a:gd name="connsiteY10" fmla="*/ 183356 h 789146"/>
                    <a:gd name="connsiteX11" fmla="*/ 616267 w 1540192"/>
                    <a:gd name="connsiteY11" fmla="*/ 226219 h 789146"/>
                    <a:gd name="connsiteX12" fmla="*/ 601980 w 1540192"/>
                    <a:gd name="connsiteY12" fmla="*/ 250031 h 789146"/>
                    <a:gd name="connsiteX13" fmla="*/ 544830 w 1540192"/>
                    <a:gd name="connsiteY13" fmla="*/ 250031 h 789146"/>
                    <a:gd name="connsiteX14" fmla="*/ 511493 w 1540192"/>
                    <a:gd name="connsiteY14" fmla="*/ 226219 h 789146"/>
                    <a:gd name="connsiteX15" fmla="*/ 459104 w 1540192"/>
                    <a:gd name="connsiteY15" fmla="*/ 247650 h 789146"/>
                    <a:gd name="connsiteX16" fmla="*/ 406718 w 1540192"/>
                    <a:gd name="connsiteY16" fmla="*/ 242887 h 789146"/>
                    <a:gd name="connsiteX17" fmla="*/ 237649 w 1540192"/>
                    <a:gd name="connsiteY17" fmla="*/ 309562 h 789146"/>
                    <a:gd name="connsiteX18" fmla="*/ 173356 w 1540192"/>
                    <a:gd name="connsiteY18" fmla="*/ 404812 h 789146"/>
                    <a:gd name="connsiteX19" fmla="*/ 48577 w 1540192"/>
                    <a:gd name="connsiteY19" fmla="*/ 412432 h 789146"/>
                    <a:gd name="connsiteX20" fmla="*/ 0 w 1540192"/>
                    <a:gd name="connsiteY20" fmla="*/ 541496 h 789146"/>
                    <a:gd name="connsiteX21" fmla="*/ 127159 w 1540192"/>
                    <a:gd name="connsiteY21" fmla="*/ 705326 h 789146"/>
                    <a:gd name="connsiteX22" fmla="*/ 223361 w 1540192"/>
                    <a:gd name="connsiteY22" fmla="*/ 711994 h 789146"/>
                    <a:gd name="connsiteX23" fmla="*/ 287655 w 1540192"/>
                    <a:gd name="connsiteY23" fmla="*/ 764381 h 789146"/>
                    <a:gd name="connsiteX24" fmla="*/ 355759 w 1540192"/>
                    <a:gd name="connsiteY24" fmla="*/ 789146 h 789146"/>
                    <a:gd name="connsiteX25" fmla="*/ 475774 w 1540192"/>
                    <a:gd name="connsiteY25" fmla="*/ 702469 h 789146"/>
                    <a:gd name="connsiteX26" fmla="*/ 611505 w 1540192"/>
                    <a:gd name="connsiteY26" fmla="*/ 635794 h 789146"/>
                    <a:gd name="connsiteX27" fmla="*/ 728663 w 1540192"/>
                    <a:gd name="connsiteY27" fmla="*/ 621506 h 789146"/>
                    <a:gd name="connsiteX28" fmla="*/ 797243 w 1540192"/>
                    <a:gd name="connsiteY28" fmla="*/ 633412 h 789146"/>
                    <a:gd name="connsiteX29" fmla="*/ 840105 w 1540192"/>
                    <a:gd name="connsiteY29" fmla="*/ 640556 h 789146"/>
                    <a:gd name="connsiteX30" fmla="*/ 1029177 w 1540192"/>
                    <a:gd name="connsiteY30" fmla="*/ 504348 h 789146"/>
                    <a:gd name="connsiteX31" fmla="*/ 1147286 w 1540192"/>
                    <a:gd name="connsiteY31" fmla="*/ 476250 h 789146"/>
                    <a:gd name="connsiteX32" fmla="*/ 1223963 w 1540192"/>
                    <a:gd name="connsiteY32" fmla="*/ 434340 h 789146"/>
                    <a:gd name="connsiteX33" fmla="*/ 1292543 w 1540192"/>
                    <a:gd name="connsiteY33" fmla="*/ 414337 h 789146"/>
                    <a:gd name="connsiteX34" fmla="*/ 1366361 w 1540192"/>
                    <a:gd name="connsiteY34" fmla="*/ 352425 h 789146"/>
                    <a:gd name="connsiteX35" fmla="*/ 1459230 w 1540192"/>
                    <a:gd name="connsiteY35" fmla="*/ 276225 h 789146"/>
                    <a:gd name="connsiteX36" fmla="*/ 1527333 w 1540192"/>
                    <a:gd name="connsiteY36" fmla="*/ 258603 h 789146"/>
                    <a:gd name="connsiteX37" fmla="*/ 1540192 w 1540192"/>
                    <a:gd name="connsiteY37" fmla="*/ 219551 h 789146"/>
                    <a:gd name="connsiteX38" fmla="*/ 1504474 w 1540192"/>
                    <a:gd name="connsiteY38" fmla="*/ 195262 h 789146"/>
                    <a:gd name="connsiteX39" fmla="*/ 1519714 w 1540192"/>
                    <a:gd name="connsiteY39" fmla="*/ 137636 h 789146"/>
                    <a:gd name="connsiteX40" fmla="*/ 1456373 w 1540192"/>
                    <a:gd name="connsiteY40" fmla="*/ 73342 h 789146"/>
                    <a:gd name="connsiteX41" fmla="*/ 1368743 w 1540192"/>
                    <a:gd name="connsiteY41" fmla="*/ 73819 h 789146"/>
                    <a:gd name="connsiteX42" fmla="*/ 1375886 w 1540192"/>
                    <a:gd name="connsiteY42" fmla="*/ 19050 h 789146"/>
                    <a:gd name="connsiteX43" fmla="*/ 1290161 w 1540192"/>
                    <a:gd name="connsiteY43" fmla="*/ 0 h 789146"/>
                    <a:gd name="connsiteX44" fmla="*/ 1283970 w 1540192"/>
                    <a:gd name="connsiteY44" fmla="*/ 22384 h 789146"/>
                    <a:gd name="connsiteX0" fmla="*/ 1283970 w 1540192"/>
                    <a:gd name="connsiteY0" fmla="*/ 22384 h 789146"/>
                    <a:gd name="connsiteX1" fmla="*/ 1111568 w 1540192"/>
                    <a:gd name="connsiteY1" fmla="*/ 119063 h 789146"/>
                    <a:gd name="connsiteX2" fmla="*/ 1080611 w 1540192"/>
                    <a:gd name="connsiteY2" fmla="*/ 197644 h 789146"/>
                    <a:gd name="connsiteX3" fmla="*/ 1016318 w 1540192"/>
                    <a:gd name="connsiteY3" fmla="*/ 219075 h 789146"/>
                    <a:gd name="connsiteX4" fmla="*/ 987743 w 1540192"/>
                    <a:gd name="connsiteY4" fmla="*/ 133350 h 789146"/>
                    <a:gd name="connsiteX5" fmla="*/ 918687 w 1540192"/>
                    <a:gd name="connsiteY5" fmla="*/ 104775 h 789146"/>
                    <a:gd name="connsiteX6" fmla="*/ 875824 w 1540192"/>
                    <a:gd name="connsiteY6" fmla="*/ 150018 h 789146"/>
                    <a:gd name="connsiteX7" fmla="*/ 840106 w 1540192"/>
                    <a:gd name="connsiteY7" fmla="*/ 145256 h 789146"/>
                    <a:gd name="connsiteX8" fmla="*/ 816293 w 1540192"/>
                    <a:gd name="connsiteY8" fmla="*/ 197644 h 789146"/>
                    <a:gd name="connsiteX9" fmla="*/ 794861 w 1540192"/>
                    <a:gd name="connsiteY9" fmla="*/ 147637 h 789146"/>
                    <a:gd name="connsiteX10" fmla="*/ 716281 w 1540192"/>
                    <a:gd name="connsiteY10" fmla="*/ 183356 h 789146"/>
                    <a:gd name="connsiteX11" fmla="*/ 616267 w 1540192"/>
                    <a:gd name="connsiteY11" fmla="*/ 226219 h 789146"/>
                    <a:gd name="connsiteX12" fmla="*/ 601980 w 1540192"/>
                    <a:gd name="connsiteY12" fmla="*/ 250031 h 789146"/>
                    <a:gd name="connsiteX13" fmla="*/ 544830 w 1540192"/>
                    <a:gd name="connsiteY13" fmla="*/ 250031 h 789146"/>
                    <a:gd name="connsiteX14" fmla="*/ 511493 w 1540192"/>
                    <a:gd name="connsiteY14" fmla="*/ 226219 h 789146"/>
                    <a:gd name="connsiteX15" fmla="*/ 459104 w 1540192"/>
                    <a:gd name="connsiteY15" fmla="*/ 247650 h 789146"/>
                    <a:gd name="connsiteX16" fmla="*/ 406718 w 1540192"/>
                    <a:gd name="connsiteY16" fmla="*/ 242887 h 789146"/>
                    <a:gd name="connsiteX17" fmla="*/ 237649 w 1540192"/>
                    <a:gd name="connsiteY17" fmla="*/ 309562 h 789146"/>
                    <a:gd name="connsiteX18" fmla="*/ 173356 w 1540192"/>
                    <a:gd name="connsiteY18" fmla="*/ 404812 h 789146"/>
                    <a:gd name="connsiteX19" fmla="*/ 48577 w 1540192"/>
                    <a:gd name="connsiteY19" fmla="*/ 412432 h 789146"/>
                    <a:gd name="connsiteX20" fmla="*/ 0 w 1540192"/>
                    <a:gd name="connsiteY20" fmla="*/ 541496 h 789146"/>
                    <a:gd name="connsiteX21" fmla="*/ 127159 w 1540192"/>
                    <a:gd name="connsiteY21" fmla="*/ 705326 h 789146"/>
                    <a:gd name="connsiteX22" fmla="*/ 223361 w 1540192"/>
                    <a:gd name="connsiteY22" fmla="*/ 711994 h 789146"/>
                    <a:gd name="connsiteX23" fmla="*/ 287655 w 1540192"/>
                    <a:gd name="connsiteY23" fmla="*/ 764381 h 789146"/>
                    <a:gd name="connsiteX24" fmla="*/ 355759 w 1540192"/>
                    <a:gd name="connsiteY24" fmla="*/ 789146 h 789146"/>
                    <a:gd name="connsiteX25" fmla="*/ 475774 w 1540192"/>
                    <a:gd name="connsiteY25" fmla="*/ 702469 h 789146"/>
                    <a:gd name="connsiteX26" fmla="*/ 611505 w 1540192"/>
                    <a:gd name="connsiteY26" fmla="*/ 635794 h 789146"/>
                    <a:gd name="connsiteX27" fmla="*/ 668655 w 1540192"/>
                    <a:gd name="connsiteY27" fmla="*/ 642937 h 789146"/>
                    <a:gd name="connsiteX28" fmla="*/ 728663 w 1540192"/>
                    <a:gd name="connsiteY28" fmla="*/ 621506 h 789146"/>
                    <a:gd name="connsiteX29" fmla="*/ 797243 w 1540192"/>
                    <a:gd name="connsiteY29" fmla="*/ 633412 h 789146"/>
                    <a:gd name="connsiteX30" fmla="*/ 840105 w 1540192"/>
                    <a:gd name="connsiteY30" fmla="*/ 640556 h 789146"/>
                    <a:gd name="connsiteX31" fmla="*/ 1029177 w 1540192"/>
                    <a:gd name="connsiteY31" fmla="*/ 504348 h 789146"/>
                    <a:gd name="connsiteX32" fmla="*/ 1147286 w 1540192"/>
                    <a:gd name="connsiteY32" fmla="*/ 476250 h 789146"/>
                    <a:gd name="connsiteX33" fmla="*/ 1223963 w 1540192"/>
                    <a:gd name="connsiteY33" fmla="*/ 434340 h 789146"/>
                    <a:gd name="connsiteX34" fmla="*/ 1292543 w 1540192"/>
                    <a:gd name="connsiteY34" fmla="*/ 414337 h 789146"/>
                    <a:gd name="connsiteX35" fmla="*/ 1366361 w 1540192"/>
                    <a:gd name="connsiteY35" fmla="*/ 352425 h 789146"/>
                    <a:gd name="connsiteX36" fmla="*/ 1459230 w 1540192"/>
                    <a:gd name="connsiteY36" fmla="*/ 276225 h 789146"/>
                    <a:gd name="connsiteX37" fmla="*/ 1527333 w 1540192"/>
                    <a:gd name="connsiteY37" fmla="*/ 258603 h 789146"/>
                    <a:gd name="connsiteX38" fmla="*/ 1540192 w 1540192"/>
                    <a:gd name="connsiteY38" fmla="*/ 219551 h 789146"/>
                    <a:gd name="connsiteX39" fmla="*/ 1504474 w 1540192"/>
                    <a:gd name="connsiteY39" fmla="*/ 195262 h 789146"/>
                    <a:gd name="connsiteX40" fmla="*/ 1519714 w 1540192"/>
                    <a:gd name="connsiteY40" fmla="*/ 137636 h 789146"/>
                    <a:gd name="connsiteX41" fmla="*/ 1456373 w 1540192"/>
                    <a:gd name="connsiteY41" fmla="*/ 73342 h 789146"/>
                    <a:gd name="connsiteX42" fmla="*/ 1368743 w 1540192"/>
                    <a:gd name="connsiteY42" fmla="*/ 73819 h 789146"/>
                    <a:gd name="connsiteX43" fmla="*/ 1375886 w 1540192"/>
                    <a:gd name="connsiteY43" fmla="*/ 19050 h 789146"/>
                    <a:gd name="connsiteX44" fmla="*/ 1290161 w 1540192"/>
                    <a:gd name="connsiteY44" fmla="*/ 0 h 789146"/>
                    <a:gd name="connsiteX45" fmla="*/ 1283970 w 1540192"/>
                    <a:gd name="connsiteY45" fmla="*/ 22384 h 789146"/>
                    <a:gd name="connsiteX0" fmla="*/ 1283970 w 1540192"/>
                    <a:gd name="connsiteY0" fmla="*/ 22384 h 789146"/>
                    <a:gd name="connsiteX1" fmla="*/ 1111568 w 1540192"/>
                    <a:gd name="connsiteY1" fmla="*/ 119063 h 789146"/>
                    <a:gd name="connsiteX2" fmla="*/ 1080611 w 1540192"/>
                    <a:gd name="connsiteY2" fmla="*/ 197644 h 789146"/>
                    <a:gd name="connsiteX3" fmla="*/ 1016318 w 1540192"/>
                    <a:gd name="connsiteY3" fmla="*/ 219075 h 789146"/>
                    <a:gd name="connsiteX4" fmla="*/ 987743 w 1540192"/>
                    <a:gd name="connsiteY4" fmla="*/ 133350 h 789146"/>
                    <a:gd name="connsiteX5" fmla="*/ 918687 w 1540192"/>
                    <a:gd name="connsiteY5" fmla="*/ 104775 h 789146"/>
                    <a:gd name="connsiteX6" fmla="*/ 875824 w 1540192"/>
                    <a:gd name="connsiteY6" fmla="*/ 150018 h 789146"/>
                    <a:gd name="connsiteX7" fmla="*/ 840106 w 1540192"/>
                    <a:gd name="connsiteY7" fmla="*/ 145256 h 789146"/>
                    <a:gd name="connsiteX8" fmla="*/ 816293 w 1540192"/>
                    <a:gd name="connsiteY8" fmla="*/ 197644 h 789146"/>
                    <a:gd name="connsiteX9" fmla="*/ 794861 w 1540192"/>
                    <a:gd name="connsiteY9" fmla="*/ 147637 h 789146"/>
                    <a:gd name="connsiteX10" fmla="*/ 716281 w 1540192"/>
                    <a:gd name="connsiteY10" fmla="*/ 183356 h 789146"/>
                    <a:gd name="connsiteX11" fmla="*/ 616267 w 1540192"/>
                    <a:gd name="connsiteY11" fmla="*/ 226219 h 789146"/>
                    <a:gd name="connsiteX12" fmla="*/ 601980 w 1540192"/>
                    <a:gd name="connsiteY12" fmla="*/ 250031 h 789146"/>
                    <a:gd name="connsiteX13" fmla="*/ 544830 w 1540192"/>
                    <a:gd name="connsiteY13" fmla="*/ 250031 h 789146"/>
                    <a:gd name="connsiteX14" fmla="*/ 511493 w 1540192"/>
                    <a:gd name="connsiteY14" fmla="*/ 226219 h 789146"/>
                    <a:gd name="connsiteX15" fmla="*/ 459104 w 1540192"/>
                    <a:gd name="connsiteY15" fmla="*/ 247650 h 789146"/>
                    <a:gd name="connsiteX16" fmla="*/ 406718 w 1540192"/>
                    <a:gd name="connsiteY16" fmla="*/ 242887 h 789146"/>
                    <a:gd name="connsiteX17" fmla="*/ 237649 w 1540192"/>
                    <a:gd name="connsiteY17" fmla="*/ 309562 h 789146"/>
                    <a:gd name="connsiteX18" fmla="*/ 173356 w 1540192"/>
                    <a:gd name="connsiteY18" fmla="*/ 404812 h 789146"/>
                    <a:gd name="connsiteX19" fmla="*/ 48577 w 1540192"/>
                    <a:gd name="connsiteY19" fmla="*/ 412432 h 789146"/>
                    <a:gd name="connsiteX20" fmla="*/ 0 w 1540192"/>
                    <a:gd name="connsiteY20" fmla="*/ 541496 h 789146"/>
                    <a:gd name="connsiteX21" fmla="*/ 127159 w 1540192"/>
                    <a:gd name="connsiteY21" fmla="*/ 705326 h 789146"/>
                    <a:gd name="connsiteX22" fmla="*/ 223361 w 1540192"/>
                    <a:gd name="connsiteY22" fmla="*/ 711994 h 789146"/>
                    <a:gd name="connsiteX23" fmla="*/ 287655 w 1540192"/>
                    <a:gd name="connsiteY23" fmla="*/ 764381 h 789146"/>
                    <a:gd name="connsiteX24" fmla="*/ 355759 w 1540192"/>
                    <a:gd name="connsiteY24" fmla="*/ 789146 h 789146"/>
                    <a:gd name="connsiteX25" fmla="*/ 475774 w 1540192"/>
                    <a:gd name="connsiteY25" fmla="*/ 702469 h 789146"/>
                    <a:gd name="connsiteX26" fmla="*/ 549593 w 1540192"/>
                    <a:gd name="connsiteY26" fmla="*/ 683419 h 789146"/>
                    <a:gd name="connsiteX27" fmla="*/ 611505 w 1540192"/>
                    <a:gd name="connsiteY27" fmla="*/ 635794 h 789146"/>
                    <a:gd name="connsiteX28" fmla="*/ 668655 w 1540192"/>
                    <a:gd name="connsiteY28" fmla="*/ 642937 h 789146"/>
                    <a:gd name="connsiteX29" fmla="*/ 728663 w 1540192"/>
                    <a:gd name="connsiteY29" fmla="*/ 621506 h 789146"/>
                    <a:gd name="connsiteX30" fmla="*/ 797243 w 1540192"/>
                    <a:gd name="connsiteY30" fmla="*/ 633412 h 789146"/>
                    <a:gd name="connsiteX31" fmla="*/ 840105 w 1540192"/>
                    <a:gd name="connsiteY31" fmla="*/ 640556 h 789146"/>
                    <a:gd name="connsiteX32" fmla="*/ 1029177 w 1540192"/>
                    <a:gd name="connsiteY32" fmla="*/ 504348 h 789146"/>
                    <a:gd name="connsiteX33" fmla="*/ 1147286 w 1540192"/>
                    <a:gd name="connsiteY33" fmla="*/ 476250 h 789146"/>
                    <a:gd name="connsiteX34" fmla="*/ 1223963 w 1540192"/>
                    <a:gd name="connsiteY34" fmla="*/ 434340 h 789146"/>
                    <a:gd name="connsiteX35" fmla="*/ 1292543 w 1540192"/>
                    <a:gd name="connsiteY35" fmla="*/ 414337 h 789146"/>
                    <a:gd name="connsiteX36" fmla="*/ 1366361 w 1540192"/>
                    <a:gd name="connsiteY36" fmla="*/ 352425 h 789146"/>
                    <a:gd name="connsiteX37" fmla="*/ 1459230 w 1540192"/>
                    <a:gd name="connsiteY37" fmla="*/ 276225 h 789146"/>
                    <a:gd name="connsiteX38" fmla="*/ 1527333 w 1540192"/>
                    <a:gd name="connsiteY38" fmla="*/ 258603 h 789146"/>
                    <a:gd name="connsiteX39" fmla="*/ 1540192 w 1540192"/>
                    <a:gd name="connsiteY39" fmla="*/ 219551 h 789146"/>
                    <a:gd name="connsiteX40" fmla="*/ 1504474 w 1540192"/>
                    <a:gd name="connsiteY40" fmla="*/ 195262 h 789146"/>
                    <a:gd name="connsiteX41" fmla="*/ 1519714 w 1540192"/>
                    <a:gd name="connsiteY41" fmla="*/ 137636 h 789146"/>
                    <a:gd name="connsiteX42" fmla="*/ 1456373 w 1540192"/>
                    <a:gd name="connsiteY42" fmla="*/ 73342 h 789146"/>
                    <a:gd name="connsiteX43" fmla="*/ 1368743 w 1540192"/>
                    <a:gd name="connsiteY43" fmla="*/ 73819 h 789146"/>
                    <a:gd name="connsiteX44" fmla="*/ 1375886 w 1540192"/>
                    <a:gd name="connsiteY44" fmla="*/ 19050 h 789146"/>
                    <a:gd name="connsiteX45" fmla="*/ 1290161 w 1540192"/>
                    <a:gd name="connsiteY45" fmla="*/ 0 h 789146"/>
                    <a:gd name="connsiteX46" fmla="*/ 1283970 w 1540192"/>
                    <a:gd name="connsiteY46" fmla="*/ 22384 h 78914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</a:cxnLst>
                  <a:rect l="l" t="t" r="r" b="b"/>
                  <a:pathLst>
                    <a:path w="1540192" h="789146">
                      <a:moveTo>
                        <a:pt x="1283970" y="22384"/>
                      </a:moveTo>
                      <a:lnTo>
                        <a:pt x="1111568" y="119063"/>
                      </a:lnTo>
                      <a:lnTo>
                        <a:pt x="1080611" y="197644"/>
                      </a:lnTo>
                      <a:lnTo>
                        <a:pt x="1016318" y="219075"/>
                      </a:lnTo>
                      <a:lnTo>
                        <a:pt x="987743" y="133350"/>
                      </a:lnTo>
                      <a:lnTo>
                        <a:pt x="918687" y="104775"/>
                      </a:lnTo>
                      <a:lnTo>
                        <a:pt x="875824" y="150018"/>
                      </a:lnTo>
                      <a:lnTo>
                        <a:pt x="840106" y="145256"/>
                      </a:lnTo>
                      <a:lnTo>
                        <a:pt x="816293" y="197644"/>
                      </a:lnTo>
                      <a:lnTo>
                        <a:pt x="794861" y="147637"/>
                      </a:lnTo>
                      <a:lnTo>
                        <a:pt x="716281" y="183356"/>
                      </a:lnTo>
                      <a:lnTo>
                        <a:pt x="616267" y="226219"/>
                      </a:lnTo>
                      <a:lnTo>
                        <a:pt x="601980" y="250031"/>
                      </a:lnTo>
                      <a:cubicBezTo>
                        <a:pt x="594043" y="252412"/>
                        <a:pt x="559911" y="254000"/>
                        <a:pt x="544830" y="250031"/>
                      </a:cubicBezTo>
                      <a:cubicBezTo>
                        <a:pt x="529749" y="246062"/>
                        <a:pt x="529749" y="225028"/>
                        <a:pt x="511493" y="226219"/>
                      </a:cubicBezTo>
                      <a:lnTo>
                        <a:pt x="459104" y="247650"/>
                      </a:lnTo>
                      <a:lnTo>
                        <a:pt x="406718" y="242887"/>
                      </a:lnTo>
                      <a:lnTo>
                        <a:pt x="237649" y="309562"/>
                      </a:lnTo>
                      <a:lnTo>
                        <a:pt x="173356" y="404812"/>
                      </a:lnTo>
                      <a:lnTo>
                        <a:pt x="48577" y="412432"/>
                      </a:lnTo>
                      <a:lnTo>
                        <a:pt x="0" y="541496"/>
                      </a:lnTo>
                      <a:lnTo>
                        <a:pt x="127159" y="705326"/>
                      </a:lnTo>
                      <a:cubicBezTo>
                        <a:pt x="165576" y="719455"/>
                        <a:pt x="184944" y="697865"/>
                        <a:pt x="223361" y="711994"/>
                      </a:cubicBezTo>
                      <a:cubicBezTo>
                        <a:pt x="253524" y="728663"/>
                        <a:pt x="257492" y="747712"/>
                        <a:pt x="287655" y="764381"/>
                      </a:cubicBezTo>
                      <a:lnTo>
                        <a:pt x="355759" y="789146"/>
                      </a:lnTo>
                      <a:cubicBezTo>
                        <a:pt x="409258" y="765810"/>
                        <a:pt x="422275" y="725805"/>
                        <a:pt x="475774" y="702469"/>
                      </a:cubicBezTo>
                      <a:cubicBezTo>
                        <a:pt x="508873" y="681276"/>
                        <a:pt x="526971" y="694531"/>
                        <a:pt x="549593" y="683419"/>
                      </a:cubicBezTo>
                      <a:cubicBezTo>
                        <a:pt x="572215" y="672307"/>
                        <a:pt x="592455" y="638969"/>
                        <a:pt x="611505" y="635794"/>
                      </a:cubicBezTo>
                      <a:cubicBezTo>
                        <a:pt x="624999" y="633413"/>
                        <a:pt x="655161" y="645318"/>
                        <a:pt x="668655" y="642937"/>
                      </a:cubicBezTo>
                      <a:lnTo>
                        <a:pt x="728663" y="621506"/>
                      </a:lnTo>
                      <a:cubicBezTo>
                        <a:pt x="780098" y="600075"/>
                        <a:pt x="745808" y="654843"/>
                        <a:pt x="797243" y="633412"/>
                      </a:cubicBezTo>
                      <a:cubicBezTo>
                        <a:pt x="836137" y="609600"/>
                        <a:pt x="801211" y="664368"/>
                        <a:pt x="840105" y="640556"/>
                      </a:cubicBezTo>
                      <a:lnTo>
                        <a:pt x="1029177" y="504348"/>
                      </a:lnTo>
                      <a:cubicBezTo>
                        <a:pt x="1069341" y="487838"/>
                        <a:pt x="1107122" y="492760"/>
                        <a:pt x="1147286" y="476250"/>
                      </a:cubicBezTo>
                      <a:lnTo>
                        <a:pt x="1223963" y="434340"/>
                      </a:lnTo>
                      <a:cubicBezTo>
                        <a:pt x="1263889" y="416163"/>
                        <a:pt x="1268810" y="427989"/>
                        <a:pt x="1292543" y="414337"/>
                      </a:cubicBezTo>
                      <a:cubicBezTo>
                        <a:pt x="1316276" y="400685"/>
                        <a:pt x="1334611" y="372269"/>
                        <a:pt x="1366361" y="352425"/>
                      </a:cubicBezTo>
                      <a:cubicBezTo>
                        <a:pt x="1398111" y="332581"/>
                        <a:pt x="1432798" y="288290"/>
                        <a:pt x="1459230" y="276225"/>
                      </a:cubicBezTo>
                      <a:lnTo>
                        <a:pt x="1527333" y="258603"/>
                      </a:lnTo>
                      <a:lnTo>
                        <a:pt x="1540192" y="219551"/>
                      </a:lnTo>
                      <a:cubicBezTo>
                        <a:pt x="1537811" y="203517"/>
                        <a:pt x="1506855" y="211296"/>
                        <a:pt x="1504474" y="195262"/>
                      </a:cubicBezTo>
                      <a:lnTo>
                        <a:pt x="1519714" y="137636"/>
                      </a:lnTo>
                      <a:cubicBezTo>
                        <a:pt x="1496219" y="132873"/>
                        <a:pt x="1477487" y="94773"/>
                        <a:pt x="1456373" y="73342"/>
                      </a:cubicBezTo>
                      <a:cubicBezTo>
                        <a:pt x="1417717" y="71437"/>
                        <a:pt x="1382157" y="82868"/>
                        <a:pt x="1368743" y="73819"/>
                      </a:cubicBezTo>
                      <a:cubicBezTo>
                        <a:pt x="1355329" y="64770"/>
                        <a:pt x="1396523" y="27384"/>
                        <a:pt x="1375886" y="19050"/>
                      </a:cubicBezTo>
                      <a:cubicBezTo>
                        <a:pt x="1355249" y="10716"/>
                        <a:pt x="1305480" y="1826"/>
                        <a:pt x="1290161" y="0"/>
                      </a:cubicBezTo>
                      <a:lnTo>
                        <a:pt x="1283970" y="22384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5" name="Freeform 94"/>
                <p:cNvSpPr/>
                <p:nvPr/>
              </p:nvSpPr>
              <p:spPr>
                <a:xfrm>
                  <a:off x="4283870" y="5207794"/>
                  <a:ext cx="2288380" cy="1582686"/>
                </a:xfrm>
                <a:custGeom>
                  <a:avLst/>
                  <a:gdLst>
                    <a:gd name="connsiteX0" fmla="*/ 976312 w 2424112"/>
                    <a:gd name="connsiteY0" fmla="*/ 0 h 1709737"/>
                    <a:gd name="connsiteX1" fmla="*/ 338137 w 2424112"/>
                    <a:gd name="connsiteY1" fmla="*/ 428625 h 1709737"/>
                    <a:gd name="connsiteX2" fmla="*/ 404812 w 2424112"/>
                    <a:gd name="connsiteY2" fmla="*/ 600075 h 1709737"/>
                    <a:gd name="connsiteX3" fmla="*/ 228600 w 2424112"/>
                    <a:gd name="connsiteY3" fmla="*/ 809625 h 1709737"/>
                    <a:gd name="connsiteX4" fmla="*/ 0 w 2424112"/>
                    <a:gd name="connsiteY4" fmla="*/ 847725 h 1709737"/>
                    <a:gd name="connsiteX5" fmla="*/ 19050 w 2424112"/>
                    <a:gd name="connsiteY5" fmla="*/ 1595437 h 1709737"/>
                    <a:gd name="connsiteX6" fmla="*/ 1304925 w 2424112"/>
                    <a:gd name="connsiteY6" fmla="*/ 1709737 h 1709737"/>
                    <a:gd name="connsiteX7" fmla="*/ 2133600 w 2424112"/>
                    <a:gd name="connsiteY7" fmla="*/ 1704975 h 1709737"/>
                    <a:gd name="connsiteX8" fmla="*/ 2424112 w 2424112"/>
                    <a:gd name="connsiteY8" fmla="*/ 1357312 h 1709737"/>
                    <a:gd name="connsiteX9" fmla="*/ 2271712 w 2424112"/>
                    <a:gd name="connsiteY9" fmla="*/ 862012 h 1709737"/>
                    <a:gd name="connsiteX10" fmla="*/ 1724025 w 2424112"/>
                    <a:gd name="connsiteY10" fmla="*/ 652462 h 1709737"/>
                    <a:gd name="connsiteX11" fmla="*/ 1833562 w 2424112"/>
                    <a:gd name="connsiteY11" fmla="*/ 242887 h 1709737"/>
                    <a:gd name="connsiteX12" fmla="*/ 1476375 w 2424112"/>
                    <a:gd name="connsiteY12" fmla="*/ 314325 h 1709737"/>
                    <a:gd name="connsiteX13" fmla="*/ 1295400 w 2424112"/>
                    <a:gd name="connsiteY13" fmla="*/ 223837 h 1709737"/>
                    <a:gd name="connsiteX14" fmla="*/ 1100137 w 2424112"/>
                    <a:gd name="connsiteY14" fmla="*/ 314325 h 1709737"/>
                    <a:gd name="connsiteX15" fmla="*/ 1052512 w 2424112"/>
                    <a:gd name="connsiteY15" fmla="*/ 161925 h 1709737"/>
                    <a:gd name="connsiteX16" fmla="*/ 976312 w 2424112"/>
                    <a:gd name="connsiteY16" fmla="*/ 0 h 1709737"/>
                    <a:gd name="connsiteX0" fmla="*/ 850106 w 2424112"/>
                    <a:gd name="connsiteY0" fmla="*/ 4762 h 1547812"/>
                    <a:gd name="connsiteX1" fmla="*/ 338137 w 2424112"/>
                    <a:gd name="connsiteY1" fmla="*/ 266700 h 1547812"/>
                    <a:gd name="connsiteX2" fmla="*/ 404812 w 2424112"/>
                    <a:gd name="connsiteY2" fmla="*/ 438150 h 1547812"/>
                    <a:gd name="connsiteX3" fmla="*/ 228600 w 2424112"/>
                    <a:gd name="connsiteY3" fmla="*/ 647700 h 1547812"/>
                    <a:gd name="connsiteX4" fmla="*/ 0 w 2424112"/>
                    <a:gd name="connsiteY4" fmla="*/ 685800 h 1547812"/>
                    <a:gd name="connsiteX5" fmla="*/ 19050 w 2424112"/>
                    <a:gd name="connsiteY5" fmla="*/ 1433512 h 1547812"/>
                    <a:gd name="connsiteX6" fmla="*/ 1304925 w 2424112"/>
                    <a:gd name="connsiteY6" fmla="*/ 1547812 h 1547812"/>
                    <a:gd name="connsiteX7" fmla="*/ 2133600 w 2424112"/>
                    <a:gd name="connsiteY7" fmla="*/ 1543050 h 1547812"/>
                    <a:gd name="connsiteX8" fmla="*/ 2424112 w 2424112"/>
                    <a:gd name="connsiteY8" fmla="*/ 1195387 h 1547812"/>
                    <a:gd name="connsiteX9" fmla="*/ 2271712 w 2424112"/>
                    <a:gd name="connsiteY9" fmla="*/ 700087 h 1547812"/>
                    <a:gd name="connsiteX10" fmla="*/ 1724025 w 2424112"/>
                    <a:gd name="connsiteY10" fmla="*/ 490537 h 1547812"/>
                    <a:gd name="connsiteX11" fmla="*/ 1833562 w 2424112"/>
                    <a:gd name="connsiteY11" fmla="*/ 80962 h 1547812"/>
                    <a:gd name="connsiteX12" fmla="*/ 1476375 w 2424112"/>
                    <a:gd name="connsiteY12" fmla="*/ 152400 h 1547812"/>
                    <a:gd name="connsiteX13" fmla="*/ 1295400 w 2424112"/>
                    <a:gd name="connsiteY13" fmla="*/ 61912 h 1547812"/>
                    <a:gd name="connsiteX14" fmla="*/ 1100137 w 2424112"/>
                    <a:gd name="connsiteY14" fmla="*/ 152400 h 1547812"/>
                    <a:gd name="connsiteX15" fmla="*/ 1052512 w 2424112"/>
                    <a:gd name="connsiteY15" fmla="*/ 0 h 1547812"/>
                    <a:gd name="connsiteX16" fmla="*/ 850106 w 2424112"/>
                    <a:gd name="connsiteY16" fmla="*/ 4762 h 1547812"/>
                    <a:gd name="connsiteX0" fmla="*/ 850106 w 2424112"/>
                    <a:gd name="connsiteY0" fmla="*/ 4762 h 1547812"/>
                    <a:gd name="connsiteX1" fmla="*/ 338137 w 2424112"/>
                    <a:gd name="connsiteY1" fmla="*/ 266700 h 1547812"/>
                    <a:gd name="connsiteX2" fmla="*/ 404812 w 2424112"/>
                    <a:gd name="connsiteY2" fmla="*/ 438150 h 1547812"/>
                    <a:gd name="connsiteX3" fmla="*/ 228600 w 2424112"/>
                    <a:gd name="connsiteY3" fmla="*/ 647700 h 1547812"/>
                    <a:gd name="connsiteX4" fmla="*/ 0 w 2424112"/>
                    <a:gd name="connsiteY4" fmla="*/ 685800 h 1547812"/>
                    <a:gd name="connsiteX5" fmla="*/ 19050 w 2424112"/>
                    <a:gd name="connsiteY5" fmla="*/ 1433512 h 1547812"/>
                    <a:gd name="connsiteX6" fmla="*/ 1304925 w 2424112"/>
                    <a:gd name="connsiteY6" fmla="*/ 1547812 h 1547812"/>
                    <a:gd name="connsiteX7" fmla="*/ 2133600 w 2424112"/>
                    <a:gd name="connsiteY7" fmla="*/ 1543050 h 1547812"/>
                    <a:gd name="connsiteX8" fmla="*/ 2424112 w 2424112"/>
                    <a:gd name="connsiteY8" fmla="*/ 1195387 h 1547812"/>
                    <a:gd name="connsiteX9" fmla="*/ 2271712 w 2424112"/>
                    <a:gd name="connsiteY9" fmla="*/ 700087 h 1547812"/>
                    <a:gd name="connsiteX10" fmla="*/ 1724025 w 2424112"/>
                    <a:gd name="connsiteY10" fmla="*/ 490537 h 1547812"/>
                    <a:gd name="connsiteX11" fmla="*/ 1833562 w 2424112"/>
                    <a:gd name="connsiteY11" fmla="*/ 80962 h 1547812"/>
                    <a:gd name="connsiteX12" fmla="*/ 1476375 w 2424112"/>
                    <a:gd name="connsiteY12" fmla="*/ 152400 h 1547812"/>
                    <a:gd name="connsiteX13" fmla="*/ 1295400 w 2424112"/>
                    <a:gd name="connsiteY13" fmla="*/ 61912 h 1547812"/>
                    <a:gd name="connsiteX14" fmla="*/ 1100137 w 2424112"/>
                    <a:gd name="connsiteY14" fmla="*/ 152400 h 1547812"/>
                    <a:gd name="connsiteX15" fmla="*/ 1052512 w 2424112"/>
                    <a:gd name="connsiteY15" fmla="*/ 0 h 1547812"/>
                    <a:gd name="connsiteX16" fmla="*/ 981075 w 2424112"/>
                    <a:gd name="connsiteY16" fmla="*/ 2380 h 1547812"/>
                    <a:gd name="connsiteX17" fmla="*/ 850106 w 2424112"/>
                    <a:gd name="connsiteY17" fmla="*/ 4762 h 154781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724025 w 2424112"/>
                    <a:gd name="connsiteY10" fmla="*/ 564357 h 1621632"/>
                    <a:gd name="connsiteX11" fmla="*/ 1833562 w 2424112"/>
                    <a:gd name="connsiteY11" fmla="*/ 154782 h 1621632"/>
                    <a:gd name="connsiteX12" fmla="*/ 1476375 w 2424112"/>
                    <a:gd name="connsiteY12" fmla="*/ 226220 h 1621632"/>
                    <a:gd name="connsiteX13" fmla="*/ 1295400 w 2424112"/>
                    <a:gd name="connsiteY13" fmla="*/ 135732 h 1621632"/>
                    <a:gd name="connsiteX14" fmla="*/ 1100137 w 2424112"/>
                    <a:gd name="connsiteY14" fmla="*/ 226220 h 1621632"/>
                    <a:gd name="connsiteX15" fmla="*/ 1052512 w 2424112"/>
                    <a:gd name="connsiteY15" fmla="*/ 73820 h 1621632"/>
                    <a:gd name="connsiteX16" fmla="*/ 962025 w 2424112"/>
                    <a:gd name="connsiteY16" fmla="*/ 0 h 1621632"/>
                    <a:gd name="connsiteX17" fmla="*/ 850106 w 2424112"/>
                    <a:gd name="connsiteY17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724025 w 2424112"/>
                    <a:gd name="connsiteY10" fmla="*/ 564357 h 1621632"/>
                    <a:gd name="connsiteX11" fmla="*/ 1833562 w 2424112"/>
                    <a:gd name="connsiteY11" fmla="*/ 154782 h 1621632"/>
                    <a:gd name="connsiteX12" fmla="*/ 1476375 w 2424112"/>
                    <a:gd name="connsiteY12" fmla="*/ 226220 h 1621632"/>
                    <a:gd name="connsiteX13" fmla="*/ 1295400 w 2424112"/>
                    <a:gd name="connsiteY13" fmla="*/ 135732 h 1621632"/>
                    <a:gd name="connsiteX14" fmla="*/ 1100137 w 2424112"/>
                    <a:gd name="connsiteY14" fmla="*/ 226220 h 1621632"/>
                    <a:gd name="connsiteX15" fmla="*/ 990600 w 2424112"/>
                    <a:gd name="connsiteY15" fmla="*/ 123826 h 1621632"/>
                    <a:gd name="connsiteX16" fmla="*/ 962025 w 2424112"/>
                    <a:gd name="connsiteY16" fmla="*/ 0 h 1621632"/>
                    <a:gd name="connsiteX17" fmla="*/ 850106 w 2424112"/>
                    <a:gd name="connsiteY17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724025 w 2424112"/>
                    <a:gd name="connsiteY10" fmla="*/ 564357 h 1621632"/>
                    <a:gd name="connsiteX11" fmla="*/ 1833562 w 2424112"/>
                    <a:gd name="connsiteY11" fmla="*/ 154782 h 1621632"/>
                    <a:gd name="connsiteX12" fmla="*/ 1476375 w 2424112"/>
                    <a:gd name="connsiteY12" fmla="*/ 226220 h 1621632"/>
                    <a:gd name="connsiteX13" fmla="*/ 1295400 w 2424112"/>
                    <a:gd name="connsiteY13" fmla="*/ 135732 h 1621632"/>
                    <a:gd name="connsiteX14" fmla="*/ 857250 w 2424112"/>
                    <a:gd name="connsiteY14" fmla="*/ 340520 h 1621632"/>
                    <a:gd name="connsiteX15" fmla="*/ 990600 w 2424112"/>
                    <a:gd name="connsiteY15" fmla="*/ 123826 h 1621632"/>
                    <a:gd name="connsiteX16" fmla="*/ 962025 w 2424112"/>
                    <a:gd name="connsiteY16" fmla="*/ 0 h 1621632"/>
                    <a:gd name="connsiteX17" fmla="*/ 850106 w 2424112"/>
                    <a:gd name="connsiteY17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724025 w 2424112"/>
                    <a:gd name="connsiteY10" fmla="*/ 564357 h 1621632"/>
                    <a:gd name="connsiteX11" fmla="*/ 1833562 w 2424112"/>
                    <a:gd name="connsiteY11" fmla="*/ 154782 h 1621632"/>
                    <a:gd name="connsiteX12" fmla="*/ 1476375 w 2424112"/>
                    <a:gd name="connsiteY12" fmla="*/ 226220 h 1621632"/>
                    <a:gd name="connsiteX13" fmla="*/ 1088232 w 2424112"/>
                    <a:gd name="connsiteY13" fmla="*/ 309564 h 1621632"/>
                    <a:gd name="connsiteX14" fmla="*/ 857250 w 2424112"/>
                    <a:gd name="connsiteY14" fmla="*/ 340520 h 1621632"/>
                    <a:gd name="connsiteX15" fmla="*/ 990600 w 2424112"/>
                    <a:gd name="connsiteY15" fmla="*/ 123826 h 1621632"/>
                    <a:gd name="connsiteX16" fmla="*/ 962025 w 2424112"/>
                    <a:gd name="connsiteY16" fmla="*/ 0 h 1621632"/>
                    <a:gd name="connsiteX17" fmla="*/ 850106 w 2424112"/>
                    <a:gd name="connsiteY17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724025 w 2424112"/>
                    <a:gd name="connsiteY10" fmla="*/ 564357 h 1621632"/>
                    <a:gd name="connsiteX11" fmla="*/ 1833562 w 2424112"/>
                    <a:gd name="connsiteY11" fmla="*/ 154782 h 1621632"/>
                    <a:gd name="connsiteX12" fmla="*/ 1319213 w 2424112"/>
                    <a:gd name="connsiteY12" fmla="*/ 214314 h 1621632"/>
                    <a:gd name="connsiteX13" fmla="*/ 1088232 w 2424112"/>
                    <a:gd name="connsiteY13" fmla="*/ 309564 h 1621632"/>
                    <a:gd name="connsiteX14" fmla="*/ 857250 w 2424112"/>
                    <a:gd name="connsiteY14" fmla="*/ 340520 h 1621632"/>
                    <a:gd name="connsiteX15" fmla="*/ 990600 w 2424112"/>
                    <a:gd name="connsiteY15" fmla="*/ 123826 h 1621632"/>
                    <a:gd name="connsiteX16" fmla="*/ 962025 w 2424112"/>
                    <a:gd name="connsiteY16" fmla="*/ 0 h 1621632"/>
                    <a:gd name="connsiteX17" fmla="*/ 850106 w 2424112"/>
                    <a:gd name="connsiteY17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724025 w 2424112"/>
                    <a:gd name="connsiteY10" fmla="*/ 564357 h 1621632"/>
                    <a:gd name="connsiteX11" fmla="*/ 1740693 w 2424112"/>
                    <a:gd name="connsiteY11" fmla="*/ 219076 h 1621632"/>
                    <a:gd name="connsiteX12" fmla="*/ 1319213 w 2424112"/>
                    <a:gd name="connsiteY12" fmla="*/ 214314 h 1621632"/>
                    <a:gd name="connsiteX13" fmla="*/ 1088232 w 2424112"/>
                    <a:gd name="connsiteY13" fmla="*/ 309564 h 1621632"/>
                    <a:gd name="connsiteX14" fmla="*/ 857250 w 2424112"/>
                    <a:gd name="connsiteY14" fmla="*/ 340520 h 1621632"/>
                    <a:gd name="connsiteX15" fmla="*/ 990600 w 2424112"/>
                    <a:gd name="connsiteY15" fmla="*/ 123826 h 1621632"/>
                    <a:gd name="connsiteX16" fmla="*/ 962025 w 2424112"/>
                    <a:gd name="connsiteY16" fmla="*/ 0 h 1621632"/>
                    <a:gd name="connsiteX17" fmla="*/ 850106 w 2424112"/>
                    <a:gd name="connsiteY17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724025 w 2424112"/>
                    <a:gd name="connsiteY10" fmla="*/ 564357 h 1621632"/>
                    <a:gd name="connsiteX11" fmla="*/ 1740693 w 2424112"/>
                    <a:gd name="connsiteY11" fmla="*/ 219076 h 1621632"/>
                    <a:gd name="connsiteX12" fmla="*/ 1543050 w 2424112"/>
                    <a:gd name="connsiteY12" fmla="*/ 211931 h 1621632"/>
                    <a:gd name="connsiteX13" fmla="*/ 1319213 w 2424112"/>
                    <a:gd name="connsiteY13" fmla="*/ 214314 h 1621632"/>
                    <a:gd name="connsiteX14" fmla="*/ 1088232 w 2424112"/>
                    <a:gd name="connsiteY14" fmla="*/ 309564 h 1621632"/>
                    <a:gd name="connsiteX15" fmla="*/ 857250 w 2424112"/>
                    <a:gd name="connsiteY15" fmla="*/ 340520 h 1621632"/>
                    <a:gd name="connsiteX16" fmla="*/ 990600 w 2424112"/>
                    <a:gd name="connsiteY16" fmla="*/ 123826 h 1621632"/>
                    <a:gd name="connsiteX17" fmla="*/ 962025 w 2424112"/>
                    <a:gd name="connsiteY17" fmla="*/ 0 h 1621632"/>
                    <a:gd name="connsiteX18" fmla="*/ 850106 w 2424112"/>
                    <a:gd name="connsiteY18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724025 w 2424112"/>
                    <a:gd name="connsiteY10" fmla="*/ 564357 h 1621632"/>
                    <a:gd name="connsiteX11" fmla="*/ 1740693 w 2424112"/>
                    <a:gd name="connsiteY11" fmla="*/ 219076 h 1621632"/>
                    <a:gd name="connsiteX12" fmla="*/ 1333500 w 2424112"/>
                    <a:gd name="connsiteY12" fmla="*/ 469106 h 1621632"/>
                    <a:gd name="connsiteX13" fmla="*/ 1319213 w 2424112"/>
                    <a:gd name="connsiteY13" fmla="*/ 214314 h 1621632"/>
                    <a:gd name="connsiteX14" fmla="*/ 1088232 w 2424112"/>
                    <a:gd name="connsiteY14" fmla="*/ 309564 h 1621632"/>
                    <a:gd name="connsiteX15" fmla="*/ 857250 w 2424112"/>
                    <a:gd name="connsiteY15" fmla="*/ 340520 h 1621632"/>
                    <a:gd name="connsiteX16" fmla="*/ 990600 w 2424112"/>
                    <a:gd name="connsiteY16" fmla="*/ 123826 h 1621632"/>
                    <a:gd name="connsiteX17" fmla="*/ 962025 w 2424112"/>
                    <a:gd name="connsiteY17" fmla="*/ 0 h 1621632"/>
                    <a:gd name="connsiteX18" fmla="*/ 850106 w 2424112"/>
                    <a:gd name="connsiteY18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569244 w 2424112"/>
                    <a:gd name="connsiteY10" fmla="*/ 442913 h 1621632"/>
                    <a:gd name="connsiteX11" fmla="*/ 1740693 w 2424112"/>
                    <a:gd name="connsiteY11" fmla="*/ 219076 h 1621632"/>
                    <a:gd name="connsiteX12" fmla="*/ 1333500 w 2424112"/>
                    <a:gd name="connsiteY12" fmla="*/ 469106 h 1621632"/>
                    <a:gd name="connsiteX13" fmla="*/ 1319213 w 2424112"/>
                    <a:gd name="connsiteY13" fmla="*/ 214314 h 1621632"/>
                    <a:gd name="connsiteX14" fmla="*/ 1088232 w 2424112"/>
                    <a:gd name="connsiteY14" fmla="*/ 309564 h 1621632"/>
                    <a:gd name="connsiteX15" fmla="*/ 857250 w 2424112"/>
                    <a:gd name="connsiteY15" fmla="*/ 340520 h 1621632"/>
                    <a:gd name="connsiteX16" fmla="*/ 990600 w 2424112"/>
                    <a:gd name="connsiteY16" fmla="*/ 123826 h 1621632"/>
                    <a:gd name="connsiteX17" fmla="*/ 962025 w 2424112"/>
                    <a:gd name="connsiteY17" fmla="*/ 0 h 1621632"/>
                    <a:gd name="connsiteX18" fmla="*/ 850106 w 2424112"/>
                    <a:gd name="connsiteY18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838325 w 2424112"/>
                    <a:gd name="connsiteY10" fmla="*/ 571500 h 1621632"/>
                    <a:gd name="connsiteX11" fmla="*/ 1569244 w 2424112"/>
                    <a:gd name="connsiteY11" fmla="*/ 442913 h 1621632"/>
                    <a:gd name="connsiteX12" fmla="*/ 1740693 w 2424112"/>
                    <a:gd name="connsiteY12" fmla="*/ 219076 h 1621632"/>
                    <a:gd name="connsiteX13" fmla="*/ 1333500 w 2424112"/>
                    <a:gd name="connsiteY13" fmla="*/ 469106 h 1621632"/>
                    <a:gd name="connsiteX14" fmla="*/ 1319213 w 2424112"/>
                    <a:gd name="connsiteY14" fmla="*/ 214314 h 1621632"/>
                    <a:gd name="connsiteX15" fmla="*/ 1088232 w 2424112"/>
                    <a:gd name="connsiteY15" fmla="*/ 309564 h 1621632"/>
                    <a:gd name="connsiteX16" fmla="*/ 857250 w 2424112"/>
                    <a:gd name="connsiteY16" fmla="*/ 340520 h 1621632"/>
                    <a:gd name="connsiteX17" fmla="*/ 990600 w 2424112"/>
                    <a:gd name="connsiteY17" fmla="*/ 123826 h 1621632"/>
                    <a:gd name="connsiteX18" fmla="*/ 962025 w 2424112"/>
                    <a:gd name="connsiteY18" fmla="*/ 0 h 1621632"/>
                    <a:gd name="connsiteX19" fmla="*/ 850106 w 2424112"/>
                    <a:gd name="connsiteY19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271712 w 2424112"/>
                    <a:gd name="connsiteY9" fmla="*/ 773907 h 1621632"/>
                    <a:gd name="connsiteX10" fmla="*/ 1576388 w 2424112"/>
                    <a:gd name="connsiteY10" fmla="*/ 604837 h 1621632"/>
                    <a:gd name="connsiteX11" fmla="*/ 1569244 w 2424112"/>
                    <a:gd name="connsiteY11" fmla="*/ 442913 h 1621632"/>
                    <a:gd name="connsiteX12" fmla="*/ 1740693 w 2424112"/>
                    <a:gd name="connsiteY12" fmla="*/ 219076 h 1621632"/>
                    <a:gd name="connsiteX13" fmla="*/ 1333500 w 2424112"/>
                    <a:gd name="connsiteY13" fmla="*/ 469106 h 1621632"/>
                    <a:gd name="connsiteX14" fmla="*/ 1319213 w 2424112"/>
                    <a:gd name="connsiteY14" fmla="*/ 214314 h 1621632"/>
                    <a:gd name="connsiteX15" fmla="*/ 1088232 w 2424112"/>
                    <a:gd name="connsiteY15" fmla="*/ 309564 h 1621632"/>
                    <a:gd name="connsiteX16" fmla="*/ 857250 w 2424112"/>
                    <a:gd name="connsiteY16" fmla="*/ 340520 h 1621632"/>
                    <a:gd name="connsiteX17" fmla="*/ 990600 w 2424112"/>
                    <a:gd name="connsiteY17" fmla="*/ 123826 h 1621632"/>
                    <a:gd name="connsiteX18" fmla="*/ 962025 w 2424112"/>
                    <a:gd name="connsiteY18" fmla="*/ 0 h 1621632"/>
                    <a:gd name="connsiteX19" fmla="*/ 850106 w 2424112"/>
                    <a:gd name="connsiteY19" fmla="*/ 78582 h 1621632"/>
                    <a:gd name="connsiteX0" fmla="*/ 850106 w 2424112"/>
                    <a:gd name="connsiteY0" fmla="*/ 78582 h 1621632"/>
                    <a:gd name="connsiteX1" fmla="*/ 338137 w 2424112"/>
                    <a:gd name="connsiteY1" fmla="*/ 340520 h 1621632"/>
                    <a:gd name="connsiteX2" fmla="*/ 404812 w 2424112"/>
                    <a:gd name="connsiteY2" fmla="*/ 511970 h 1621632"/>
                    <a:gd name="connsiteX3" fmla="*/ 228600 w 2424112"/>
                    <a:gd name="connsiteY3" fmla="*/ 721520 h 1621632"/>
                    <a:gd name="connsiteX4" fmla="*/ 0 w 2424112"/>
                    <a:gd name="connsiteY4" fmla="*/ 759620 h 1621632"/>
                    <a:gd name="connsiteX5" fmla="*/ 19050 w 2424112"/>
                    <a:gd name="connsiteY5" fmla="*/ 1507332 h 1621632"/>
                    <a:gd name="connsiteX6" fmla="*/ 1304925 w 2424112"/>
                    <a:gd name="connsiteY6" fmla="*/ 1621632 h 1621632"/>
                    <a:gd name="connsiteX7" fmla="*/ 2133600 w 2424112"/>
                    <a:gd name="connsiteY7" fmla="*/ 1616870 h 1621632"/>
                    <a:gd name="connsiteX8" fmla="*/ 2424112 w 2424112"/>
                    <a:gd name="connsiteY8" fmla="*/ 1269207 h 1621632"/>
                    <a:gd name="connsiteX9" fmla="*/ 2128837 w 2424112"/>
                    <a:gd name="connsiteY9" fmla="*/ 771526 h 1621632"/>
                    <a:gd name="connsiteX10" fmla="*/ 1576388 w 2424112"/>
                    <a:gd name="connsiteY10" fmla="*/ 604837 h 1621632"/>
                    <a:gd name="connsiteX11" fmla="*/ 1569244 w 2424112"/>
                    <a:gd name="connsiteY11" fmla="*/ 442913 h 1621632"/>
                    <a:gd name="connsiteX12" fmla="*/ 1740693 w 2424112"/>
                    <a:gd name="connsiteY12" fmla="*/ 219076 h 1621632"/>
                    <a:gd name="connsiteX13" fmla="*/ 1333500 w 2424112"/>
                    <a:gd name="connsiteY13" fmla="*/ 469106 h 1621632"/>
                    <a:gd name="connsiteX14" fmla="*/ 1319213 w 2424112"/>
                    <a:gd name="connsiteY14" fmla="*/ 214314 h 1621632"/>
                    <a:gd name="connsiteX15" fmla="*/ 1088232 w 2424112"/>
                    <a:gd name="connsiteY15" fmla="*/ 309564 h 1621632"/>
                    <a:gd name="connsiteX16" fmla="*/ 857250 w 2424112"/>
                    <a:gd name="connsiteY16" fmla="*/ 340520 h 1621632"/>
                    <a:gd name="connsiteX17" fmla="*/ 990600 w 2424112"/>
                    <a:gd name="connsiteY17" fmla="*/ 123826 h 1621632"/>
                    <a:gd name="connsiteX18" fmla="*/ 962025 w 2424112"/>
                    <a:gd name="connsiteY18" fmla="*/ 0 h 1621632"/>
                    <a:gd name="connsiteX19" fmla="*/ 850106 w 2424112"/>
                    <a:gd name="connsiteY19" fmla="*/ 78582 h 1621632"/>
                    <a:gd name="connsiteX0" fmla="*/ 850106 w 2347912"/>
                    <a:gd name="connsiteY0" fmla="*/ 78582 h 1621632"/>
                    <a:gd name="connsiteX1" fmla="*/ 338137 w 2347912"/>
                    <a:gd name="connsiteY1" fmla="*/ 340520 h 1621632"/>
                    <a:gd name="connsiteX2" fmla="*/ 404812 w 2347912"/>
                    <a:gd name="connsiteY2" fmla="*/ 511970 h 1621632"/>
                    <a:gd name="connsiteX3" fmla="*/ 228600 w 2347912"/>
                    <a:gd name="connsiteY3" fmla="*/ 721520 h 1621632"/>
                    <a:gd name="connsiteX4" fmla="*/ 0 w 2347912"/>
                    <a:gd name="connsiteY4" fmla="*/ 759620 h 1621632"/>
                    <a:gd name="connsiteX5" fmla="*/ 19050 w 2347912"/>
                    <a:gd name="connsiteY5" fmla="*/ 1507332 h 1621632"/>
                    <a:gd name="connsiteX6" fmla="*/ 1304925 w 2347912"/>
                    <a:gd name="connsiteY6" fmla="*/ 1621632 h 1621632"/>
                    <a:gd name="connsiteX7" fmla="*/ 2133600 w 2347912"/>
                    <a:gd name="connsiteY7" fmla="*/ 1616870 h 1621632"/>
                    <a:gd name="connsiteX8" fmla="*/ 2347912 w 2347912"/>
                    <a:gd name="connsiteY8" fmla="*/ 1283495 h 1621632"/>
                    <a:gd name="connsiteX9" fmla="*/ 2128837 w 2347912"/>
                    <a:gd name="connsiteY9" fmla="*/ 771526 h 1621632"/>
                    <a:gd name="connsiteX10" fmla="*/ 1576388 w 2347912"/>
                    <a:gd name="connsiteY10" fmla="*/ 604837 h 1621632"/>
                    <a:gd name="connsiteX11" fmla="*/ 1569244 w 2347912"/>
                    <a:gd name="connsiteY11" fmla="*/ 442913 h 1621632"/>
                    <a:gd name="connsiteX12" fmla="*/ 1740693 w 2347912"/>
                    <a:gd name="connsiteY12" fmla="*/ 219076 h 1621632"/>
                    <a:gd name="connsiteX13" fmla="*/ 1333500 w 2347912"/>
                    <a:gd name="connsiteY13" fmla="*/ 469106 h 1621632"/>
                    <a:gd name="connsiteX14" fmla="*/ 1319213 w 2347912"/>
                    <a:gd name="connsiteY14" fmla="*/ 214314 h 1621632"/>
                    <a:gd name="connsiteX15" fmla="*/ 1088232 w 2347912"/>
                    <a:gd name="connsiteY15" fmla="*/ 309564 h 1621632"/>
                    <a:gd name="connsiteX16" fmla="*/ 857250 w 2347912"/>
                    <a:gd name="connsiteY16" fmla="*/ 340520 h 1621632"/>
                    <a:gd name="connsiteX17" fmla="*/ 990600 w 2347912"/>
                    <a:gd name="connsiteY17" fmla="*/ 123826 h 1621632"/>
                    <a:gd name="connsiteX18" fmla="*/ 962025 w 2347912"/>
                    <a:gd name="connsiteY18" fmla="*/ 0 h 1621632"/>
                    <a:gd name="connsiteX19" fmla="*/ 850106 w 2347912"/>
                    <a:gd name="connsiteY19" fmla="*/ 78582 h 1621632"/>
                    <a:gd name="connsiteX0" fmla="*/ 850106 w 2347912"/>
                    <a:gd name="connsiteY0" fmla="*/ 78582 h 1621632"/>
                    <a:gd name="connsiteX1" fmla="*/ 338137 w 2347912"/>
                    <a:gd name="connsiteY1" fmla="*/ 340520 h 1621632"/>
                    <a:gd name="connsiteX2" fmla="*/ 404812 w 2347912"/>
                    <a:gd name="connsiteY2" fmla="*/ 511970 h 1621632"/>
                    <a:gd name="connsiteX3" fmla="*/ 228600 w 2347912"/>
                    <a:gd name="connsiteY3" fmla="*/ 721520 h 1621632"/>
                    <a:gd name="connsiteX4" fmla="*/ 0 w 2347912"/>
                    <a:gd name="connsiteY4" fmla="*/ 759620 h 1621632"/>
                    <a:gd name="connsiteX5" fmla="*/ 19050 w 2347912"/>
                    <a:gd name="connsiteY5" fmla="*/ 1507332 h 1621632"/>
                    <a:gd name="connsiteX6" fmla="*/ 1304925 w 2347912"/>
                    <a:gd name="connsiteY6" fmla="*/ 1621632 h 1621632"/>
                    <a:gd name="connsiteX7" fmla="*/ 2133600 w 2347912"/>
                    <a:gd name="connsiteY7" fmla="*/ 1616870 h 1621632"/>
                    <a:gd name="connsiteX8" fmla="*/ 2347912 w 2347912"/>
                    <a:gd name="connsiteY8" fmla="*/ 1283495 h 1621632"/>
                    <a:gd name="connsiteX9" fmla="*/ 2233612 w 2347912"/>
                    <a:gd name="connsiteY9" fmla="*/ 1028700 h 1621632"/>
                    <a:gd name="connsiteX10" fmla="*/ 2128837 w 2347912"/>
                    <a:gd name="connsiteY10" fmla="*/ 771526 h 1621632"/>
                    <a:gd name="connsiteX11" fmla="*/ 1576388 w 2347912"/>
                    <a:gd name="connsiteY11" fmla="*/ 604837 h 1621632"/>
                    <a:gd name="connsiteX12" fmla="*/ 1569244 w 2347912"/>
                    <a:gd name="connsiteY12" fmla="*/ 442913 h 1621632"/>
                    <a:gd name="connsiteX13" fmla="*/ 1740693 w 2347912"/>
                    <a:gd name="connsiteY13" fmla="*/ 219076 h 1621632"/>
                    <a:gd name="connsiteX14" fmla="*/ 1333500 w 2347912"/>
                    <a:gd name="connsiteY14" fmla="*/ 469106 h 1621632"/>
                    <a:gd name="connsiteX15" fmla="*/ 1319213 w 2347912"/>
                    <a:gd name="connsiteY15" fmla="*/ 214314 h 1621632"/>
                    <a:gd name="connsiteX16" fmla="*/ 1088232 w 2347912"/>
                    <a:gd name="connsiteY16" fmla="*/ 309564 h 1621632"/>
                    <a:gd name="connsiteX17" fmla="*/ 857250 w 2347912"/>
                    <a:gd name="connsiteY17" fmla="*/ 340520 h 1621632"/>
                    <a:gd name="connsiteX18" fmla="*/ 990600 w 2347912"/>
                    <a:gd name="connsiteY18" fmla="*/ 123826 h 1621632"/>
                    <a:gd name="connsiteX19" fmla="*/ 962025 w 2347912"/>
                    <a:gd name="connsiteY19" fmla="*/ 0 h 1621632"/>
                    <a:gd name="connsiteX20" fmla="*/ 850106 w 2347912"/>
                    <a:gd name="connsiteY20" fmla="*/ 78582 h 1621632"/>
                    <a:gd name="connsiteX0" fmla="*/ 850106 w 2347912"/>
                    <a:gd name="connsiteY0" fmla="*/ 78582 h 1621632"/>
                    <a:gd name="connsiteX1" fmla="*/ 338137 w 2347912"/>
                    <a:gd name="connsiteY1" fmla="*/ 340520 h 1621632"/>
                    <a:gd name="connsiteX2" fmla="*/ 404812 w 2347912"/>
                    <a:gd name="connsiteY2" fmla="*/ 511970 h 1621632"/>
                    <a:gd name="connsiteX3" fmla="*/ 228600 w 2347912"/>
                    <a:gd name="connsiteY3" fmla="*/ 721520 h 1621632"/>
                    <a:gd name="connsiteX4" fmla="*/ 0 w 2347912"/>
                    <a:gd name="connsiteY4" fmla="*/ 759620 h 1621632"/>
                    <a:gd name="connsiteX5" fmla="*/ 19050 w 2347912"/>
                    <a:gd name="connsiteY5" fmla="*/ 1507332 h 1621632"/>
                    <a:gd name="connsiteX6" fmla="*/ 1304925 w 2347912"/>
                    <a:gd name="connsiteY6" fmla="*/ 1621632 h 1621632"/>
                    <a:gd name="connsiteX7" fmla="*/ 2133600 w 2347912"/>
                    <a:gd name="connsiteY7" fmla="*/ 1616870 h 1621632"/>
                    <a:gd name="connsiteX8" fmla="*/ 2347912 w 2347912"/>
                    <a:gd name="connsiteY8" fmla="*/ 1283495 h 1621632"/>
                    <a:gd name="connsiteX9" fmla="*/ 2276474 w 2347912"/>
                    <a:gd name="connsiteY9" fmla="*/ 1009650 h 1621632"/>
                    <a:gd name="connsiteX10" fmla="*/ 2128837 w 2347912"/>
                    <a:gd name="connsiteY10" fmla="*/ 771526 h 1621632"/>
                    <a:gd name="connsiteX11" fmla="*/ 1576388 w 2347912"/>
                    <a:gd name="connsiteY11" fmla="*/ 604837 h 1621632"/>
                    <a:gd name="connsiteX12" fmla="*/ 1569244 w 2347912"/>
                    <a:gd name="connsiteY12" fmla="*/ 442913 h 1621632"/>
                    <a:gd name="connsiteX13" fmla="*/ 1740693 w 2347912"/>
                    <a:gd name="connsiteY13" fmla="*/ 219076 h 1621632"/>
                    <a:gd name="connsiteX14" fmla="*/ 1333500 w 2347912"/>
                    <a:gd name="connsiteY14" fmla="*/ 469106 h 1621632"/>
                    <a:gd name="connsiteX15" fmla="*/ 1319213 w 2347912"/>
                    <a:gd name="connsiteY15" fmla="*/ 214314 h 1621632"/>
                    <a:gd name="connsiteX16" fmla="*/ 1088232 w 2347912"/>
                    <a:gd name="connsiteY16" fmla="*/ 309564 h 1621632"/>
                    <a:gd name="connsiteX17" fmla="*/ 857250 w 2347912"/>
                    <a:gd name="connsiteY17" fmla="*/ 340520 h 1621632"/>
                    <a:gd name="connsiteX18" fmla="*/ 990600 w 2347912"/>
                    <a:gd name="connsiteY18" fmla="*/ 123826 h 1621632"/>
                    <a:gd name="connsiteX19" fmla="*/ 962025 w 2347912"/>
                    <a:gd name="connsiteY19" fmla="*/ 0 h 1621632"/>
                    <a:gd name="connsiteX20" fmla="*/ 850106 w 2347912"/>
                    <a:gd name="connsiteY20" fmla="*/ 78582 h 1621632"/>
                    <a:gd name="connsiteX0" fmla="*/ 850106 w 2347912"/>
                    <a:gd name="connsiteY0" fmla="*/ 78582 h 1621632"/>
                    <a:gd name="connsiteX1" fmla="*/ 338137 w 2347912"/>
                    <a:gd name="connsiteY1" fmla="*/ 340520 h 1621632"/>
                    <a:gd name="connsiteX2" fmla="*/ 404812 w 2347912"/>
                    <a:gd name="connsiteY2" fmla="*/ 511970 h 1621632"/>
                    <a:gd name="connsiteX3" fmla="*/ 228600 w 2347912"/>
                    <a:gd name="connsiteY3" fmla="*/ 721520 h 1621632"/>
                    <a:gd name="connsiteX4" fmla="*/ 0 w 2347912"/>
                    <a:gd name="connsiteY4" fmla="*/ 759620 h 1621632"/>
                    <a:gd name="connsiteX5" fmla="*/ 19050 w 2347912"/>
                    <a:gd name="connsiteY5" fmla="*/ 1507332 h 1621632"/>
                    <a:gd name="connsiteX6" fmla="*/ 1304925 w 2347912"/>
                    <a:gd name="connsiteY6" fmla="*/ 1621632 h 1621632"/>
                    <a:gd name="connsiteX7" fmla="*/ 2190750 w 2347912"/>
                    <a:gd name="connsiteY7" fmla="*/ 1319214 h 1621632"/>
                    <a:gd name="connsiteX8" fmla="*/ 2347912 w 2347912"/>
                    <a:gd name="connsiteY8" fmla="*/ 1283495 h 1621632"/>
                    <a:gd name="connsiteX9" fmla="*/ 2276474 w 2347912"/>
                    <a:gd name="connsiteY9" fmla="*/ 1009650 h 1621632"/>
                    <a:gd name="connsiteX10" fmla="*/ 2128837 w 2347912"/>
                    <a:gd name="connsiteY10" fmla="*/ 771526 h 1621632"/>
                    <a:gd name="connsiteX11" fmla="*/ 1576388 w 2347912"/>
                    <a:gd name="connsiteY11" fmla="*/ 604837 h 1621632"/>
                    <a:gd name="connsiteX12" fmla="*/ 1569244 w 2347912"/>
                    <a:gd name="connsiteY12" fmla="*/ 442913 h 1621632"/>
                    <a:gd name="connsiteX13" fmla="*/ 1740693 w 2347912"/>
                    <a:gd name="connsiteY13" fmla="*/ 219076 h 1621632"/>
                    <a:gd name="connsiteX14" fmla="*/ 1333500 w 2347912"/>
                    <a:gd name="connsiteY14" fmla="*/ 469106 h 1621632"/>
                    <a:gd name="connsiteX15" fmla="*/ 1319213 w 2347912"/>
                    <a:gd name="connsiteY15" fmla="*/ 214314 h 1621632"/>
                    <a:gd name="connsiteX16" fmla="*/ 1088232 w 2347912"/>
                    <a:gd name="connsiteY16" fmla="*/ 309564 h 1621632"/>
                    <a:gd name="connsiteX17" fmla="*/ 857250 w 2347912"/>
                    <a:gd name="connsiteY17" fmla="*/ 340520 h 1621632"/>
                    <a:gd name="connsiteX18" fmla="*/ 990600 w 2347912"/>
                    <a:gd name="connsiteY18" fmla="*/ 123826 h 1621632"/>
                    <a:gd name="connsiteX19" fmla="*/ 962025 w 2347912"/>
                    <a:gd name="connsiteY19" fmla="*/ 0 h 1621632"/>
                    <a:gd name="connsiteX20" fmla="*/ 850106 w 2347912"/>
                    <a:gd name="connsiteY20" fmla="*/ 78582 h 1621632"/>
                    <a:gd name="connsiteX0" fmla="*/ 850106 w 2347912"/>
                    <a:gd name="connsiteY0" fmla="*/ 78582 h 1564482"/>
                    <a:gd name="connsiteX1" fmla="*/ 338137 w 2347912"/>
                    <a:gd name="connsiteY1" fmla="*/ 340520 h 1564482"/>
                    <a:gd name="connsiteX2" fmla="*/ 404812 w 2347912"/>
                    <a:gd name="connsiteY2" fmla="*/ 511970 h 1564482"/>
                    <a:gd name="connsiteX3" fmla="*/ 228600 w 2347912"/>
                    <a:gd name="connsiteY3" fmla="*/ 721520 h 1564482"/>
                    <a:gd name="connsiteX4" fmla="*/ 0 w 2347912"/>
                    <a:gd name="connsiteY4" fmla="*/ 759620 h 1564482"/>
                    <a:gd name="connsiteX5" fmla="*/ 19050 w 2347912"/>
                    <a:gd name="connsiteY5" fmla="*/ 1507332 h 1564482"/>
                    <a:gd name="connsiteX6" fmla="*/ 1143000 w 2347912"/>
                    <a:gd name="connsiteY6" fmla="*/ 1564482 h 1564482"/>
                    <a:gd name="connsiteX7" fmla="*/ 2190750 w 2347912"/>
                    <a:gd name="connsiteY7" fmla="*/ 1319214 h 1564482"/>
                    <a:gd name="connsiteX8" fmla="*/ 2347912 w 2347912"/>
                    <a:gd name="connsiteY8" fmla="*/ 1283495 h 1564482"/>
                    <a:gd name="connsiteX9" fmla="*/ 2276474 w 2347912"/>
                    <a:gd name="connsiteY9" fmla="*/ 1009650 h 1564482"/>
                    <a:gd name="connsiteX10" fmla="*/ 2128837 w 2347912"/>
                    <a:gd name="connsiteY10" fmla="*/ 771526 h 1564482"/>
                    <a:gd name="connsiteX11" fmla="*/ 1576388 w 2347912"/>
                    <a:gd name="connsiteY11" fmla="*/ 604837 h 1564482"/>
                    <a:gd name="connsiteX12" fmla="*/ 1569244 w 2347912"/>
                    <a:gd name="connsiteY12" fmla="*/ 442913 h 1564482"/>
                    <a:gd name="connsiteX13" fmla="*/ 1740693 w 2347912"/>
                    <a:gd name="connsiteY13" fmla="*/ 219076 h 1564482"/>
                    <a:gd name="connsiteX14" fmla="*/ 1333500 w 2347912"/>
                    <a:gd name="connsiteY14" fmla="*/ 469106 h 1564482"/>
                    <a:gd name="connsiteX15" fmla="*/ 1319213 w 2347912"/>
                    <a:gd name="connsiteY15" fmla="*/ 214314 h 1564482"/>
                    <a:gd name="connsiteX16" fmla="*/ 1088232 w 2347912"/>
                    <a:gd name="connsiteY16" fmla="*/ 309564 h 1564482"/>
                    <a:gd name="connsiteX17" fmla="*/ 857250 w 2347912"/>
                    <a:gd name="connsiteY17" fmla="*/ 340520 h 1564482"/>
                    <a:gd name="connsiteX18" fmla="*/ 990600 w 2347912"/>
                    <a:gd name="connsiteY18" fmla="*/ 123826 h 1564482"/>
                    <a:gd name="connsiteX19" fmla="*/ 962025 w 2347912"/>
                    <a:gd name="connsiteY19" fmla="*/ 0 h 1564482"/>
                    <a:gd name="connsiteX20" fmla="*/ 850106 w 2347912"/>
                    <a:gd name="connsiteY20" fmla="*/ 78582 h 1564482"/>
                    <a:gd name="connsiteX0" fmla="*/ 850106 w 2347912"/>
                    <a:gd name="connsiteY0" fmla="*/ 78582 h 1564482"/>
                    <a:gd name="connsiteX1" fmla="*/ 338137 w 2347912"/>
                    <a:gd name="connsiteY1" fmla="*/ 340520 h 1564482"/>
                    <a:gd name="connsiteX2" fmla="*/ 404812 w 2347912"/>
                    <a:gd name="connsiteY2" fmla="*/ 511970 h 1564482"/>
                    <a:gd name="connsiteX3" fmla="*/ 228600 w 2347912"/>
                    <a:gd name="connsiteY3" fmla="*/ 721520 h 1564482"/>
                    <a:gd name="connsiteX4" fmla="*/ 0 w 2347912"/>
                    <a:gd name="connsiteY4" fmla="*/ 759620 h 1564482"/>
                    <a:gd name="connsiteX5" fmla="*/ 202407 w 2347912"/>
                    <a:gd name="connsiteY5" fmla="*/ 1476376 h 1564482"/>
                    <a:gd name="connsiteX6" fmla="*/ 1143000 w 2347912"/>
                    <a:gd name="connsiteY6" fmla="*/ 1564482 h 1564482"/>
                    <a:gd name="connsiteX7" fmla="*/ 2190750 w 2347912"/>
                    <a:gd name="connsiteY7" fmla="*/ 1319214 h 1564482"/>
                    <a:gd name="connsiteX8" fmla="*/ 2347912 w 2347912"/>
                    <a:gd name="connsiteY8" fmla="*/ 1283495 h 1564482"/>
                    <a:gd name="connsiteX9" fmla="*/ 2276474 w 2347912"/>
                    <a:gd name="connsiteY9" fmla="*/ 1009650 h 1564482"/>
                    <a:gd name="connsiteX10" fmla="*/ 2128837 w 2347912"/>
                    <a:gd name="connsiteY10" fmla="*/ 771526 h 1564482"/>
                    <a:gd name="connsiteX11" fmla="*/ 1576388 w 2347912"/>
                    <a:gd name="connsiteY11" fmla="*/ 604837 h 1564482"/>
                    <a:gd name="connsiteX12" fmla="*/ 1569244 w 2347912"/>
                    <a:gd name="connsiteY12" fmla="*/ 442913 h 1564482"/>
                    <a:gd name="connsiteX13" fmla="*/ 1740693 w 2347912"/>
                    <a:gd name="connsiteY13" fmla="*/ 219076 h 1564482"/>
                    <a:gd name="connsiteX14" fmla="*/ 1333500 w 2347912"/>
                    <a:gd name="connsiteY14" fmla="*/ 469106 h 1564482"/>
                    <a:gd name="connsiteX15" fmla="*/ 1319213 w 2347912"/>
                    <a:gd name="connsiteY15" fmla="*/ 214314 h 1564482"/>
                    <a:gd name="connsiteX16" fmla="*/ 1088232 w 2347912"/>
                    <a:gd name="connsiteY16" fmla="*/ 309564 h 1564482"/>
                    <a:gd name="connsiteX17" fmla="*/ 857250 w 2347912"/>
                    <a:gd name="connsiteY17" fmla="*/ 340520 h 1564482"/>
                    <a:gd name="connsiteX18" fmla="*/ 990600 w 2347912"/>
                    <a:gd name="connsiteY18" fmla="*/ 123826 h 1564482"/>
                    <a:gd name="connsiteX19" fmla="*/ 962025 w 2347912"/>
                    <a:gd name="connsiteY19" fmla="*/ 0 h 1564482"/>
                    <a:gd name="connsiteX20" fmla="*/ 850106 w 2347912"/>
                    <a:gd name="connsiteY20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142875 w 2288380"/>
                    <a:gd name="connsiteY5" fmla="*/ 1476376 h 1564482"/>
                    <a:gd name="connsiteX6" fmla="*/ 1083468 w 2288380"/>
                    <a:gd name="connsiteY6" fmla="*/ 1564482 h 1564482"/>
                    <a:gd name="connsiteX7" fmla="*/ 2131218 w 2288380"/>
                    <a:gd name="connsiteY7" fmla="*/ 1319214 h 1564482"/>
                    <a:gd name="connsiteX8" fmla="*/ 2288380 w 2288380"/>
                    <a:gd name="connsiteY8" fmla="*/ 1283495 h 1564482"/>
                    <a:gd name="connsiteX9" fmla="*/ 2216942 w 2288380"/>
                    <a:gd name="connsiteY9" fmla="*/ 1009650 h 1564482"/>
                    <a:gd name="connsiteX10" fmla="*/ 2069305 w 2288380"/>
                    <a:gd name="connsiteY10" fmla="*/ 771526 h 1564482"/>
                    <a:gd name="connsiteX11" fmla="*/ 1516856 w 2288380"/>
                    <a:gd name="connsiteY11" fmla="*/ 604837 h 1564482"/>
                    <a:gd name="connsiteX12" fmla="*/ 1509712 w 2288380"/>
                    <a:gd name="connsiteY12" fmla="*/ 442913 h 1564482"/>
                    <a:gd name="connsiteX13" fmla="*/ 1681161 w 2288380"/>
                    <a:gd name="connsiteY13" fmla="*/ 219076 h 1564482"/>
                    <a:gd name="connsiteX14" fmla="*/ 1273968 w 2288380"/>
                    <a:gd name="connsiteY14" fmla="*/ 469106 h 1564482"/>
                    <a:gd name="connsiteX15" fmla="*/ 1259681 w 2288380"/>
                    <a:gd name="connsiteY15" fmla="*/ 214314 h 1564482"/>
                    <a:gd name="connsiteX16" fmla="*/ 1028700 w 2288380"/>
                    <a:gd name="connsiteY16" fmla="*/ 309564 h 1564482"/>
                    <a:gd name="connsiteX17" fmla="*/ 797718 w 2288380"/>
                    <a:gd name="connsiteY17" fmla="*/ 340520 h 1564482"/>
                    <a:gd name="connsiteX18" fmla="*/ 931068 w 2288380"/>
                    <a:gd name="connsiteY18" fmla="*/ 123826 h 1564482"/>
                    <a:gd name="connsiteX19" fmla="*/ 902493 w 2288380"/>
                    <a:gd name="connsiteY19" fmla="*/ 0 h 1564482"/>
                    <a:gd name="connsiteX20" fmla="*/ 790574 w 2288380"/>
                    <a:gd name="connsiteY20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142875 w 2288380"/>
                    <a:gd name="connsiteY6" fmla="*/ 1476376 h 1564482"/>
                    <a:gd name="connsiteX7" fmla="*/ 1083468 w 2288380"/>
                    <a:gd name="connsiteY7" fmla="*/ 1564482 h 1564482"/>
                    <a:gd name="connsiteX8" fmla="*/ 2131218 w 2288380"/>
                    <a:gd name="connsiteY8" fmla="*/ 1319214 h 1564482"/>
                    <a:gd name="connsiteX9" fmla="*/ 2288380 w 2288380"/>
                    <a:gd name="connsiteY9" fmla="*/ 1283495 h 1564482"/>
                    <a:gd name="connsiteX10" fmla="*/ 2216942 w 2288380"/>
                    <a:gd name="connsiteY10" fmla="*/ 1009650 h 1564482"/>
                    <a:gd name="connsiteX11" fmla="*/ 2069305 w 2288380"/>
                    <a:gd name="connsiteY11" fmla="*/ 771526 h 1564482"/>
                    <a:gd name="connsiteX12" fmla="*/ 1516856 w 2288380"/>
                    <a:gd name="connsiteY12" fmla="*/ 604837 h 1564482"/>
                    <a:gd name="connsiteX13" fmla="*/ 1509712 w 2288380"/>
                    <a:gd name="connsiteY13" fmla="*/ 442913 h 1564482"/>
                    <a:gd name="connsiteX14" fmla="*/ 1681161 w 2288380"/>
                    <a:gd name="connsiteY14" fmla="*/ 219076 h 1564482"/>
                    <a:gd name="connsiteX15" fmla="*/ 1273968 w 2288380"/>
                    <a:gd name="connsiteY15" fmla="*/ 469106 h 1564482"/>
                    <a:gd name="connsiteX16" fmla="*/ 1259681 w 2288380"/>
                    <a:gd name="connsiteY16" fmla="*/ 214314 h 1564482"/>
                    <a:gd name="connsiteX17" fmla="*/ 1028700 w 2288380"/>
                    <a:gd name="connsiteY17" fmla="*/ 309564 h 1564482"/>
                    <a:gd name="connsiteX18" fmla="*/ 797718 w 2288380"/>
                    <a:gd name="connsiteY18" fmla="*/ 340520 h 1564482"/>
                    <a:gd name="connsiteX19" fmla="*/ 931068 w 2288380"/>
                    <a:gd name="connsiteY19" fmla="*/ 123826 h 1564482"/>
                    <a:gd name="connsiteX20" fmla="*/ 902493 w 2288380"/>
                    <a:gd name="connsiteY20" fmla="*/ 0 h 1564482"/>
                    <a:gd name="connsiteX21" fmla="*/ 790574 w 2288380"/>
                    <a:gd name="connsiteY21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42875 w 2288380"/>
                    <a:gd name="connsiteY7" fmla="*/ 1476376 h 1564482"/>
                    <a:gd name="connsiteX8" fmla="*/ 1083468 w 2288380"/>
                    <a:gd name="connsiteY8" fmla="*/ 1564482 h 1564482"/>
                    <a:gd name="connsiteX9" fmla="*/ 2131218 w 2288380"/>
                    <a:gd name="connsiteY9" fmla="*/ 1319214 h 1564482"/>
                    <a:gd name="connsiteX10" fmla="*/ 2288380 w 2288380"/>
                    <a:gd name="connsiteY10" fmla="*/ 1283495 h 1564482"/>
                    <a:gd name="connsiteX11" fmla="*/ 2216942 w 2288380"/>
                    <a:gd name="connsiteY11" fmla="*/ 1009650 h 1564482"/>
                    <a:gd name="connsiteX12" fmla="*/ 2069305 w 2288380"/>
                    <a:gd name="connsiteY12" fmla="*/ 771526 h 1564482"/>
                    <a:gd name="connsiteX13" fmla="*/ 1516856 w 2288380"/>
                    <a:gd name="connsiteY13" fmla="*/ 604837 h 1564482"/>
                    <a:gd name="connsiteX14" fmla="*/ 1509712 w 2288380"/>
                    <a:gd name="connsiteY14" fmla="*/ 442913 h 1564482"/>
                    <a:gd name="connsiteX15" fmla="*/ 1681161 w 2288380"/>
                    <a:gd name="connsiteY15" fmla="*/ 219076 h 1564482"/>
                    <a:gd name="connsiteX16" fmla="*/ 1273968 w 2288380"/>
                    <a:gd name="connsiteY16" fmla="*/ 469106 h 1564482"/>
                    <a:gd name="connsiteX17" fmla="*/ 1259681 w 2288380"/>
                    <a:gd name="connsiteY17" fmla="*/ 214314 h 1564482"/>
                    <a:gd name="connsiteX18" fmla="*/ 1028700 w 2288380"/>
                    <a:gd name="connsiteY18" fmla="*/ 309564 h 1564482"/>
                    <a:gd name="connsiteX19" fmla="*/ 797718 w 2288380"/>
                    <a:gd name="connsiteY19" fmla="*/ 340520 h 1564482"/>
                    <a:gd name="connsiteX20" fmla="*/ 931068 w 2288380"/>
                    <a:gd name="connsiteY20" fmla="*/ 123826 h 1564482"/>
                    <a:gd name="connsiteX21" fmla="*/ 902493 w 2288380"/>
                    <a:gd name="connsiteY21" fmla="*/ 0 h 1564482"/>
                    <a:gd name="connsiteX22" fmla="*/ 790574 w 2288380"/>
                    <a:gd name="connsiteY22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42875 w 2288380"/>
                    <a:gd name="connsiteY8" fmla="*/ 1476376 h 1564482"/>
                    <a:gd name="connsiteX9" fmla="*/ 1083468 w 2288380"/>
                    <a:gd name="connsiteY9" fmla="*/ 1564482 h 1564482"/>
                    <a:gd name="connsiteX10" fmla="*/ 2131218 w 2288380"/>
                    <a:gd name="connsiteY10" fmla="*/ 1319214 h 1564482"/>
                    <a:gd name="connsiteX11" fmla="*/ 2288380 w 2288380"/>
                    <a:gd name="connsiteY11" fmla="*/ 1283495 h 1564482"/>
                    <a:gd name="connsiteX12" fmla="*/ 2216942 w 2288380"/>
                    <a:gd name="connsiteY12" fmla="*/ 1009650 h 1564482"/>
                    <a:gd name="connsiteX13" fmla="*/ 2069305 w 2288380"/>
                    <a:gd name="connsiteY13" fmla="*/ 771526 h 1564482"/>
                    <a:gd name="connsiteX14" fmla="*/ 1516856 w 2288380"/>
                    <a:gd name="connsiteY14" fmla="*/ 604837 h 1564482"/>
                    <a:gd name="connsiteX15" fmla="*/ 1509712 w 2288380"/>
                    <a:gd name="connsiteY15" fmla="*/ 442913 h 1564482"/>
                    <a:gd name="connsiteX16" fmla="*/ 1681161 w 2288380"/>
                    <a:gd name="connsiteY16" fmla="*/ 219076 h 1564482"/>
                    <a:gd name="connsiteX17" fmla="*/ 1273968 w 2288380"/>
                    <a:gd name="connsiteY17" fmla="*/ 469106 h 1564482"/>
                    <a:gd name="connsiteX18" fmla="*/ 1259681 w 2288380"/>
                    <a:gd name="connsiteY18" fmla="*/ 214314 h 1564482"/>
                    <a:gd name="connsiteX19" fmla="*/ 1028700 w 2288380"/>
                    <a:gd name="connsiteY19" fmla="*/ 309564 h 1564482"/>
                    <a:gd name="connsiteX20" fmla="*/ 797718 w 2288380"/>
                    <a:gd name="connsiteY20" fmla="*/ 340520 h 1564482"/>
                    <a:gd name="connsiteX21" fmla="*/ 931068 w 2288380"/>
                    <a:gd name="connsiteY21" fmla="*/ 123826 h 1564482"/>
                    <a:gd name="connsiteX22" fmla="*/ 902493 w 2288380"/>
                    <a:gd name="connsiteY22" fmla="*/ 0 h 1564482"/>
                    <a:gd name="connsiteX23" fmla="*/ 790574 w 2288380"/>
                    <a:gd name="connsiteY23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28588 w 2288380"/>
                    <a:gd name="connsiteY8" fmla="*/ 1485901 h 1564482"/>
                    <a:gd name="connsiteX9" fmla="*/ 1083468 w 2288380"/>
                    <a:gd name="connsiteY9" fmla="*/ 1564482 h 1564482"/>
                    <a:gd name="connsiteX10" fmla="*/ 2131218 w 2288380"/>
                    <a:gd name="connsiteY10" fmla="*/ 1319214 h 1564482"/>
                    <a:gd name="connsiteX11" fmla="*/ 2288380 w 2288380"/>
                    <a:gd name="connsiteY11" fmla="*/ 1283495 h 1564482"/>
                    <a:gd name="connsiteX12" fmla="*/ 2216942 w 2288380"/>
                    <a:gd name="connsiteY12" fmla="*/ 1009650 h 1564482"/>
                    <a:gd name="connsiteX13" fmla="*/ 2069305 w 2288380"/>
                    <a:gd name="connsiteY13" fmla="*/ 771526 h 1564482"/>
                    <a:gd name="connsiteX14" fmla="*/ 1516856 w 2288380"/>
                    <a:gd name="connsiteY14" fmla="*/ 604837 h 1564482"/>
                    <a:gd name="connsiteX15" fmla="*/ 1509712 w 2288380"/>
                    <a:gd name="connsiteY15" fmla="*/ 442913 h 1564482"/>
                    <a:gd name="connsiteX16" fmla="*/ 1681161 w 2288380"/>
                    <a:gd name="connsiteY16" fmla="*/ 219076 h 1564482"/>
                    <a:gd name="connsiteX17" fmla="*/ 1273968 w 2288380"/>
                    <a:gd name="connsiteY17" fmla="*/ 469106 h 1564482"/>
                    <a:gd name="connsiteX18" fmla="*/ 1259681 w 2288380"/>
                    <a:gd name="connsiteY18" fmla="*/ 214314 h 1564482"/>
                    <a:gd name="connsiteX19" fmla="*/ 1028700 w 2288380"/>
                    <a:gd name="connsiteY19" fmla="*/ 309564 h 1564482"/>
                    <a:gd name="connsiteX20" fmla="*/ 797718 w 2288380"/>
                    <a:gd name="connsiteY20" fmla="*/ 340520 h 1564482"/>
                    <a:gd name="connsiteX21" fmla="*/ 931068 w 2288380"/>
                    <a:gd name="connsiteY21" fmla="*/ 123826 h 1564482"/>
                    <a:gd name="connsiteX22" fmla="*/ 902493 w 2288380"/>
                    <a:gd name="connsiteY22" fmla="*/ 0 h 1564482"/>
                    <a:gd name="connsiteX23" fmla="*/ 790574 w 2288380"/>
                    <a:gd name="connsiteY23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28588 w 2288380"/>
                    <a:gd name="connsiteY8" fmla="*/ 1485901 h 1564482"/>
                    <a:gd name="connsiteX9" fmla="*/ 566736 w 2288380"/>
                    <a:gd name="connsiteY9" fmla="*/ 1464469 h 1564482"/>
                    <a:gd name="connsiteX10" fmla="*/ 1083468 w 2288380"/>
                    <a:gd name="connsiteY10" fmla="*/ 1564482 h 1564482"/>
                    <a:gd name="connsiteX11" fmla="*/ 2131218 w 2288380"/>
                    <a:gd name="connsiteY11" fmla="*/ 1319214 h 1564482"/>
                    <a:gd name="connsiteX12" fmla="*/ 2288380 w 2288380"/>
                    <a:gd name="connsiteY12" fmla="*/ 1283495 h 1564482"/>
                    <a:gd name="connsiteX13" fmla="*/ 2216942 w 2288380"/>
                    <a:gd name="connsiteY13" fmla="*/ 1009650 h 1564482"/>
                    <a:gd name="connsiteX14" fmla="*/ 2069305 w 2288380"/>
                    <a:gd name="connsiteY14" fmla="*/ 771526 h 1564482"/>
                    <a:gd name="connsiteX15" fmla="*/ 1516856 w 2288380"/>
                    <a:gd name="connsiteY15" fmla="*/ 604837 h 1564482"/>
                    <a:gd name="connsiteX16" fmla="*/ 1509712 w 2288380"/>
                    <a:gd name="connsiteY16" fmla="*/ 442913 h 1564482"/>
                    <a:gd name="connsiteX17" fmla="*/ 1681161 w 2288380"/>
                    <a:gd name="connsiteY17" fmla="*/ 219076 h 1564482"/>
                    <a:gd name="connsiteX18" fmla="*/ 1273968 w 2288380"/>
                    <a:gd name="connsiteY18" fmla="*/ 469106 h 1564482"/>
                    <a:gd name="connsiteX19" fmla="*/ 1259681 w 2288380"/>
                    <a:gd name="connsiteY19" fmla="*/ 214314 h 1564482"/>
                    <a:gd name="connsiteX20" fmla="*/ 1028700 w 2288380"/>
                    <a:gd name="connsiteY20" fmla="*/ 309564 h 1564482"/>
                    <a:gd name="connsiteX21" fmla="*/ 797718 w 2288380"/>
                    <a:gd name="connsiteY21" fmla="*/ 340520 h 1564482"/>
                    <a:gd name="connsiteX22" fmla="*/ 931068 w 2288380"/>
                    <a:gd name="connsiteY22" fmla="*/ 123826 h 1564482"/>
                    <a:gd name="connsiteX23" fmla="*/ 902493 w 2288380"/>
                    <a:gd name="connsiteY23" fmla="*/ 0 h 1564482"/>
                    <a:gd name="connsiteX24" fmla="*/ 790574 w 2288380"/>
                    <a:gd name="connsiteY24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28588 w 2288380"/>
                    <a:gd name="connsiteY8" fmla="*/ 1485901 h 1564482"/>
                    <a:gd name="connsiteX9" fmla="*/ 566736 w 2288380"/>
                    <a:gd name="connsiteY9" fmla="*/ 1464469 h 1564482"/>
                    <a:gd name="connsiteX10" fmla="*/ 700086 w 2288380"/>
                    <a:gd name="connsiteY10" fmla="*/ 1497806 h 1564482"/>
                    <a:gd name="connsiteX11" fmla="*/ 1083468 w 2288380"/>
                    <a:gd name="connsiteY11" fmla="*/ 1564482 h 1564482"/>
                    <a:gd name="connsiteX12" fmla="*/ 2131218 w 2288380"/>
                    <a:gd name="connsiteY12" fmla="*/ 1319214 h 1564482"/>
                    <a:gd name="connsiteX13" fmla="*/ 2288380 w 2288380"/>
                    <a:gd name="connsiteY13" fmla="*/ 1283495 h 1564482"/>
                    <a:gd name="connsiteX14" fmla="*/ 2216942 w 2288380"/>
                    <a:gd name="connsiteY14" fmla="*/ 1009650 h 1564482"/>
                    <a:gd name="connsiteX15" fmla="*/ 2069305 w 2288380"/>
                    <a:gd name="connsiteY15" fmla="*/ 771526 h 1564482"/>
                    <a:gd name="connsiteX16" fmla="*/ 1516856 w 2288380"/>
                    <a:gd name="connsiteY16" fmla="*/ 604837 h 1564482"/>
                    <a:gd name="connsiteX17" fmla="*/ 1509712 w 2288380"/>
                    <a:gd name="connsiteY17" fmla="*/ 442913 h 1564482"/>
                    <a:gd name="connsiteX18" fmla="*/ 1681161 w 2288380"/>
                    <a:gd name="connsiteY18" fmla="*/ 219076 h 1564482"/>
                    <a:gd name="connsiteX19" fmla="*/ 1273968 w 2288380"/>
                    <a:gd name="connsiteY19" fmla="*/ 469106 h 1564482"/>
                    <a:gd name="connsiteX20" fmla="*/ 1259681 w 2288380"/>
                    <a:gd name="connsiteY20" fmla="*/ 214314 h 1564482"/>
                    <a:gd name="connsiteX21" fmla="*/ 1028700 w 2288380"/>
                    <a:gd name="connsiteY21" fmla="*/ 309564 h 1564482"/>
                    <a:gd name="connsiteX22" fmla="*/ 797718 w 2288380"/>
                    <a:gd name="connsiteY22" fmla="*/ 340520 h 1564482"/>
                    <a:gd name="connsiteX23" fmla="*/ 931068 w 2288380"/>
                    <a:gd name="connsiteY23" fmla="*/ 123826 h 1564482"/>
                    <a:gd name="connsiteX24" fmla="*/ 902493 w 2288380"/>
                    <a:gd name="connsiteY24" fmla="*/ 0 h 1564482"/>
                    <a:gd name="connsiteX25" fmla="*/ 790574 w 2288380"/>
                    <a:gd name="connsiteY25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28588 w 2288380"/>
                    <a:gd name="connsiteY8" fmla="*/ 1485901 h 1564482"/>
                    <a:gd name="connsiteX9" fmla="*/ 566736 w 2288380"/>
                    <a:gd name="connsiteY9" fmla="*/ 1464469 h 1564482"/>
                    <a:gd name="connsiteX10" fmla="*/ 700086 w 2288380"/>
                    <a:gd name="connsiteY10" fmla="*/ 1497806 h 1564482"/>
                    <a:gd name="connsiteX11" fmla="*/ 792955 w 2288380"/>
                    <a:gd name="connsiteY11" fmla="*/ 1421606 h 1564482"/>
                    <a:gd name="connsiteX12" fmla="*/ 1083468 w 2288380"/>
                    <a:gd name="connsiteY12" fmla="*/ 1564482 h 1564482"/>
                    <a:gd name="connsiteX13" fmla="*/ 2131218 w 2288380"/>
                    <a:gd name="connsiteY13" fmla="*/ 1319214 h 1564482"/>
                    <a:gd name="connsiteX14" fmla="*/ 2288380 w 2288380"/>
                    <a:gd name="connsiteY14" fmla="*/ 1283495 h 1564482"/>
                    <a:gd name="connsiteX15" fmla="*/ 2216942 w 2288380"/>
                    <a:gd name="connsiteY15" fmla="*/ 1009650 h 1564482"/>
                    <a:gd name="connsiteX16" fmla="*/ 2069305 w 2288380"/>
                    <a:gd name="connsiteY16" fmla="*/ 771526 h 1564482"/>
                    <a:gd name="connsiteX17" fmla="*/ 1516856 w 2288380"/>
                    <a:gd name="connsiteY17" fmla="*/ 604837 h 1564482"/>
                    <a:gd name="connsiteX18" fmla="*/ 1509712 w 2288380"/>
                    <a:gd name="connsiteY18" fmla="*/ 442913 h 1564482"/>
                    <a:gd name="connsiteX19" fmla="*/ 1681161 w 2288380"/>
                    <a:gd name="connsiteY19" fmla="*/ 219076 h 1564482"/>
                    <a:gd name="connsiteX20" fmla="*/ 1273968 w 2288380"/>
                    <a:gd name="connsiteY20" fmla="*/ 469106 h 1564482"/>
                    <a:gd name="connsiteX21" fmla="*/ 1259681 w 2288380"/>
                    <a:gd name="connsiteY21" fmla="*/ 214314 h 1564482"/>
                    <a:gd name="connsiteX22" fmla="*/ 1028700 w 2288380"/>
                    <a:gd name="connsiteY22" fmla="*/ 309564 h 1564482"/>
                    <a:gd name="connsiteX23" fmla="*/ 797718 w 2288380"/>
                    <a:gd name="connsiteY23" fmla="*/ 340520 h 1564482"/>
                    <a:gd name="connsiteX24" fmla="*/ 931068 w 2288380"/>
                    <a:gd name="connsiteY24" fmla="*/ 123826 h 1564482"/>
                    <a:gd name="connsiteX25" fmla="*/ 902493 w 2288380"/>
                    <a:gd name="connsiteY25" fmla="*/ 0 h 1564482"/>
                    <a:gd name="connsiteX26" fmla="*/ 790574 w 2288380"/>
                    <a:gd name="connsiteY26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28588 w 2288380"/>
                    <a:gd name="connsiteY8" fmla="*/ 1485901 h 1564482"/>
                    <a:gd name="connsiteX9" fmla="*/ 566736 w 2288380"/>
                    <a:gd name="connsiteY9" fmla="*/ 1464469 h 1564482"/>
                    <a:gd name="connsiteX10" fmla="*/ 700086 w 2288380"/>
                    <a:gd name="connsiteY10" fmla="*/ 1497806 h 1564482"/>
                    <a:gd name="connsiteX11" fmla="*/ 792955 w 2288380"/>
                    <a:gd name="connsiteY11" fmla="*/ 1421606 h 1564482"/>
                    <a:gd name="connsiteX12" fmla="*/ 1083468 w 2288380"/>
                    <a:gd name="connsiteY12" fmla="*/ 1564482 h 1564482"/>
                    <a:gd name="connsiteX13" fmla="*/ 2131218 w 2288380"/>
                    <a:gd name="connsiteY13" fmla="*/ 1319214 h 1564482"/>
                    <a:gd name="connsiteX14" fmla="*/ 2288380 w 2288380"/>
                    <a:gd name="connsiteY14" fmla="*/ 1283495 h 1564482"/>
                    <a:gd name="connsiteX15" fmla="*/ 2216942 w 2288380"/>
                    <a:gd name="connsiteY15" fmla="*/ 1009650 h 1564482"/>
                    <a:gd name="connsiteX16" fmla="*/ 2069305 w 2288380"/>
                    <a:gd name="connsiteY16" fmla="*/ 771526 h 1564482"/>
                    <a:gd name="connsiteX17" fmla="*/ 1516856 w 2288380"/>
                    <a:gd name="connsiteY17" fmla="*/ 604837 h 1564482"/>
                    <a:gd name="connsiteX18" fmla="*/ 1509712 w 2288380"/>
                    <a:gd name="connsiteY18" fmla="*/ 442913 h 1564482"/>
                    <a:gd name="connsiteX19" fmla="*/ 1681161 w 2288380"/>
                    <a:gd name="connsiteY19" fmla="*/ 219076 h 1564482"/>
                    <a:gd name="connsiteX20" fmla="*/ 1273968 w 2288380"/>
                    <a:gd name="connsiteY20" fmla="*/ 469106 h 1564482"/>
                    <a:gd name="connsiteX21" fmla="*/ 1259681 w 2288380"/>
                    <a:gd name="connsiteY21" fmla="*/ 214314 h 1564482"/>
                    <a:gd name="connsiteX22" fmla="*/ 1028700 w 2288380"/>
                    <a:gd name="connsiteY22" fmla="*/ 309564 h 1564482"/>
                    <a:gd name="connsiteX23" fmla="*/ 797718 w 2288380"/>
                    <a:gd name="connsiteY23" fmla="*/ 340520 h 1564482"/>
                    <a:gd name="connsiteX24" fmla="*/ 931068 w 2288380"/>
                    <a:gd name="connsiteY24" fmla="*/ 123826 h 1564482"/>
                    <a:gd name="connsiteX25" fmla="*/ 902493 w 2288380"/>
                    <a:gd name="connsiteY25" fmla="*/ 0 h 1564482"/>
                    <a:gd name="connsiteX26" fmla="*/ 790574 w 2288380"/>
                    <a:gd name="connsiteY26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28588 w 2288380"/>
                    <a:gd name="connsiteY8" fmla="*/ 1485901 h 1564482"/>
                    <a:gd name="connsiteX9" fmla="*/ 566736 w 2288380"/>
                    <a:gd name="connsiteY9" fmla="*/ 1464469 h 1564482"/>
                    <a:gd name="connsiteX10" fmla="*/ 700086 w 2288380"/>
                    <a:gd name="connsiteY10" fmla="*/ 1497806 h 1564482"/>
                    <a:gd name="connsiteX11" fmla="*/ 792955 w 2288380"/>
                    <a:gd name="connsiteY11" fmla="*/ 1421606 h 1564482"/>
                    <a:gd name="connsiteX12" fmla="*/ 947736 w 2288380"/>
                    <a:gd name="connsiteY12" fmla="*/ 1393031 h 1564482"/>
                    <a:gd name="connsiteX13" fmla="*/ 1083468 w 2288380"/>
                    <a:gd name="connsiteY13" fmla="*/ 1564482 h 1564482"/>
                    <a:gd name="connsiteX14" fmla="*/ 2131218 w 2288380"/>
                    <a:gd name="connsiteY14" fmla="*/ 1319214 h 1564482"/>
                    <a:gd name="connsiteX15" fmla="*/ 2288380 w 2288380"/>
                    <a:gd name="connsiteY15" fmla="*/ 1283495 h 1564482"/>
                    <a:gd name="connsiteX16" fmla="*/ 2216942 w 2288380"/>
                    <a:gd name="connsiteY16" fmla="*/ 1009650 h 1564482"/>
                    <a:gd name="connsiteX17" fmla="*/ 2069305 w 2288380"/>
                    <a:gd name="connsiteY17" fmla="*/ 771526 h 1564482"/>
                    <a:gd name="connsiteX18" fmla="*/ 1516856 w 2288380"/>
                    <a:gd name="connsiteY18" fmla="*/ 604837 h 1564482"/>
                    <a:gd name="connsiteX19" fmla="*/ 1509712 w 2288380"/>
                    <a:gd name="connsiteY19" fmla="*/ 442913 h 1564482"/>
                    <a:gd name="connsiteX20" fmla="*/ 1681161 w 2288380"/>
                    <a:gd name="connsiteY20" fmla="*/ 219076 h 1564482"/>
                    <a:gd name="connsiteX21" fmla="*/ 1273968 w 2288380"/>
                    <a:gd name="connsiteY21" fmla="*/ 469106 h 1564482"/>
                    <a:gd name="connsiteX22" fmla="*/ 1259681 w 2288380"/>
                    <a:gd name="connsiteY22" fmla="*/ 214314 h 1564482"/>
                    <a:gd name="connsiteX23" fmla="*/ 1028700 w 2288380"/>
                    <a:gd name="connsiteY23" fmla="*/ 309564 h 1564482"/>
                    <a:gd name="connsiteX24" fmla="*/ 797718 w 2288380"/>
                    <a:gd name="connsiteY24" fmla="*/ 340520 h 1564482"/>
                    <a:gd name="connsiteX25" fmla="*/ 931068 w 2288380"/>
                    <a:gd name="connsiteY25" fmla="*/ 123826 h 1564482"/>
                    <a:gd name="connsiteX26" fmla="*/ 902493 w 2288380"/>
                    <a:gd name="connsiteY26" fmla="*/ 0 h 1564482"/>
                    <a:gd name="connsiteX27" fmla="*/ 790574 w 2288380"/>
                    <a:gd name="connsiteY27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28588 w 2288380"/>
                    <a:gd name="connsiteY8" fmla="*/ 1485901 h 1564482"/>
                    <a:gd name="connsiteX9" fmla="*/ 566736 w 2288380"/>
                    <a:gd name="connsiteY9" fmla="*/ 1464469 h 1564482"/>
                    <a:gd name="connsiteX10" fmla="*/ 700086 w 2288380"/>
                    <a:gd name="connsiteY10" fmla="*/ 1497806 h 1564482"/>
                    <a:gd name="connsiteX11" fmla="*/ 792955 w 2288380"/>
                    <a:gd name="connsiteY11" fmla="*/ 1421606 h 1564482"/>
                    <a:gd name="connsiteX12" fmla="*/ 862011 w 2288380"/>
                    <a:gd name="connsiteY12" fmla="*/ 1373981 h 1564482"/>
                    <a:gd name="connsiteX13" fmla="*/ 947736 w 2288380"/>
                    <a:gd name="connsiteY13" fmla="*/ 1393031 h 1564482"/>
                    <a:gd name="connsiteX14" fmla="*/ 1083468 w 2288380"/>
                    <a:gd name="connsiteY14" fmla="*/ 1564482 h 1564482"/>
                    <a:gd name="connsiteX15" fmla="*/ 2131218 w 2288380"/>
                    <a:gd name="connsiteY15" fmla="*/ 1319214 h 1564482"/>
                    <a:gd name="connsiteX16" fmla="*/ 2288380 w 2288380"/>
                    <a:gd name="connsiteY16" fmla="*/ 1283495 h 1564482"/>
                    <a:gd name="connsiteX17" fmla="*/ 2216942 w 2288380"/>
                    <a:gd name="connsiteY17" fmla="*/ 1009650 h 1564482"/>
                    <a:gd name="connsiteX18" fmla="*/ 2069305 w 2288380"/>
                    <a:gd name="connsiteY18" fmla="*/ 771526 h 1564482"/>
                    <a:gd name="connsiteX19" fmla="*/ 1516856 w 2288380"/>
                    <a:gd name="connsiteY19" fmla="*/ 604837 h 1564482"/>
                    <a:gd name="connsiteX20" fmla="*/ 1509712 w 2288380"/>
                    <a:gd name="connsiteY20" fmla="*/ 442913 h 1564482"/>
                    <a:gd name="connsiteX21" fmla="*/ 1681161 w 2288380"/>
                    <a:gd name="connsiteY21" fmla="*/ 219076 h 1564482"/>
                    <a:gd name="connsiteX22" fmla="*/ 1273968 w 2288380"/>
                    <a:gd name="connsiteY22" fmla="*/ 469106 h 1564482"/>
                    <a:gd name="connsiteX23" fmla="*/ 1259681 w 2288380"/>
                    <a:gd name="connsiteY23" fmla="*/ 214314 h 1564482"/>
                    <a:gd name="connsiteX24" fmla="*/ 1028700 w 2288380"/>
                    <a:gd name="connsiteY24" fmla="*/ 309564 h 1564482"/>
                    <a:gd name="connsiteX25" fmla="*/ 797718 w 2288380"/>
                    <a:gd name="connsiteY25" fmla="*/ 340520 h 1564482"/>
                    <a:gd name="connsiteX26" fmla="*/ 931068 w 2288380"/>
                    <a:gd name="connsiteY26" fmla="*/ 123826 h 1564482"/>
                    <a:gd name="connsiteX27" fmla="*/ 902493 w 2288380"/>
                    <a:gd name="connsiteY27" fmla="*/ 0 h 1564482"/>
                    <a:gd name="connsiteX28" fmla="*/ 790574 w 2288380"/>
                    <a:gd name="connsiteY28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28588 w 2288380"/>
                    <a:gd name="connsiteY8" fmla="*/ 1485901 h 1564482"/>
                    <a:gd name="connsiteX9" fmla="*/ 566736 w 2288380"/>
                    <a:gd name="connsiteY9" fmla="*/ 1464469 h 1564482"/>
                    <a:gd name="connsiteX10" fmla="*/ 700086 w 2288380"/>
                    <a:gd name="connsiteY10" fmla="*/ 1497806 h 1564482"/>
                    <a:gd name="connsiteX11" fmla="*/ 792955 w 2288380"/>
                    <a:gd name="connsiteY11" fmla="*/ 1421606 h 1564482"/>
                    <a:gd name="connsiteX12" fmla="*/ 862011 w 2288380"/>
                    <a:gd name="connsiteY12" fmla="*/ 1373981 h 1564482"/>
                    <a:gd name="connsiteX13" fmla="*/ 947736 w 2288380"/>
                    <a:gd name="connsiteY13" fmla="*/ 1393031 h 1564482"/>
                    <a:gd name="connsiteX14" fmla="*/ 1076324 w 2288380"/>
                    <a:gd name="connsiteY14" fmla="*/ 1488281 h 1564482"/>
                    <a:gd name="connsiteX15" fmla="*/ 1083468 w 2288380"/>
                    <a:gd name="connsiteY15" fmla="*/ 1564482 h 1564482"/>
                    <a:gd name="connsiteX16" fmla="*/ 2131218 w 2288380"/>
                    <a:gd name="connsiteY16" fmla="*/ 1319214 h 1564482"/>
                    <a:gd name="connsiteX17" fmla="*/ 2288380 w 2288380"/>
                    <a:gd name="connsiteY17" fmla="*/ 1283495 h 1564482"/>
                    <a:gd name="connsiteX18" fmla="*/ 2216942 w 2288380"/>
                    <a:gd name="connsiteY18" fmla="*/ 1009650 h 1564482"/>
                    <a:gd name="connsiteX19" fmla="*/ 2069305 w 2288380"/>
                    <a:gd name="connsiteY19" fmla="*/ 771526 h 1564482"/>
                    <a:gd name="connsiteX20" fmla="*/ 1516856 w 2288380"/>
                    <a:gd name="connsiteY20" fmla="*/ 604837 h 1564482"/>
                    <a:gd name="connsiteX21" fmla="*/ 1509712 w 2288380"/>
                    <a:gd name="connsiteY21" fmla="*/ 442913 h 1564482"/>
                    <a:gd name="connsiteX22" fmla="*/ 1681161 w 2288380"/>
                    <a:gd name="connsiteY22" fmla="*/ 219076 h 1564482"/>
                    <a:gd name="connsiteX23" fmla="*/ 1273968 w 2288380"/>
                    <a:gd name="connsiteY23" fmla="*/ 469106 h 1564482"/>
                    <a:gd name="connsiteX24" fmla="*/ 1259681 w 2288380"/>
                    <a:gd name="connsiteY24" fmla="*/ 214314 h 1564482"/>
                    <a:gd name="connsiteX25" fmla="*/ 1028700 w 2288380"/>
                    <a:gd name="connsiteY25" fmla="*/ 309564 h 1564482"/>
                    <a:gd name="connsiteX26" fmla="*/ 797718 w 2288380"/>
                    <a:gd name="connsiteY26" fmla="*/ 340520 h 1564482"/>
                    <a:gd name="connsiteX27" fmla="*/ 931068 w 2288380"/>
                    <a:gd name="connsiteY27" fmla="*/ 123826 h 1564482"/>
                    <a:gd name="connsiteX28" fmla="*/ 902493 w 2288380"/>
                    <a:gd name="connsiteY28" fmla="*/ 0 h 1564482"/>
                    <a:gd name="connsiteX29" fmla="*/ 790574 w 2288380"/>
                    <a:gd name="connsiteY29" fmla="*/ 78582 h 1564482"/>
                    <a:gd name="connsiteX0" fmla="*/ 790574 w 2288380"/>
                    <a:gd name="connsiteY0" fmla="*/ 78582 h 1564482"/>
                    <a:gd name="connsiteX1" fmla="*/ 278605 w 2288380"/>
                    <a:gd name="connsiteY1" fmla="*/ 340520 h 1564482"/>
                    <a:gd name="connsiteX2" fmla="*/ 345280 w 2288380"/>
                    <a:gd name="connsiteY2" fmla="*/ 511970 h 1564482"/>
                    <a:gd name="connsiteX3" fmla="*/ 169068 w 2288380"/>
                    <a:gd name="connsiteY3" fmla="*/ 721520 h 1564482"/>
                    <a:gd name="connsiteX4" fmla="*/ 0 w 2288380"/>
                    <a:gd name="connsiteY4" fmla="*/ 831057 h 1564482"/>
                    <a:gd name="connsiteX5" fmla="*/ 26193 w 2288380"/>
                    <a:gd name="connsiteY5" fmla="*/ 1140619 h 1564482"/>
                    <a:gd name="connsiteX6" fmla="*/ 66674 w 2288380"/>
                    <a:gd name="connsiteY6" fmla="*/ 1338262 h 1564482"/>
                    <a:gd name="connsiteX7" fmla="*/ 123824 w 2288380"/>
                    <a:gd name="connsiteY7" fmla="*/ 1407319 h 1564482"/>
                    <a:gd name="connsiteX8" fmla="*/ 128588 w 2288380"/>
                    <a:gd name="connsiteY8" fmla="*/ 1485901 h 1564482"/>
                    <a:gd name="connsiteX9" fmla="*/ 566736 w 2288380"/>
                    <a:gd name="connsiteY9" fmla="*/ 1464469 h 1564482"/>
                    <a:gd name="connsiteX10" fmla="*/ 700086 w 2288380"/>
                    <a:gd name="connsiteY10" fmla="*/ 1497806 h 1564482"/>
                    <a:gd name="connsiteX11" fmla="*/ 792955 w 2288380"/>
                    <a:gd name="connsiteY11" fmla="*/ 1421606 h 1564482"/>
                    <a:gd name="connsiteX12" fmla="*/ 862011 w 2288380"/>
                    <a:gd name="connsiteY12" fmla="*/ 1373981 h 1564482"/>
                    <a:gd name="connsiteX13" fmla="*/ 947736 w 2288380"/>
                    <a:gd name="connsiteY13" fmla="*/ 1393031 h 1564482"/>
                    <a:gd name="connsiteX14" fmla="*/ 1076324 w 2288380"/>
                    <a:gd name="connsiteY14" fmla="*/ 1488281 h 1564482"/>
                    <a:gd name="connsiteX15" fmla="*/ 1083468 w 2288380"/>
                    <a:gd name="connsiteY15" fmla="*/ 1564482 h 1564482"/>
                    <a:gd name="connsiteX16" fmla="*/ 1254918 w 2288380"/>
                    <a:gd name="connsiteY16" fmla="*/ 1550194 h 1564482"/>
                    <a:gd name="connsiteX17" fmla="*/ 2131218 w 2288380"/>
                    <a:gd name="connsiteY17" fmla="*/ 1319214 h 1564482"/>
                    <a:gd name="connsiteX18" fmla="*/ 2288380 w 2288380"/>
                    <a:gd name="connsiteY18" fmla="*/ 1283495 h 1564482"/>
                    <a:gd name="connsiteX19" fmla="*/ 2216942 w 2288380"/>
                    <a:gd name="connsiteY19" fmla="*/ 1009650 h 1564482"/>
                    <a:gd name="connsiteX20" fmla="*/ 2069305 w 2288380"/>
                    <a:gd name="connsiteY20" fmla="*/ 771526 h 1564482"/>
                    <a:gd name="connsiteX21" fmla="*/ 1516856 w 2288380"/>
                    <a:gd name="connsiteY21" fmla="*/ 604837 h 1564482"/>
                    <a:gd name="connsiteX22" fmla="*/ 1509712 w 2288380"/>
                    <a:gd name="connsiteY22" fmla="*/ 442913 h 1564482"/>
                    <a:gd name="connsiteX23" fmla="*/ 1681161 w 2288380"/>
                    <a:gd name="connsiteY23" fmla="*/ 219076 h 1564482"/>
                    <a:gd name="connsiteX24" fmla="*/ 1273968 w 2288380"/>
                    <a:gd name="connsiteY24" fmla="*/ 469106 h 1564482"/>
                    <a:gd name="connsiteX25" fmla="*/ 1259681 w 2288380"/>
                    <a:gd name="connsiteY25" fmla="*/ 214314 h 1564482"/>
                    <a:gd name="connsiteX26" fmla="*/ 1028700 w 2288380"/>
                    <a:gd name="connsiteY26" fmla="*/ 309564 h 1564482"/>
                    <a:gd name="connsiteX27" fmla="*/ 797718 w 2288380"/>
                    <a:gd name="connsiteY27" fmla="*/ 340520 h 1564482"/>
                    <a:gd name="connsiteX28" fmla="*/ 931068 w 2288380"/>
                    <a:gd name="connsiteY28" fmla="*/ 123826 h 1564482"/>
                    <a:gd name="connsiteX29" fmla="*/ 902493 w 2288380"/>
                    <a:gd name="connsiteY29" fmla="*/ 0 h 1564482"/>
                    <a:gd name="connsiteX30" fmla="*/ 790574 w 2288380"/>
                    <a:gd name="connsiteY30" fmla="*/ 78582 h 1564482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2131218 w 2288380"/>
                    <a:gd name="connsiteY18" fmla="*/ 1319214 h 1582686"/>
                    <a:gd name="connsiteX19" fmla="*/ 2288380 w 2288380"/>
                    <a:gd name="connsiteY19" fmla="*/ 1283495 h 1582686"/>
                    <a:gd name="connsiteX20" fmla="*/ 2216942 w 2288380"/>
                    <a:gd name="connsiteY20" fmla="*/ 1009650 h 1582686"/>
                    <a:gd name="connsiteX21" fmla="*/ 2069305 w 2288380"/>
                    <a:gd name="connsiteY21" fmla="*/ 771526 h 1582686"/>
                    <a:gd name="connsiteX22" fmla="*/ 1516856 w 2288380"/>
                    <a:gd name="connsiteY22" fmla="*/ 604837 h 1582686"/>
                    <a:gd name="connsiteX23" fmla="*/ 1509712 w 2288380"/>
                    <a:gd name="connsiteY23" fmla="*/ 442913 h 1582686"/>
                    <a:gd name="connsiteX24" fmla="*/ 1681161 w 2288380"/>
                    <a:gd name="connsiteY24" fmla="*/ 219076 h 1582686"/>
                    <a:gd name="connsiteX25" fmla="*/ 1273968 w 2288380"/>
                    <a:gd name="connsiteY25" fmla="*/ 469106 h 1582686"/>
                    <a:gd name="connsiteX26" fmla="*/ 1259681 w 2288380"/>
                    <a:gd name="connsiteY26" fmla="*/ 214314 h 1582686"/>
                    <a:gd name="connsiteX27" fmla="*/ 1028700 w 2288380"/>
                    <a:gd name="connsiteY27" fmla="*/ 309564 h 1582686"/>
                    <a:gd name="connsiteX28" fmla="*/ 797718 w 2288380"/>
                    <a:gd name="connsiteY28" fmla="*/ 340520 h 1582686"/>
                    <a:gd name="connsiteX29" fmla="*/ 931068 w 2288380"/>
                    <a:gd name="connsiteY29" fmla="*/ 123826 h 1582686"/>
                    <a:gd name="connsiteX30" fmla="*/ 902493 w 2288380"/>
                    <a:gd name="connsiteY30" fmla="*/ 0 h 1582686"/>
                    <a:gd name="connsiteX31" fmla="*/ 790574 w 2288380"/>
                    <a:gd name="connsiteY31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83518 w 2288380"/>
                    <a:gd name="connsiteY18" fmla="*/ 1488281 h 1582686"/>
                    <a:gd name="connsiteX19" fmla="*/ 2131218 w 2288380"/>
                    <a:gd name="connsiteY19" fmla="*/ 1319214 h 1582686"/>
                    <a:gd name="connsiteX20" fmla="*/ 2288380 w 2288380"/>
                    <a:gd name="connsiteY20" fmla="*/ 1283495 h 1582686"/>
                    <a:gd name="connsiteX21" fmla="*/ 2216942 w 2288380"/>
                    <a:gd name="connsiteY21" fmla="*/ 1009650 h 1582686"/>
                    <a:gd name="connsiteX22" fmla="*/ 2069305 w 2288380"/>
                    <a:gd name="connsiteY22" fmla="*/ 771526 h 1582686"/>
                    <a:gd name="connsiteX23" fmla="*/ 1516856 w 2288380"/>
                    <a:gd name="connsiteY23" fmla="*/ 604837 h 1582686"/>
                    <a:gd name="connsiteX24" fmla="*/ 1509712 w 2288380"/>
                    <a:gd name="connsiteY24" fmla="*/ 442913 h 1582686"/>
                    <a:gd name="connsiteX25" fmla="*/ 1681161 w 2288380"/>
                    <a:gd name="connsiteY25" fmla="*/ 219076 h 1582686"/>
                    <a:gd name="connsiteX26" fmla="*/ 1273968 w 2288380"/>
                    <a:gd name="connsiteY26" fmla="*/ 469106 h 1582686"/>
                    <a:gd name="connsiteX27" fmla="*/ 1259681 w 2288380"/>
                    <a:gd name="connsiteY27" fmla="*/ 214314 h 1582686"/>
                    <a:gd name="connsiteX28" fmla="*/ 1028700 w 2288380"/>
                    <a:gd name="connsiteY28" fmla="*/ 309564 h 1582686"/>
                    <a:gd name="connsiteX29" fmla="*/ 797718 w 2288380"/>
                    <a:gd name="connsiteY29" fmla="*/ 340520 h 1582686"/>
                    <a:gd name="connsiteX30" fmla="*/ 931068 w 2288380"/>
                    <a:gd name="connsiteY30" fmla="*/ 123826 h 1582686"/>
                    <a:gd name="connsiteX31" fmla="*/ 902493 w 2288380"/>
                    <a:gd name="connsiteY31" fmla="*/ 0 h 1582686"/>
                    <a:gd name="connsiteX32" fmla="*/ 790574 w 2288380"/>
                    <a:gd name="connsiteY32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09699 w 2288380"/>
                    <a:gd name="connsiteY18" fmla="*/ 1552575 h 1582686"/>
                    <a:gd name="connsiteX19" fmla="*/ 1483518 w 2288380"/>
                    <a:gd name="connsiteY19" fmla="*/ 1488281 h 1582686"/>
                    <a:gd name="connsiteX20" fmla="*/ 2131218 w 2288380"/>
                    <a:gd name="connsiteY20" fmla="*/ 1319214 h 1582686"/>
                    <a:gd name="connsiteX21" fmla="*/ 2288380 w 2288380"/>
                    <a:gd name="connsiteY21" fmla="*/ 1283495 h 1582686"/>
                    <a:gd name="connsiteX22" fmla="*/ 2216942 w 2288380"/>
                    <a:gd name="connsiteY22" fmla="*/ 1009650 h 1582686"/>
                    <a:gd name="connsiteX23" fmla="*/ 2069305 w 2288380"/>
                    <a:gd name="connsiteY23" fmla="*/ 771526 h 1582686"/>
                    <a:gd name="connsiteX24" fmla="*/ 1516856 w 2288380"/>
                    <a:gd name="connsiteY24" fmla="*/ 604837 h 1582686"/>
                    <a:gd name="connsiteX25" fmla="*/ 1509712 w 2288380"/>
                    <a:gd name="connsiteY25" fmla="*/ 442913 h 1582686"/>
                    <a:gd name="connsiteX26" fmla="*/ 1681161 w 2288380"/>
                    <a:gd name="connsiteY26" fmla="*/ 219076 h 1582686"/>
                    <a:gd name="connsiteX27" fmla="*/ 1273968 w 2288380"/>
                    <a:gd name="connsiteY27" fmla="*/ 469106 h 1582686"/>
                    <a:gd name="connsiteX28" fmla="*/ 1259681 w 2288380"/>
                    <a:gd name="connsiteY28" fmla="*/ 214314 h 1582686"/>
                    <a:gd name="connsiteX29" fmla="*/ 1028700 w 2288380"/>
                    <a:gd name="connsiteY29" fmla="*/ 309564 h 1582686"/>
                    <a:gd name="connsiteX30" fmla="*/ 797718 w 2288380"/>
                    <a:gd name="connsiteY30" fmla="*/ 340520 h 1582686"/>
                    <a:gd name="connsiteX31" fmla="*/ 931068 w 2288380"/>
                    <a:gd name="connsiteY31" fmla="*/ 123826 h 1582686"/>
                    <a:gd name="connsiteX32" fmla="*/ 902493 w 2288380"/>
                    <a:gd name="connsiteY32" fmla="*/ 0 h 1582686"/>
                    <a:gd name="connsiteX33" fmla="*/ 790574 w 2288380"/>
                    <a:gd name="connsiteY33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09699 w 2288380"/>
                    <a:gd name="connsiteY18" fmla="*/ 1552575 h 1582686"/>
                    <a:gd name="connsiteX19" fmla="*/ 1483518 w 2288380"/>
                    <a:gd name="connsiteY19" fmla="*/ 1488281 h 1582686"/>
                    <a:gd name="connsiteX20" fmla="*/ 2131218 w 2288380"/>
                    <a:gd name="connsiteY20" fmla="*/ 1319214 h 1582686"/>
                    <a:gd name="connsiteX21" fmla="*/ 2288380 w 2288380"/>
                    <a:gd name="connsiteY21" fmla="*/ 1283495 h 1582686"/>
                    <a:gd name="connsiteX22" fmla="*/ 2216942 w 2288380"/>
                    <a:gd name="connsiteY22" fmla="*/ 1009650 h 1582686"/>
                    <a:gd name="connsiteX23" fmla="*/ 2069305 w 2288380"/>
                    <a:gd name="connsiteY23" fmla="*/ 771526 h 1582686"/>
                    <a:gd name="connsiteX24" fmla="*/ 1516856 w 2288380"/>
                    <a:gd name="connsiteY24" fmla="*/ 604837 h 1582686"/>
                    <a:gd name="connsiteX25" fmla="*/ 1509712 w 2288380"/>
                    <a:gd name="connsiteY25" fmla="*/ 442913 h 1582686"/>
                    <a:gd name="connsiteX26" fmla="*/ 1681161 w 2288380"/>
                    <a:gd name="connsiteY26" fmla="*/ 219076 h 1582686"/>
                    <a:gd name="connsiteX27" fmla="*/ 1273968 w 2288380"/>
                    <a:gd name="connsiteY27" fmla="*/ 469106 h 1582686"/>
                    <a:gd name="connsiteX28" fmla="*/ 1259681 w 2288380"/>
                    <a:gd name="connsiteY28" fmla="*/ 214314 h 1582686"/>
                    <a:gd name="connsiteX29" fmla="*/ 1028700 w 2288380"/>
                    <a:gd name="connsiteY29" fmla="*/ 309564 h 1582686"/>
                    <a:gd name="connsiteX30" fmla="*/ 797718 w 2288380"/>
                    <a:gd name="connsiteY30" fmla="*/ 340520 h 1582686"/>
                    <a:gd name="connsiteX31" fmla="*/ 931068 w 2288380"/>
                    <a:gd name="connsiteY31" fmla="*/ 123826 h 1582686"/>
                    <a:gd name="connsiteX32" fmla="*/ 902493 w 2288380"/>
                    <a:gd name="connsiteY32" fmla="*/ 0 h 1582686"/>
                    <a:gd name="connsiteX33" fmla="*/ 790574 w 2288380"/>
                    <a:gd name="connsiteY33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83518 w 2288380"/>
                    <a:gd name="connsiteY18" fmla="*/ 1488281 h 1582686"/>
                    <a:gd name="connsiteX19" fmla="*/ 2131218 w 2288380"/>
                    <a:gd name="connsiteY19" fmla="*/ 1319214 h 1582686"/>
                    <a:gd name="connsiteX20" fmla="*/ 2288380 w 2288380"/>
                    <a:gd name="connsiteY20" fmla="*/ 1283495 h 1582686"/>
                    <a:gd name="connsiteX21" fmla="*/ 2216942 w 2288380"/>
                    <a:gd name="connsiteY21" fmla="*/ 1009650 h 1582686"/>
                    <a:gd name="connsiteX22" fmla="*/ 2069305 w 2288380"/>
                    <a:gd name="connsiteY22" fmla="*/ 771526 h 1582686"/>
                    <a:gd name="connsiteX23" fmla="*/ 1516856 w 2288380"/>
                    <a:gd name="connsiteY23" fmla="*/ 604837 h 1582686"/>
                    <a:gd name="connsiteX24" fmla="*/ 1509712 w 2288380"/>
                    <a:gd name="connsiteY24" fmla="*/ 442913 h 1582686"/>
                    <a:gd name="connsiteX25" fmla="*/ 1681161 w 2288380"/>
                    <a:gd name="connsiteY25" fmla="*/ 219076 h 1582686"/>
                    <a:gd name="connsiteX26" fmla="*/ 1273968 w 2288380"/>
                    <a:gd name="connsiteY26" fmla="*/ 469106 h 1582686"/>
                    <a:gd name="connsiteX27" fmla="*/ 1259681 w 2288380"/>
                    <a:gd name="connsiteY27" fmla="*/ 214314 h 1582686"/>
                    <a:gd name="connsiteX28" fmla="*/ 1028700 w 2288380"/>
                    <a:gd name="connsiteY28" fmla="*/ 309564 h 1582686"/>
                    <a:gd name="connsiteX29" fmla="*/ 797718 w 2288380"/>
                    <a:gd name="connsiteY29" fmla="*/ 340520 h 1582686"/>
                    <a:gd name="connsiteX30" fmla="*/ 931068 w 2288380"/>
                    <a:gd name="connsiteY30" fmla="*/ 123826 h 1582686"/>
                    <a:gd name="connsiteX31" fmla="*/ 902493 w 2288380"/>
                    <a:gd name="connsiteY31" fmla="*/ 0 h 1582686"/>
                    <a:gd name="connsiteX32" fmla="*/ 790574 w 2288380"/>
                    <a:gd name="connsiteY32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83518 w 2288380"/>
                    <a:gd name="connsiteY19" fmla="*/ 1488281 h 1582686"/>
                    <a:gd name="connsiteX20" fmla="*/ 2131218 w 2288380"/>
                    <a:gd name="connsiteY20" fmla="*/ 1319214 h 1582686"/>
                    <a:gd name="connsiteX21" fmla="*/ 2288380 w 2288380"/>
                    <a:gd name="connsiteY21" fmla="*/ 1283495 h 1582686"/>
                    <a:gd name="connsiteX22" fmla="*/ 2216942 w 2288380"/>
                    <a:gd name="connsiteY22" fmla="*/ 1009650 h 1582686"/>
                    <a:gd name="connsiteX23" fmla="*/ 2069305 w 2288380"/>
                    <a:gd name="connsiteY23" fmla="*/ 771526 h 1582686"/>
                    <a:gd name="connsiteX24" fmla="*/ 1516856 w 2288380"/>
                    <a:gd name="connsiteY24" fmla="*/ 604837 h 1582686"/>
                    <a:gd name="connsiteX25" fmla="*/ 1509712 w 2288380"/>
                    <a:gd name="connsiteY25" fmla="*/ 442913 h 1582686"/>
                    <a:gd name="connsiteX26" fmla="*/ 1681161 w 2288380"/>
                    <a:gd name="connsiteY26" fmla="*/ 219076 h 1582686"/>
                    <a:gd name="connsiteX27" fmla="*/ 1273968 w 2288380"/>
                    <a:gd name="connsiteY27" fmla="*/ 469106 h 1582686"/>
                    <a:gd name="connsiteX28" fmla="*/ 1259681 w 2288380"/>
                    <a:gd name="connsiteY28" fmla="*/ 214314 h 1582686"/>
                    <a:gd name="connsiteX29" fmla="*/ 1028700 w 2288380"/>
                    <a:gd name="connsiteY29" fmla="*/ 309564 h 1582686"/>
                    <a:gd name="connsiteX30" fmla="*/ 797718 w 2288380"/>
                    <a:gd name="connsiteY30" fmla="*/ 340520 h 1582686"/>
                    <a:gd name="connsiteX31" fmla="*/ 931068 w 2288380"/>
                    <a:gd name="connsiteY31" fmla="*/ 123826 h 1582686"/>
                    <a:gd name="connsiteX32" fmla="*/ 902493 w 2288380"/>
                    <a:gd name="connsiteY32" fmla="*/ 0 h 1582686"/>
                    <a:gd name="connsiteX33" fmla="*/ 790574 w 2288380"/>
                    <a:gd name="connsiteY33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2131218 w 2288380"/>
                    <a:gd name="connsiteY19" fmla="*/ 1319214 h 1582686"/>
                    <a:gd name="connsiteX20" fmla="*/ 2288380 w 2288380"/>
                    <a:gd name="connsiteY20" fmla="*/ 1283495 h 1582686"/>
                    <a:gd name="connsiteX21" fmla="*/ 2216942 w 2288380"/>
                    <a:gd name="connsiteY21" fmla="*/ 1009650 h 1582686"/>
                    <a:gd name="connsiteX22" fmla="*/ 2069305 w 2288380"/>
                    <a:gd name="connsiteY22" fmla="*/ 771526 h 1582686"/>
                    <a:gd name="connsiteX23" fmla="*/ 1516856 w 2288380"/>
                    <a:gd name="connsiteY23" fmla="*/ 604837 h 1582686"/>
                    <a:gd name="connsiteX24" fmla="*/ 1509712 w 2288380"/>
                    <a:gd name="connsiteY24" fmla="*/ 442913 h 1582686"/>
                    <a:gd name="connsiteX25" fmla="*/ 1681161 w 2288380"/>
                    <a:gd name="connsiteY25" fmla="*/ 219076 h 1582686"/>
                    <a:gd name="connsiteX26" fmla="*/ 1273968 w 2288380"/>
                    <a:gd name="connsiteY26" fmla="*/ 469106 h 1582686"/>
                    <a:gd name="connsiteX27" fmla="*/ 1259681 w 2288380"/>
                    <a:gd name="connsiteY27" fmla="*/ 214314 h 1582686"/>
                    <a:gd name="connsiteX28" fmla="*/ 1028700 w 2288380"/>
                    <a:gd name="connsiteY28" fmla="*/ 309564 h 1582686"/>
                    <a:gd name="connsiteX29" fmla="*/ 797718 w 2288380"/>
                    <a:gd name="connsiteY29" fmla="*/ 340520 h 1582686"/>
                    <a:gd name="connsiteX30" fmla="*/ 931068 w 2288380"/>
                    <a:gd name="connsiteY30" fmla="*/ 123826 h 1582686"/>
                    <a:gd name="connsiteX31" fmla="*/ 902493 w 2288380"/>
                    <a:gd name="connsiteY31" fmla="*/ 0 h 1582686"/>
                    <a:gd name="connsiteX32" fmla="*/ 790574 w 2288380"/>
                    <a:gd name="connsiteY32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2131218 w 2288380"/>
                    <a:gd name="connsiteY20" fmla="*/ 1319214 h 1582686"/>
                    <a:gd name="connsiteX21" fmla="*/ 2288380 w 2288380"/>
                    <a:gd name="connsiteY21" fmla="*/ 1283495 h 1582686"/>
                    <a:gd name="connsiteX22" fmla="*/ 2216942 w 2288380"/>
                    <a:gd name="connsiteY22" fmla="*/ 1009650 h 1582686"/>
                    <a:gd name="connsiteX23" fmla="*/ 2069305 w 2288380"/>
                    <a:gd name="connsiteY23" fmla="*/ 771526 h 1582686"/>
                    <a:gd name="connsiteX24" fmla="*/ 1516856 w 2288380"/>
                    <a:gd name="connsiteY24" fmla="*/ 604837 h 1582686"/>
                    <a:gd name="connsiteX25" fmla="*/ 1509712 w 2288380"/>
                    <a:gd name="connsiteY25" fmla="*/ 442913 h 1582686"/>
                    <a:gd name="connsiteX26" fmla="*/ 1681161 w 2288380"/>
                    <a:gd name="connsiteY26" fmla="*/ 219076 h 1582686"/>
                    <a:gd name="connsiteX27" fmla="*/ 1273968 w 2288380"/>
                    <a:gd name="connsiteY27" fmla="*/ 469106 h 1582686"/>
                    <a:gd name="connsiteX28" fmla="*/ 1259681 w 2288380"/>
                    <a:gd name="connsiteY28" fmla="*/ 214314 h 1582686"/>
                    <a:gd name="connsiteX29" fmla="*/ 1028700 w 2288380"/>
                    <a:gd name="connsiteY29" fmla="*/ 309564 h 1582686"/>
                    <a:gd name="connsiteX30" fmla="*/ 797718 w 2288380"/>
                    <a:gd name="connsiteY30" fmla="*/ 340520 h 1582686"/>
                    <a:gd name="connsiteX31" fmla="*/ 931068 w 2288380"/>
                    <a:gd name="connsiteY31" fmla="*/ 123826 h 1582686"/>
                    <a:gd name="connsiteX32" fmla="*/ 902493 w 2288380"/>
                    <a:gd name="connsiteY32" fmla="*/ 0 h 1582686"/>
                    <a:gd name="connsiteX33" fmla="*/ 790574 w 2288380"/>
                    <a:gd name="connsiteY33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2131218 w 2288380"/>
                    <a:gd name="connsiteY21" fmla="*/ 1319214 h 1582686"/>
                    <a:gd name="connsiteX22" fmla="*/ 2288380 w 2288380"/>
                    <a:gd name="connsiteY22" fmla="*/ 1283495 h 1582686"/>
                    <a:gd name="connsiteX23" fmla="*/ 2216942 w 2288380"/>
                    <a:gd name="connsiteY23" fmla="*/ 1009650 h 1582686"/>
                    <a:gd name="connsiteX24" fmla="*/ 2069305 w 2288380"/>
                    <a:gd name="connsiteY24" fmla="*/ 771526 h 1582686"/>
                    <a:gd name="connsiteX25" fmla="*/ 1516856 w 2288380"/>
                    <a:gd name="connsiteY25" fmla="*/ 604837 h 1582686"/>
                    <a:gd name="connsiteX26" fmla="*/ 1509712 w 2288380"/>
                    <a:gd name="connsiteY26" fmla="*/ 442913 h 1582686"/>
                    <a:gd name="connsiteX27" fmla="*/ 1681161 w 2288380"/>
                    <a:gd name="connsiteY27" fmla="*/ 219076 h 1582686"/>
                    <a:gd name="connsiteX28" fmla="*/ 1273968 w 2288380"/>
                    <a:gd name="connsiteY28" fmla="*/ 469106 h 1582686"/>
                    <a:gd name="connsiteX29" fmla="*/ 1259681 w 2288380"/>
                    <a:gd name="connsiteY29" fmla="*/ 214314 h 1582686"/>
                    <a:gd name="connsiteX30" fmla="*/ 1028700 w 2288380"/>
                    <a:gd name="connsiteY30" fmla="*/ 309564 h 1582686"/>
                    <a:gd name="connsiteX31" fmla="*/ 797718 w 2288380"/>
                    <a:gd name="connsiteY31" fmla="*/ 340520 h 1582686"/>
                    <a:gd name="connsiteX32" fmla="*/ 931068 w 2288380"/>
                    <a:gd name="connsiteY32" fmla="*/ 123826 h 1582686"/>
                    <a:gd name="connsiteX33" fmla="*/ 902493 w 2288380"/>
                    <a:gd name="connsiteY33" fmla="*/ 0 h 1582686"/>
                    <a:gd name="connsiteX34" fmla="*/ 790574 w 2288380"/>
                    <a:gd name="connsiteY34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2131218 w 2288380"/>
                    <a:gd name="connsiteY22" fmla="*/ 1319214 h 1582686"/>
                    <a:gd name="connsiteX23" fmla="*/ 2288380 w 2288380"/>
                    <a:gd name="connsiteY23" fmla="*/ 1283495 h 1582686"/>
                    <a:gd name="connsiteX24" fmla="*/ 2216942 w 2288380"/>
                    <a:gd name="connsiteY24" fmla="*/ 1009650 h 1582686"/>
                    <a:gd name="connsiteX25" fmla="*/ 2069305 w 2288380"/>
                    <a:gd name="connsiteY25" fmla="*/ 771526 h 1582686"/>
                    <a:gd name="connsiteX26" fmla="*/ 1516856 w 2288380"/>
                    <a:gd name="connsiteY26" fmla="*/ 604837 h 1582686"/>
                    <a:gd name="connsiteX27" fmla="*/ 1509712 w 2288380"/>
                    <a:gd name="connsiteY27" fmla="*/ 442913 h 1582686"/>
                    <a:gd name="connsiteX28" fmla="*/ 1681161 w 2288380"/>
                    <a:gd name="connsiteY28" fmla="*/ 219076 h 1582686"/>
                    <a:gd name="connsiteX29" fmla="*/ 1273968 w 2288380"/>
                    <a:gd name="connsiteY29" fmla="*/ 469106 h 1582686"/>
                    <a:gd name="connsiteX30" fmla="*/ 1259681 w 2288380"/>
                    <a:gd name="connsiteY30" fmla="*/ 214314 h 1582686"/>
                    <a:gd name="connsiteX31" fmla="*/ 1028700 w 2288380"/>
                    <a:gd name="connsiteY31" fmla="*/ 309564 h 1582686"/>
                    <a:gd name="connsiteX32" fmla="*/ 797718 w 2288380"/>
                    <a:gd name="connsiteY32" fmla="*/ 340520 h 1582686"/>
                    <a:gd name="connsiteX33" fmla="*/ 931068 w 2288380"/>
                    <a:gd name="connsiteY33" fmla="*/ 123826 h 1582686"/>
                    <a:gd name="connsiteX34" fmla="*/ 902493 w 2288380"/>
                    <a:gd name="connsiteY34" fmla="*/ 0 h 1582686"/>
                    <a:gd name="connsiteX35" fmla="*/ 790574 w 2288380"/>
                    <a:gd name="connsiteY35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2131218 w 2288380"/>
                    <a:gd name="connsiteY23" fmla="*/ 1319214 h 1582686"/>
                    <a:gd name="connsiteX24" fmla="*/ 2288380 w 2288380"/>
                    <a:gd name="connsiteY24" fmla="*/ 1283495 h 1582686"/>
                    <a:gd name="connsiteX25" fmla="*/ 2216942 w 2288380"/>
                    <a:gd name="connsiteY25" fmla="*/ 1009650 h 1582686"/>
                    <a:gd name="connsiteX26" fmla="*/ 2069305 w 2288380"/>
                    <a:gd name="connsiteY26" fmla="*/ 771526 h 1582686"/>
                    <a:gd name="connsiteX27" fmla="*/ 1516856 w 2288380"/>
                    <a:gd name="connsiteY27" fmla="*/ 604837 h 1582686"/>
                    <a:gd name="connsiteX28" fmla="*/ 1509712 w 2288380"/>
                    <a:gd name="connsiteY28" fmla="*/ 442913 h 1582686"/>
                    <a:gd name="connsiteX29" fmla="*/ 1681161 w 2288380"/>
                    <a:gd name="connsiteY29" fmla="*/ 219076 h 1582686"/>
                    <a:gd name="connsiteX30" fmla="*/ 1273968 w 2288380"/>
                    <a:gd name="connsiteY30" fmla="*/ 469106 h 1582686"/>
                    <a:gd name="connsiteX31" fmla="*/ 1259681 w 2288380"/>
                    <a:gd name="connsiteY31" fmla="*/ 214314 h 1582686"/>
                    <a:gd name="connsiteX32" fmla="*/ 1028700 w 2288380"/>
                    <a:gd name="connsiteY32" fmla="*/ 309564 h 1582686"/>
                    <a:gd name="connsiteX33" fmla="*/ 797718 w 2288380"/>
                    <a:gd name="connsiteY33" fmla="*/ 340520 h 1582686"/>
                    <a:gd name="connsiteX34" fmla="*/ 931068 w 2288380"/>
                    <a:gd name="connsiteY34" fmla="*/ 123826 h 1582686"/>
                    <a:gd name="connsiteX35" fmla="*/ 902493 w 2288380"/>
                    <a:gd name="connsiteY35" fmla="*/ 0 h 1582686"/>
                    <a:gd name="connsiteX36" fmla="*/ 790574 w 2288380"/>
                    <a:gd name="connsiteY36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2131218 w 2288380"/>
                    <a:gd name="connsiteY24" fmla="*/ 1319214 h 1582686"/>
                    <a:gd name="connsiteX25" fmla="*/ 2288380 w 2288380"/>
                    <a:gd name="connsiteY25" fmla="*/ 1283495 h 1582686"/>
                    <a:gd name="connsiteX26" fmla="*/ 2216942 w 2288380"/>
                    <a:gd name="connsiteY26" fmla="*/ 1009650 h 1582686"/>
                    <a:gd name="connsiteX27" fmla="*/ 2069305 w 2288380"/>
                    <a:gd name="connsiteY27" fmla="*/ 771526 h 1582686"/>
                    <a:gd name="connsiteX28" fmla="*/ 1516856 w 2288380"/>
                    <a:gd name="connsiteY28" fmla="*/ 604837 h 1582686"/>
                    <a:gd name="connsiteX29" fmla="*/ 1509712 w 2288380"/>
                    <a:gd name="connsiteY29" fmla="*/ 442913 h 1582686"/>
                    <a:gd name="connsiteX30" fmla="*/ 1681161 w 2288380"/>
                    <a:gd name="connsiteY30" fmla="*/ 219076 h 1582686"/>
                    <a:gd name="connsiteX31" fmla="*/ 1273968 w 2288380"/>
                    <a:gd name="connsiteY31" fmla="*/ 469106 h 1582686"/>
                    <a:gd name="connsiteX32" fmla="*/ 1259681 w 2288380"/>
                    <a:gd name="connsiteY32" fmla="*/ 214314 h 1582686"/>
                    <a:gd name="connsiteX33" fmla="*/ 1028700 w 2288380"/>
                    <a:gd name="connsiteY33" fmla="*/ 309564 h 1582686"/>
                    <a:gd name="connsiteX34" fmla="*/ 797718 w 2288380"/>
                    <a:gd name="connsiteY34" fmla="*/ 340520 h 1582686"/>
                    <a:gd name="connsiteX35" fmla="*/ 931068 w 2288380"/>
                    <a:gd name="connsiteY35" fmla="*/ 123826 h 1582686"/>
                    <a:gd name="connsiteX36" fmla="*/ 902493 w 2288380"/>
                    <a:gd name="connsiteY36" fmla="*/ 0 h 1582686"/>
                    <a:gd name="connsiteX37" fmla="*/ 790574 w 2288380"/>
                    <a:gd name="connsiteY37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2114549 w 2288380"/>
                    <a:gd name="connsiteY24" fmla="*/ 1457325 h 1582686"/>
                    <a:gd name="connsiteX25" fmla="*/ 2131218 w 2288380"/>
                    <a:gd name="connsiteY25" fmla="*/ 1319214 h 1582686"/>
                    <a:gd name="connsiteX26" fmla="*/ 2288380 w 2288380"/>
                    <a:gd name="connsiteY26" fmla="*/ 1283495 h 1582686"/>
                    <a:gd name="connsiteX27" fmla="*/ 2216942 w 2288380"/>
                    <a:gd name="connsiteY27" fmla="*/ 1009650 h 1582686"/>
                    <a:gd name="connsiteX28" fmla="*/ 2069305 w 2288380"/>
                    <a:gd name="connsiteY28" fmla="*/ 771526 h 1582686"/>
                    <a:gd name="connsiteX29" fmla="*/ 1516856 w 2288380"/>
                    <a:gd name="connsiteY29" fmla="*/ 604837 h 1582686"/>
                    <a:gd name="connsiteX30" fmla="*/ 1509712 w 2288380"/>
                    <a:gd name="connsiteY30" fmla="*/ 442913 h 1582686"/>
                    <a:gd name="connsiteX31" fmla="*/ 1681161 w 2288380"/>
                    <a:gd name="connsiteY31" fmla="*/ 219076 h 1582686"/>
                    <a:gd name="connsiteX32" fmla="*/ 1273968 w 2288380"/>
                    <a:gd name="connsiteY32" fmla="*/ 469106 h 1582686"/>
                    <a:gd name="connsiteX33" fmla="*/ 1259681 w 2288380"/>
                    <a:gd name="connsiteY33" fmla="*/ 214314 h 1582686"/>
                    <a:gd name="connsiteX34" fmla="*/ 1028700 w 2288380"/>
                    <a:gd name="connsiteY34" fmla="*/ 309564 h 1582686"/>
                    <a:gd name="connsiteX35" fmla="*/ 797718 w 2288380"/>
                    <a:gd name="connsiteY35" fmla="*/ 340520 h 1582686"/>
                    <a:gd name="connsiteX36" fmla="*/ 931068 w 2288380"/>
                    <a:gd name="connsiteY36" fmla="*/ 123826 h 1582686"/>
                    <a:gd name="connsiteX37" fmla="*/ 902493 w 2288380"/>
                    <a:gd name="connsiteY37" fmla="*/ 0 h 1582686"/>
                    <a:gd name="connsiteX38" fmla="*/ 790574 w 2288380"/>
                    <a:gd name="connsiteY38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2114549 w 2288380"/>
                    <a:gd name="connsiteY25" fmla="*/ 1457325 h 1582686"/>
                    <a:gd name="connsiteX26" fmla="*/ 2131218 w 2288380"/>
                    <a:gd name="connsiteY26" fmla="*/ 1319214 h 1582686"/>
                    <a:gd name="connsiteX27" fmla="*/ 2288380 w 2288380"/>
                    <a:gd name="connsiteY27" fmla="*/ 1283495 h 1582686"/>
                    <a:gd name="connsiteX28" fmla="*/ 2216942 w 2288380"/>
                    <a:gd name="connsiteY28" fmla="*/ 1009650 h 1582686"/>
                    <a:gd name="connsiteX29" fmla="*/ 2069305 w 2288380"/>
                    <a:gd name="connsiteY29" fmla="*/ 771526 h 1582686"/>
                    <a:gd name="connsiteX30" fmla="*/ 1516856 w 2288380"/>
                    <a:gd name="connsiteY30" fmla="*/ 604837 h 1582686"/>
                    <a:gd name="connsiteX31" fmla="*/ 1509712 w 2288380"/>
                    <a:gd name="connsiteY31" fmla="*/ 442913 h 1582686"/>
                    <a:gd name="connsiteX32" fmla="*/ 1681161 w 2288380"/>
                    <a:gd name="connsiteY32" fmla="*/ 219076 h 1582686"/>
                    <a:gd name="connsiteX33" fmla="*/ 1273968 w 2288380"/>
                    <a:gd name="connsiteY33" fmla="*/ 469106 h 1582686"/>
                    <a:gd name="connsiteX34" fmla="*/ 1259681 w 2288380"/>
                    <a:gd name="connsiteY34" fmla="*/ 214314 h 1582686"/>
                    <a:gd name="connsiteX35" fmla="*/ 1028700 w 2288380"/>
                    <a:gd name="connsiteY35" fmla="*/ 309564 h 1582686"/>
                    <a:gd name="connsiteX36" fmla="*/ 797718 w 2288380"/>
                    <a:gd name="connsiteY36" fmla="*/ 340520 h 1582686"/>
                    <a:gd name="connsiteX37" fmla="*/ 931068 w 2288380"/>
                    <a:gd name="connsiteY37" fmla="*/ 123826 h 1582686"/>
                    <a:gd name="connsiteX38" fmla="*/ 902493 w 2288380"/>
                    <a:gd name="connsiteY38" fmla="*/ 0 h 1582686"/>
                    <a:gd name="connsiteX39" fmla="*/ 790574 w 2288380"/>
                    <a:gd name="connsiteY39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31218 w 2288380"/>
                    <a:gd name="connsiteY27" fmla="*/ 1319214 h 1582686"/>
                    <a:gd name="connsiteX28" fmla="*/ 2288380 w 2288380"/>
                    <a:gd name="connsiteY28" fmla="*/ 1283495 h 1582686"/>
                    <a:gd name="connsiteX29" fmla="*/ 2216942 w 2288380"/>
                    <a:gd name="connsiteY29" fmla="*/ 1009650 h 1582686"/>
                    <a:gd name="connsiteX30" fmla="*/ 2069305 w 2288380"/>
                    <a:gd name="connsiteY30" fmla="*/ 771526 h 1582686"/>
                    <a:gd name="connsiteX31" fmla="*/ 1516856 w 2288380"/>
                    <a:gd name="connsiteY31" fmla="*/ 604837 h 1582686"/>
                    <a:gd name="connsiteX32" fmla="*/ 1509712 w 2288380"/>
                    <a:gd name="connsiteY32" fmla="*/ 442913 h 1582686"/>
                    <a:gd name="connsiteX33" fmla="*/ 1681161 w 2288380"/>
                    <a:gd name="connsiteY33" fmla="*/ 219076 h 1582686"/>
                    <a:gd name="connsiteX34" fmla="*/ 1273968 w 2288380"/>
                    <a:gd name="connsiteY34" fmla="*/ 469106 h 1582686"/>
                    <a:gd name="connsiteX35" fmla="*/ 1259681 w 2288380"/>
                    <a:gd name="connsiteY35" fmla="*/ 214314 h 1582686"/>
                    <a:gd name="connsiteX36" fmla="*/ 1028700 w 2288380"/>
                    <a:gd name="connsiteY36" fmla="*/ 309564 h 1582686"/>
                    <a:gd name="connsiteX37" fmla="*/ 797718 w 2288380"/>
                    <a:gd name="connsiteY37" fmla="*/ 340520 h 1582686"/>
                    <a:gd name="connsiteX38" fmla="*/ 931068 w 2288380"/>
                    <a:gd name="connsiteY38" fmla="*/ 123826 h 1582686"/>
                    <a:gd name="connsiteX39" fmla="*/ 902493 w 2288380"/>
                    <a:gd name="connsiteY39" fmla="*/ 0 h 1582686"/>
                    <a:gd name="connsiteX40" fmla="*/ 790574 w 2288380"/>
                    <a:gd name="connsiteY40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16942 w 2288380"/>
                    <a:gd name="connsiteY30" fmla="*/ 1009650 h 1582686"/>
                    <a:gd name="connsiteX31" fmla="*/ 2069305 w 2288380"/>
                    <a:gd name="connsiteY31" fmla="*/ 771526 h 1582686"/>
                    <a:gd name="connsiteX32" fmla="*/ 1516856 w 2288380"/>
                    <a:gd name="connsiteY32" fmla="*/ 604837 h 1582686"/>
                    <a:gd name="connsiteX33" fmla="*/ 1509712 w 2288380"/>
                    <a:gd name="connsiteY33" fmla="*/ 442913 h 1582686"/>
                    <a:gd name="connsiteX34" fmla="*/ 1681161 w 2288380"/>
                    <a:gd name="connsiteY34" fmla="*/ 219076 h 1582686"/>
                    <a:gd name="connsiteX35" fmla="*/ 1273968 w 2288380"/>
                    <a:gd name="connsiteY35" fmla="*/ 469106 h 1582686"/>
                    <a:gd name="connsiteX36" fmla="*/ 1259681 w 2288380"/>
                    <a:gd name="connsiteY36" fmla="*/ 214314 h 1582686"/>
                    <a:gd name="connsiteX37" fmla="*/ 1028700 w 2288380"/>
                    <a:gd name="connsiteY37" fmla="*/ 309564 h 1582686"/>
                    <a:gd name="connsiteX38" fmla="*/ 797718 w 2288380"/>
                    <a:gd name="connsiteY38" fmla="*/ 340520 h 1582686"/>
                    <a:gd name="connsiteX39" fmla="*/ 931068 w 2288380"/>
                    <a:gd name="connsiteY39" fmla="*/ 123826 h 1582686"/>
                    <a:gd name="connsiteX40" fmla="*/ 902493 w 2288380"/>
                    <a:gd name="connsiteY40" fmla="*/ 0 h 1582686"/>
                    <a:gd name="connsiteX41" fmla="*/ 790574 w 2288380"/>
                    <a:gd name="connsiteY41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069305 w 2288380"/>
                    <a:gd name="connsiteY32" fmla="*/ 771526 h 1582686"/>
                    <a:gd name="connsiteX33" fmla="*/ 1516856 w 2288380"/>
                    <a:gd name="connsiteY33" fmla="*/ 604837 h 1582686"/>
                    <a:gd name="connsiteX34" fmla="*/ 1509712 w 2288380"/>
                    <a:gd name="connsiteY34" fmla="*/ 442913 h 1582686"/>
                    <a:gd name="connsiteX35" fmla="*/ 1681161 w 2288380"/>
                    <a:gd name="connsiteY35" fmla="*/ 219076 h 1582686"/>
                    <a:gd name="connsiteX36" fmla="*/ 1273968 w 2288380"/>
                    <a:gd name="connsiteY36" fmla="*/ 469106 h 1582686"/>
                    <a:gd name="connsiteX37" fmla="*/ 1259681 w 2288380"/>
                    <a:gd name="connsiteY37" fmla="*/ 214314 h 1582686"/>
                    <a:gd name="connsiteX38" fmla="*/ 1028700 w 2288380"/>
                    <a:gd name="connsiteY38" fmla="*/ 309564 h 1582686"/>
                    <a:gd name="connsiteX39" fmla="*/ 797718 w 2288380"/>
                    <a:gd name="connsiteY39" fmla="*/ 340520 h 1582686"/>
                    <a:gd name="connsiteX40" fmla="*/ 931068 w 2288380"/>
                    <a:gd name="connsiteY40" fmla="*/ 123826 h 1582686"/>
                    <a:gd name="connsiteX41" fmla="*/ 902493 w 2288380"/>
                    <a:gd name="connsiteY41" fmla="*/ 0 h 1582686"/>
                    <a:gd name="connsiteX42" fmla="*/ 790574 w 2288380"/>
                    <a:gd name="connsiteY42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069305 w 2288380"/>
                    <a:gd name="connsiteY32" fmla="*/ 771526 h 1582686"/>
                    <a:gd name="connsiteX33" fmla="*/ 1669255 w 2288380"/>
                    <a:gd name="connsiteY33" fmla="*/ 673894 h 1582686"/>
                    <a:gd name="connsiteX34" fmla="*/ 1516856 w 2288380"/>
                    <a:gd name="connsiteY34" fmla="*/ 604837 h 1582686"/>
                    <a:gd name="connsiteX35" fmla="*/ 1509712 w 2288380"/>
                    <a:gd name="connsiteY35" fmla="*/ 442913 h 1582686"/>
                    <a:gd name="connsiteX36" fmla="*/ 1681161 w 2288380"/>
                    <a:gd name="connsiteY36" fmla="*/ 219076 h 1582686"/>
                    <a:gd name="connsiteX37" fmla="*/ 1273968 w 2288380"/>
                    <a:gd name="connsiteY37" fmla="*/ 469106 h 1582686"/>
                    <a:gd name="connsiteX38" fmla="*/ 1259681 w 2288380"/>
                    <a:gd name="connsiteY38" fmla="*/ 214314 h 1582686"/>
                    <a:gd name="connsiteX39" fmla="*/ 1028700 w 2288380"/>
                    <a:gd name="connsiteY39" fmla="*/ 309564 h 1582686"/>
                    <a:gd name="connsiteX40" fmla="*/ 797718 w 2288380"/>
                    <a:gd name="connsiteY40" fmla="*/ 340520 h 1582686"/>
                    <a:gd name="connsiteX41" fmla="*/ 931068 w 2288380"/>
                    <a:gd name="connsiteY41" fmla="*/ 123826 h 1582686"/>
                    <a:gd name="connsiteX42" fmla="*/ 902493 w 2288380"/>
                    <a:gd name="connsiteY42" fmla="*/ 0 h 1582686"/>
                    <a:gd name="connsiteX43" fmla="*/ 790574 w 2288380"/>
                    <a:gd name="connsiteY43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81161 w 2288380"/>
                    <a:gd name="connsiteY37" fmla="*/ 219076 h 1582686"/>
                    <a:gd name="connsiteX38" fmla="*/ 1273968 w 2288380"/>
                    <a:gd name="connsiteY38" fmla="*/ 469106 h 1582686"/>
                    <a:gd name="connsiteX39" fmla="*/ 1259681 w 2288380"/>
                    <a:gd name="connsiteY39" fmla="*/ 214314 h 1582686"/>
                    <a:gd name="connsiteX40" fmla="*/ 1028700 w 2288380"/>
                    <a:gd name="connsiteY40" fmla="*/ 309564 h 1582686"/>
                    <a:gd name="connsiteX41" fmla="*/ 797718 w 2288380"/>
                    <a:gd name="connsiteY41" fmla="*/ 340520 h 1582686"/>
                    <a:gd name="connsiteX42" fmla="*/ 931068 w 2288380"/>
                    <a:gd name="connsiteY42" fmla="*/ 123826 h 1582686"/>
                    <a:gd name="connsiteX43" fmla="*/ 902493 w 2288380"/>
                    <a:gd name="connsiteY43" fmla="*/ 0 h 1582686"/>
                    <a:gd name="connsiteX44" fmla="*/ 790574 w 2288380"/>
                    <a:gd name="connsiteY44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273968 w 2288380"/>
                    <a:gd name="connsiteY39" fmla="*/ 469106 h 1582686"/>
                    <a:gd name="connsiteX40" fmla="*/ 1259681 w 2288380"/>
                    <a:gd name="connsiteY40" fmla="*/ 214314 h 1582686"/>
                    <a:gd name="connsiteX41" fmla="*/ 1028700 w 2288380"/>
                    <a:gd name="connsiteY41" fmla="*/ 309564 h 1582686"/>
                    <a:gd name="connsiteX42" fmla="*/ 797718 w 2288380"/>
                    <a:gd name="connsiteY42" fmla="*/ 340520 h 1582686"/>
                    <a:gd name="connsiteX43" fmla="*/ 931068 w 2288380"/>
                    <a:gd name="connsiteY43" fmla="*/ 123826 h 1582686"/>
                    <a:gd name="connsiteX44" fmla="*/ 902493 w 2288380"/>
                    <a:gd name="connsiteY44" fmla="*/ 0 h 1582686"/>
                    <a:gd name="connsiteX45" fmla="*/ 790574 w 2288380"/>
                    <a:gd name="connsiteY45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393030 w 2288380"/>
                    <a:gd name="connsiteY39" fmla="*/ 438150 h 1582686"/>
                    <a:gd name="connsiteX40" fmla="*/ 1273968 w 2288380"/>
                    <a:gd name="connsiteY40" fmla="*/ 469106 h 1582686"/>
                    <a:gd name="connsiteX41" fmla="*/ 1259681 w 2288380"/>
                    <a:gd name="connsiteY41" fmla="*/ 214314 h 1582686"/>
                    <a:gd name="connsiteX42" fmla="*/ 1028700 w 2288380"/>
                    <a:gd name="connsiteY42" fmla="*/ 309564 h 1582686"/>
                    <a:gd name="connsiteX43" fmla="*/ 797718 w 2288380"/>
                    <a:gd name="connsiteY43" fmla="*/ 340520 h 1582686"/>
                    <a:gd name="connsiteX44" fmla="*/ 931068 w 2288380"/>
                    <a:gd name="connsiteY44" fmla="*/ 123826 h 1582686"/>
                    <a:gd name="connsiteX45" fmla="*/ 902493 w 2288380"/>
                    <a:gd name="connsiteY45" fmla="*/ 0 h 1582686"/>
                    <a:gd name="connsiteX46" fmla="*/ 790574 w 2288380"/>
                    <a:gd name="connsiteY46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393030 w 2288380"/>
                    <a:gd name="connsiteY39" fmla="*/ 438150 h 1582686"/>
                    <a:gd name="connsiteX40" fmla="*/ 1321593 w 2288380"/>
                    <a:gd name="connsiteY40" fmla="*/ 473869 h 1582686"/>
                    <a:gd name="connsiteX41" fmla="*/ 1273968 w 2288380"/>
                    <a:gd name="connsiteY41" fmla="*/ 469106 h 1582686"/>
                    <a:gd name="connsiteX42" fmla="*/ 1259681 w 2288380"/>
                    <a:gd name="connsiteY42" fmla="*/ 214314 h 1582686"/>
                    <a:gd name="connsiteX43" fmla="*/ 1028700 w 2288380"/>
                    <a:gd name="connsiteY43" fmla="*/ 309564 h 1582686"/>
                    <a:gd name="connsiteX44" fmla="*/ 797718 w 2288380"/>
                    <a:gd name="connsiteY44" fmla="*/ 340520 h 1582686"/>
                    <a:gd name="connsiteX45" fmla="*/ 931068 w 2288380"/>
                    <a:gd name="connsiteY45" fmla="*/ 123826 h 1582686"/>
                    <a:gd name="connsiteX46" fmla="*/ 902493 w 2288380"/>
                    <a:gd name="connsiteY46" fmla="*/ 0 h 1582686"/>
                    <a:gd name="connsiteX47" fmla="*/ 790574 w 2288380"/>
                    <a:gd name="connsiteY47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512093 w 2288380"/>
                    <a:gd name="connsiteY39" fmla="*/ 323850 h 1582686"/>
                    <a:gd name="connsiteX40" fmla="*/ 1393030 w 2288380"/>
                    <a:gd name="connsiteY40" fmla="*/ 438150 h 1582686"/>
                    <a:gd name="connsiteX41" fmla="*/ 1321593 w 2288380"/>
                    <a:gd name="connsiteY41" fmla="*/ 473869 h 1582686"/>
                    <a:gd name="connsiteX42" fmla="*/ 1273968 w 2288380"/>
                    <a:gd name="connsiteY42" fmla="*/ 469106 h 1582686"/>
                    <a:gd name="connsiteX43" fmla="*/ 1259681 w 2288380"/>
                    <a:gd name="connsiteY43" fmla="*/ 214314 h 1582686"/>
                    <a:gd name="connsiteX44" fmla="*/ 1028700 w 2288380"/>
                    <a:gd name="connsiteY44" fmla="*/ 309564 h 1582686"/>
                    <a:gd name="connsiteX45" fmla="*/ 797718 w 2288380"/>
                    <a:gd name="connsiteY45" fmla="*/ 340520 h 1582686"/>
                    <a:gd name="connsiteX46" fmla="*/ 931068 w 2288380"/>
                    <a:gd name="connsiteY46" fmla="*/ 123826 h 1582686"/>
                    <a:gd name="connsiteX47" fmla="*/ 902493 w 2288380"/>
                    <a:gd name="connsiteY47" fmla="*/ 0 h 1582686"/>
                    <a:gd name="connsiteX48" fmla="*/ 790574 w 2288380"/>
                    <a:gd name="connsiteY48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512093 w 2288380"/>
                    <a:gd name="connsiteY39" fmla="*/ 323850 h 1582686"/>
                    <a:gd name="connsiteX40" fmla="*/ 1393030 w 2288380"/>
                    <a:gd name="connsiteY40" fmla="*/ 438150 h 1582686"/>
                    <a:gd name="connsiteX41" fmla="*/ 1321593 w 2288380"/>
                    <a:gd name="connsiteY41" fmla="*/ 473869 h 1582686"/>
                    <a:gd name="connsiteX42" fmla="*/ 1273968 w 2288380"/>
                    <a:gd name="connsiteY42" fmla="*/ 469106 h 1582686"/>
                    <a:gd name="connsiteX43" fmla="*/ 1331118 w 2288380"/>
                    <a:gd name="connsiteY43" fmla="*/ 338137 h 1582686"/>
                    <a:gd name="connsiteX44" fmla="*/ 1259681 w 2288380"/>
                    <a:gd name="connsiteY44" fmla="*/ 214314 h 1582686"/>
                    <a:gd name="connsiteX45" fmla="*/ 1028700 w 2288380"/>
                    <a:gd name="connsiteY45" fmla="*/ 309564 h 1582686"/>
                    <a:gd name="connsiteX46" fmla="*/ 797718 w 2288380"/>
                    <a:gd name="connsiteY46" fmla="*/ 340520 h 1582686"/>
                    <a:gd name="connsiteX47" fmla="*/ 931068 w 2288380"/>
                    <a:gd name="connsiteY47" fmla="*/ 123826 h 1582686"/>
                    <a:gd name="connsiteX48" fmla="*/ 902493 w 2288380"/>
                    <a:gd name="connsiteY48" fmla="*/ 0 h 1582686"/>
                    <a:gd name="connsiteX49" fmla="*/ 790574 w 2288380"/>
                    <a:gd name="connsiteY49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512093 w 2288380"/>
                    <a:gd name="connsiteY39" fmla="*/ 323850 h 1582686"/>
                    <a:gd name="connsiteX40" fmla="*/ 1393030 w 2288380"/>
                    <a:gd name="connsiteY40" fmla="*/ 438150 h 1582686"/>
                    <a:gd name="connsiteX41" fmla="*/ 1321593 w 2288380"/>
                    <a:gd name="connsiteY41" fmla="*/ 473869 h 1582686"/>
                    <a:gd name="connsiteX42" fmla="*/ 1273968 w 2288380"/>
                    <a:gd name="connsiteY42" fmla="*/ 469106 h 1582686"/>
                    <a:gd name="connsiteX43" fmla="*/ 1331118 w 2288380"/>
                    <a:gd name="connsiteY43" fmla="*/ 338137 h 1582686"/>
                    <a:gd name="connsiteX44" fmla="*/ 1259681 w 2288380"/>
                    <a:gd name="connsiteY44" fmla="*/ 214314 h 1582686"/>
                    <a:gd name="connsiteX45" fmla="*/ 1204911 w 2288380"/>
                    <a:gd name="connsiteY45" fmla="*/ 338137 h 1582686"/>
                    <a:gd name="connsiteX46" fmla="*/ 1028700 w 2288380"/>
                    <a:gd name="connsiteY46" fmla="*/ 309564 h 1582686"/>
                    <a:gd name="connsiteX47" fmla="*/ 797718 w 2288380"/>
                    <a:gd name="connsiteY47" fmla="*/ 340520 h 1582686"/>
                    <a:gd name="connsiteX48" fmla="*/ 931068 w 2288380"/>
                    <a:gd name="connsiteY48" fmla="*/ 123826 h 1582686"/>
                    <a:gd name="connsiteX49" fmla="*/ 902493 w 2288380"/>
                    <a:gd name="connsiteY49" fmla="*/ 0 h 1582686"/>
                    <a:gd name="connsiteX50" fmla="*/ 790574 w 2288380"/>
                    <a:gd name="connsiteY50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512093 w 2288380"/>
                    <a:gd name="connsiteY39" fmla="*/ 323850 h 1582686"/>
                    <a:gd name="connsiteX40" fmla="*/ 1393030 w 2288380"/>
                    <a:gd name="connsiteY40" fmla="*/ 438150 h 1582686"/>
                    <a:gd name="connsiteX41" fmla="*/ 1321593 w 2288380"/>
                    <a:gd name="connsiteY41" fmla="*/ 473869 h 1582686"/>
                    <a:gd name="connsiteX42" fmla="*/ 1273968 w 2288380"/>
                    <a:gd name="connsiteY42" fmla="*/ 469106 h 1582686"/>
                    <a:gd name="connsiteX43" fmla="*/ 1331118 w 2288380"/>
                    <a:gd name="connsiteY43" fmla="*/ 338137 h 1582686"/>
                    <a:gd name="connsiteX44" fmla="*/ 1259681 w 2288380"/>
                    <a:gd name="connsiteY44" fmla="*/ 214314 h 1582686"/>
                    <a:gd name="connsiteX45" fmla="*/ 1204911 w 2288380"/>
                    <a:gd name="connsiteY45" fmla="*/ 338137 h 1582686"/>
                    <a:gd name="connsiteX46" fmla="*/ 1028700 w 2288380"/>
                    <a:gd name="connsiteY46" fmla="*/ 309564 h 1582686"/>
                    <a:gd name="connsiteX47" fmla="*/ 835818 w 2288380"/>
                    <a:gd name="connsiteY47" fmla="*/ 378619 h 1582686"/>
                    <a:gd name="connsiteX48" fmla="*/ 797718 w 2288380"/>
                    <a:gd name="connsiteY48" fmla="*/ 340520 h 1582686"/>
                    <a:gd name="connsiteX49" fmla="*/ 931068 w 2288380"/>
                    <a:gd name="connsiteY49" fmla="*/ 123826 h 1582686"/>
                    <a:gd name="connsiteX50" fmla="*/ 902493 w 2288380"/>
                    <a:gd name="connsiteY50" fmla="*/ 0 h 1582686"/>
                    <a:gd name="connsiteX51" fmla="*/ 790574 w 2288380"/>
                    <a:gd name="connsiteY51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512093 w 2288380"/>
                    <a:gd name="connsiteY39" fmla="*/ 323850 h 1582686"/>
                    <a:gd name="connsiteX40" fmla="*/ 1393030 w 2288380"/>
                    <a:gd name="connsiteY40" fmla="*/ 438150 h 1582686"/>
                    <a:gd name="connsiteX41" fmla="*/ 1321593 w 2288380"/>
                    <a:gd name="connsiteY41" fmla="*/ 473869 h 1582686"/>
                    <a:gd name="connsiteX42" fmla="*/ 1273968 w 2288380"/>
                    <a:gd name="connsiteY42" fmla="*/ 469106 h 1582686"/>
                    <a:gd name="connsiteX43" fmla="*/ 1331118 w 2288380"/>
                    <a:gd name="connsiteY43" fmla="*/ 338137 h 1582686"/>
                    <a:gd name="connsiteX44" fmla="*/ 1259681 w 2288380"/>
                    <a:gd name="connsiteY44" fmla="*/ 214314 h 1582686"/>
                    <a:gd name="connsiteX45" fmla="*/ 1204911 w 2288380"/>
                    <a:gd name="connsiteY45" fmla="*/ 338137 h 1582686"/>
                    <a:gd name="connsiteX46" fmla="*/ 1028700 w 2288380"/>
                    <a:gd name="connsiteY46" fmla="*/ 309564 h 1582686"/>
                    <a:gd name="connsiteX47" fmla="*/ 947736 w 2288380"/>
                    <a:gd name="connsiteY47" fmla="*/ 381000 h 1582686"/>
                    <a:gd name="connsiteX48" fmla="*/ 835818 w 2288380"/>
                    <a:gd name="connsiteY48" fmla="*/ 378619 h 1582686"/>
                    <a:gd name="connsiteX49" fmla="*/ 797718 w 2288380"/>
                    <a:gd name="connsiteY49" fmla="*/ 340520 h 1582686"/>
                    <a:gd name="connsiteX50" fmla="*/ 931068 w 2288380"/>
                    <a:gd name="connsiteY50" fmla="*/ 123826 h 1582686"/>
                    <a:gd name="connsiteX51" fmla="*/ 902493 w 2288380"/>
                    <a:gd name="connsiteY51" fmla="*/ 0 h 1582686"/>
                    <a:gd name="connsiteX52" fmla="*/ 790574 w 2288380"/>
                    <a:gd name="connsiteY52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512093 w 2288380"/>
                    <a:gd name="connsiteY39" fmla="*/ 323850 h 1582686"/>
                    <a:gd name="connsiteX40" fmla="*/ 1393030 w 2288380"/>
                    <a:gd name="connsiteY40" fmla="*/ 438150 h 1582686"/>
                    <a:gd name="connsiteX41" fmla="*/ 1321593 w 2288380"/>
                    <a:gd name="connsiteY41" fmla="*/ 473869 h 1582686"/>
                    <a:gd name="connsiteX42" fmla="*/ 1273968 w 2288380"/>
                    <a:gd name="connsiteY42" fmla="*/ 469106 h 1582686"/>
                    <a:gd name="connsiteX43" fmla="*/ 1331118 w 2288380"/>
                    <a:gd name="connsiteY43" fmla="*/ 338137 h 1582686"/>
                    <a:gd name="connsiteX44" fmla="*/ 1259681 w 2288380"/>
                    <a:gd name="connsiteY44" fmla="*/ 214314 h 1582686"/>
                    <a:gd name="connsiteX45" fmla="*/ 1204911 w 2288380"/>
                    <a:gd name="connsiteY45" fmla="*/ 338137 h 1582686"/>
                    <a:gd name="connsiteX46" fmla="*/ 1071561 w 2288380"/>
                    <a:gd name="connsiteY46" fmla="*/ 347662 h 1582686"/>
                    <a:gd name="connsiteX47" fmla="*/ 1028700 w 2288380"/>
                    <a:gd name="connsiteY47" fmla="*/ 309564 h 1582686"/>
                    <a:gd name="connsiteX48" fmla="*/ 947736 w 2288380"/>
                    <a:gd name="connsiteY48" fmla="*/ 381000 h 1582686"/>
                    <a:gd name="connsiteX49" fmla="*/ 835818 w 2288380"/>
                    <a:gd name="connsiteY49" fmla="*/ 378619 h 1582686"/>
                    <a:gd name="connsiteX50" fmla="*/ 797718 w 2288380"/>
                    <a:gd name="connsiteY50" fmla="*/ 340520 h 1582686"/>
                    <a:gd name="connsiteX51" fmla="*/ 931068 w 2288380"/>
                    <a:gd name="connsiteY51" fmla="*/ 123826 h 1582686"/>
                    <a:gd name="connsiteX52" fmla="*/ 902493 w 2288380"/>
                    <a:gd name="connsiteY52" fmla="*/ 0 h 1582686"/>
                    <a:gd name="connsiteX53" fmla="*/ 790574 w 2288380"/>
                    <a:gd name="connsiteY53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512093 w 2288380"/>
                    <a:gd name="connsiteY39" fmla="*/ 323850 h 1582686"/>
                    <a:gd name="connsiteX40" fmla="*/ 1393030 w 2288380"/>
                    <a:gd name="connsiteY40" fmla="*/ 438150 h 1582686"/>
                    <a:gd name="connsiteX41" fmla="*/ 1321593 w 2288380"/>
                    <a:gd name="connsiteY41" fmla="*/ 473869 h 1582686"/>
                    <a:gd name="connsiteX42" fmla="*/ 1273968 w 2288380"/>
                    <a:gd name="connsiteY42" fmla="*/ 469106 h 1582686"/>
                    <a:gd name="connsiteX43" fmla="*/ 1331118 w 2288380"/>
                    <a:gd name="connsiteY43" fmla="*/ 338137 h 1582686"/>
                    <a:gd name="connsiteX44" fmla="*/ 1259681 w 2288380"/>
                    <a:gd name="connsiteY44" fmla="*/ 214314 h 1582686"/>
                    <a:gd name="connsiteX45" fmla="*/ 1204911 w 2288380"/>
                    <a:gd name="connsiteY45" fmla="*/ 338137 h 1582686"/>
                    <a:gd name="connsiteX46" fmla="*/ 1140618 w 2288380"/>
                    <a:gd name="connsiteY46" fmla="*/ 323850 h 1582686"/>
                    <a:gd name="connsiteX47" fmla="*/ 1071561 w 2288380"/>
                    <a:gd name="connsiteY47" fmla="*/ 347662 h 1582686"/>
                    <a:gd name="connsiteX48" fmla="*/ 1028700 w 2288380"/>
                    <a:gd name="connsiteY48" fmla="*/ 309564 h 1582686"/>
                    <a:gd name="connsiteX49" fmla="*/ 947736 w 2288380"/>
                    <a:gd name="connsiteY49" fmla="*/ 381000 h 1582686"/>
                    <a:gd name="connsiteX50" fmla="*/ 835818 w 2288380"/>
                    <a:gd name="connsiteY50" fmla="*/ 378619 h 1582686"/>
                    <a:gd name="connsiteX51" fmla="*/ 797718 w 2288380"/>
                    <a:gd name="connsiteY51" fmla="*/ 340520 h 1582686"/>
                    <a:gd name="connsiteX52" fmla="*/ 931068 w 2288380"/>
                    <a:gd name="connsiteY52" fmla="*/ 123826 h 1582686"/>
                    <a:gd name="connsiteX53" fmla="*/ 902493 w 2288380"/>
                    <a:gd name="connsiteY53" fmla="*/ 0 h 1582686"/>
                    <a:gd name="connsiteX54" fmla="*/ 790574 w 2288380"/>
                    <a:gd name="connsiteY54" fmla="*/ 78582 h 1582686"/>
                    <a:gd name="connsiteX0" fmla="*/ 790574 w 2288380"/>
                    <a:gd name="connsiteY0" fmla="*/ 78582 h 1582686"/>
                    <a:gd name="connsiteX1" fmla="*/ 278605 w 2288380"/>
                    <a:gd name="connsiteY1" fmla="*/ 340520 h 1582686"/>
                    <a:gd name="connsiteX2" fmla="*/ 345280 w 2288380"/>
                    <a:gd name="connsiteY2" fmla="*/ 511970 h 1582686"/>
                    <a:gd name="connsiteX3" fmla="*/ 169068 w 2288380"/>
                    <a:gd name="connsiteY3" fmla="*/ 721520 h 1582686"/>
                    <a:gd name="connsiteX4" fmla="*/ 0 w 2288380"/>
                    <a:gd name="connsiteY4" fmla="*/ 831057 h 1582686"/>
                    <a:gd name="connsiteX5" fmla="*/ 26193 w 2288380"/>
                    <a:gd name="connsiteY5" fmla="*/ 1140619 h 1582686"/>
                    <a:gd name="connsiteX6" fmla="*/ 66674 w 2288380"/>
                    <a:gd name="connsiteY6" fmla="*/ 1338262 h 1582686"/>
                    <a:gd name="connsiteX7" fmla="*/ 123824 w 2288380"/>
                    <a:gd name="connsiteY7" fmla="*/ 1407319 h 1582686"/>
                    <a:gd name="connsiteX8" fmla="*/ 128588 w 2288380"/>
                    <a:gd name="connsiteY8" fmla="*/ 1485901 h 1582686"/>
                    <a:gd name="connsiteX9" fmla="*/ 566736 w 2288380"/>
                    <a:gd name="connsiteY9" fmla="*/ 1464469 h 1582686"/>
                    <a:gd name="connsiteX10" fmla="*/ 700086 w 2288380"/>
                    <a:gd name="connsiteY10" fmla="*/ 1497806 h 1582686"/>
                    <a:gd name="connsiteX11" fmla="*/ 792955 w 2288380"/>
                    <a:gd name="connsiteY11" fmla="*/ 1421606 h 1582686"/>
                    <a:gd name="connsiteX12" fmla="*/ 862011 w 2288380"/>
                    <a:gd name="connsiteY12" fmla="*/ 1373981 h 1582686"/>
                    <a:gd name="connsiteX13" fmla="*/ 947736 w 2288380"/>
                    <a:gd name="connsiteY13" fmla="*/ 1393031 h 1582686"/>
                    <a:gd name="connsiteX14" fmla="*/ 1076324 w 2288380"/>
                    <a:gd name="connsiteY14" fmla="*/ 1488281 h 1582686"/>
                    <a:gd name="connsiteX15" fmla="*/ 1083468 w 2288380"/>
                    <a:gd name="connsiteY15" fmla="*/ 1564482 h 1582686"/>
                    <a:gd name="connsiteX16" fmla="*/ 1254918 w 2288380"/>
                    <a:gd name="connsiteY16" fmla="*/ 1550194 h 1582686"/>
                    <a:gd name="connsiteX17" fmla="*/ 1328736 w 2288380"/>
                    <a:gd name="connsiteY17" fmla="*/ 1581150 h 1582686"/>
                    <a:gd name="connsiteX18" fmla="*/ 1419224 w 2288380"/>
                    <a:gd name="connsiteY18" fmla="*/ 1554956 h 1582686"/>
                    <a:gd name="connsiteX19" fmla="*/ 1471611 w 2288380"/>
                    <a:gd name="connsiteY19" fmla="*/ 1485900 h 1582686"/>
                    <a:gd name="connsiteX20" fmla="*/ 1597818 w 2288380"/>
                    <a:gd name="connsiteY20" fmla="*/ 1495425 h 1582686"/>
                    <a:gd name="connsiteX21" fmla="*/ 1616868 w 2288380"/>
                    <a:gd name="connsiteY21" fmla="*/ 1473994 h 1582686"/>
                    <a:gd name="connsiteX22" fmla="*/ 1681161 w 2288380"/>
                    <a:gd name="connsiteY22" fmla="*/ 1554956 h 1582686"/>
                    <a:gd name="connsiteX23" fmla="*/ 1812130 w 2288380"/>
                    <a:gd name="connsiteY23" fmla="*/ 1547812 h 1582686"/>
                    <a:gd name="connsiteX24" fmla="*/ 1876424 w 2288380"/>
                    <a:gd name="connsiteY24" fmla="*/ 1571625 h 1582686"/>
                    <a:gd name="connsiteX25" fmla="*/ 1943099 w 2288380"/>
                    <a:gd name="connsiteY25" fmla="*/ 1528762 h 1582686"/>
                    <a:gd name="connsiteX26" fmla="*/ 2114549 w 2288380"/>
                    <a:gd name="connsiteY26" fmla="*/ 1457325 h 1582686"/>
                    <a:gd name="connsiteX27" fmla="*/ 2107405 w 2288380"/>
                    <a:gd name="connsiteY27" fmla="*/ 1385887 h 1582686"/>
                    <a:gd name="connsiteX28" fmla="*/ 2131218 w 2288380"/>
                    <a:gd name="connsiteY28" fmla="*/ 1319214 h 1582686"/>
                    <a:gd name="connsiteX29" fmla="*/ 2288380 w 2288380"/>
                    <a:gd name="connsiteY29" fmla="*/ 1283495 h 1582686"/>
                    <a:gd name="connsiteX30" fmla="*/ 2243136 w 2288380"/>
                    <a:gd name="connsiteY30" fmla="*/ 1171575 h 1582686"/>
                    <a:gd name="connsiteX31" fmla="*/ 2216942 w 2288380"/>
                    <a:gd name="connsiteY31" fmla="*/ 1009650 h 1582686"/>
                    <a:gd name="connsiteX32" fmla="*/ 2138361 w 2288380"/>
                    <a:gd name="connsiteY32" fmla="*/ 862012 h 1582686"/>
                    <a:gd name="connsiteX33" fmla="*/ 2069305 w 2288380"/>
                    <a:gd name="connsiteY33" fmla="*/ 771526 h 1582686"/>
                    <a:gd name="connsiteX34" fmla="*/ 1669255 w 2288380"/>
                    <a:gd name="connsiteY34" fmla="*/ 673894 h 1582686"/>
                    <a:gd name="connsiteX35" fmla="*/ 1516856 w 2288380"/>
                    <a:gd name="connsiteY35" fmla="*/ 604837 h 1582686"/>
                    <a:gd name="connsiteX36" fmla="*/ 1509712 w 2288380"/>
                    <a:gd name="connsiteY36" fmla="*/ 442913 h 1582686"/>
                    <a:gd name="connsiteX37" fmla="*/ 1616868 w 2288380"/>
                    <a:gd name="connsiteY37" fmla="*/ 361950 h 1582686"/>
                    <a:gd name="connsiteX38" fmla="*/ 1681161 w 2288380"/>
                    <a:gd name="connsiteY38" fmla="*/ 219076 h 1582686"/>
                    <a:gd name="connsiteX39" fmla="*/ 1512093 w 2288380"/>
                    <a:gd name="connsiteY39" fmla="*/ 323850 h 1582686"/>
                    <a:gd name="connsiteX40" fmla="*/ 1393030 w 2288380"/>
                    <a:gd name="connsiteY40" fmla="*/ 438150 h 1582686"/>
                    <a:gd name="connsiteX41" fmla="*/ 1321593 w 2288380"/>
                    <a:gd name="connsiteY41" fmla="*/ 473869 h 1582686"/>
                    <a:gd name="connsiteX42" fmla="*/ 1273968 w 2288380"/>
                    <a:gd name="connsiteY42" fmla="*/ 469106 h 1582686"/>
                    <a:gd name="connsiteX43" fmla="*/ 1331118 w 2288380"/>
                    <a:gd name="connsiteY43" fmla="*/ 338137 h 1582686"/>
                    <a:gd name="connsiteX44" fmla="*/ 1259681 w 2288380"/>
                    <a:gd name="connsiteY44" fmla="*/ 214314 h 1582686"/>
                    <a:gd name="connsiteX45" fmla="*/ 1204911 w 2288380"/>
                    <a:gd name="connsiteY45" fmla="*/ 338137 h 1582686"/>
                    <a:gd name="connsiteX46" fmla="*/ 1140618 w 2288380"/>
                    <a:gd name="connsiteY46" fmla="*/ 323850 h 1582686"/>
                    <a:gd name="connsiteX47" fmla="*/ 1071561 w 2288380"/>
                    <a:gd name="connsiteY47" fmla="*/ 347662 h 1582686"/>
                    <a:gd name="connsiteX48" fmla="*/ 1028700 w 2288380"/>
                    <a:gd name="connsiteY48" fmla="*/ 309564 h 1582686"/>
                    <a:gd name="connsiteX49" fmla="*/ 947736 w 2288380"/>
                    <a:gd name="connsiteY49" fmla="*/ 381000 h 1582686"/>
                    <a:gd name="connsiteX50" fmla="*/ 835818 w 2288380"/>
                    <a:gd name="connsiteY50" fmla="*/ 378619 h 1582686"/>
                    <a:gd name="connsiteX51" fmla="*/ 797718 w 2288380"/>
                    <a:gd name="connsiteY51" fmla="*/ 340520 h 1582686"/>
                    <a:gd name="connsiteX52" fmla="*/ 931068 w 2288380"/>
                    <a:gd name="connsiteY52" fmla="*/ 123826 h 1582686"/>
                    <a:gd name="connsiteX53" fmla="*/ 902493 w 2288380"/>
                    <a:gd name="connsiteY53" fmla="*/ 0 h 1582686"/>
                    <a:gd name="connsiteX54" fmla="*/ 838199 w 2288380"/>
                    <a:gd name="connsiteY54" fmla="*/ 66675 h 1582686"/>
                    <a:gd name="connsiteX55" fmla="*/ 790574 w 2288380"/>
                    <a:gd name="connsiteY55" fmla="*/ 78582 h 158268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</a:cxnLst>
                  <a:rect l="l" t="t" r="r" b="b"/>
                  <a:pathLst>
                    <a:path w="2288380" h="1582686">
                      <a:moveTo>
                        <a:pt x="790574" y="78582"/>
                      </a:moveTo>
                      <a:lnTo>
                        <a:pt x="278605" y="340520"/>
                      </a:lnTo>
                      <a:lnTo>
                        <a:pt x="345280" y="511970"/>
                      </a:lnTo>
                      <a:lnTo>
                        <a:pt x="169068" y="721520"/>
                      </a:lnTo>
                      <a:lnTo>
                        <a:pt x="0" y="831057"/>
                      </a:lnTo>
                      <a:cubicBezTo>
                        <a:pt x="19843" y="919163"/>
                        <a:pt x="6350" y="1052513"/>
                        <a:pt x="26193" y="1140619"/>
                      </a:cubicBezTo>
                      <a:cubicBezTo>
                        <a:pt x="42862" y="1190625"/>
                        <a:pt x="50005" y="1288256"/>
                        <a:pt x="66674" y="1338262"/>
                      </a:cubicBezTo>
                      <a:cubicBezTo>
                        <a:pt x="82549" y="1366043"/>
                        <a:pt x="107949" y="1379538"/>
                        <a:pt x="123824" y="1407319"/>
                      </a:cubicBezTo>
                      <a:lnTo>
                        <a:pt x="128588" y="1485901"/>
                      </a:lnTo>
                      <a:cubicBezTo>
                        <a:pt x="296069" y="1500982"/>
                        <a:pt x="399255" y="1449388"/>
                        <a:pt x="566736" y="1464469"/>
                      </a:cubicBezTo>
                      <a:cubicBezTo>
                        <a:pt x="641349" y="1477169"/>
                        <a:pt x="625473" y="1485106"/>
                        <a:pt x="700086" y="1497806"/>
                      </a:cubicBezTo>
                      <a:cubicBezTo>
                        <a:pt x="772317" y="1512094"/>
                        <a:pt x="746918" y="1454943"/>
                        <a:pt x="792955" y="1421606"/>
                      </a:cubicBezTo>
                      <a:cubicBezTo>
                        <a:pt x="821530" y="1405731"/>
                        <a:pt x="836214" y="1378743"/>
                        <a:pt x="862011" y="1373981"/>
                      </a:cubicBezTo>
                      <a:cubicBezTo>
                        <a:pt x="887808" y="1369219"/>
                        <a:pt x="918764" y="1371997"/>
                        <a:pt x="947736" y="1393031"/>
                      </a:cubicBezTo>
                      <a:cubicBezTo>
                        <a:pt x="977105" y="1428750"/>
                        <a:pt x="1046955" y="1452562"/>
                        <a:pt x="1076324" y="1488281"/>
                      </a:cubicBezTo>
                      <a:lnTo>
                        <a:pt x="1083468" y="1564482"/>
                      </a:lnTo>
                      <a:cubicBezTo>
                        <a:pt x="1152524" y="1547813"/>
                        <a:pt x="1185862" y="1566863"/>
                        <a:pt x="1254918" y="1550194"/>
                      </a:cubicBezTo>
                      <a:cubicBezTo>
                        <a:pt x="1298574" y="1539081"/>
                        <a:pt x="1285080" y="1592263"/>
                        <a:pt x="1328736" y="1581150"/>
                      </a:cubicBezTo>
                      <a:cubicBezTo>
                        <a:pt x="1352945" y="1575991"/>
                        <a:pt x="1285477" y="1598612"/>
                        <a:pt x="1419224" y="1554956"/>
                      </a:cubicBezTo>
                      <a:cubicBezTo>
                        <a:pt x="1454149" y="1544637"/>
                        <a:pt x="1436686" y="1496219"/>
                        <a:pt x="1471611" y="1485900"/>
                      </a:cubicBezTo>
                      <a:cubicBezTo>
                        <a:pt x="1523999" y="1473200"/>
                        <a:pt x="1545430" y="1508125"/>
                        <a:pt x="1597818" y="1495425"/>
                      </a:cubicBezTo>
                      <a:cubicBezTo>
                        <a:pt x="1624012" y="1488281"/>
                        <a:pt x="1590674" y="1481138"/>
                        <a:pt x="1616868" y="1473994"/>
                      </a:cubicBezTo>
                      <a:cubicBezTo>
                        <a:pt x="1642268" y="1466850"/>
                        <a:pt x="1655761" y="1562100"/>
                        <a:pt x="1681161" y="1554956"/>
                      </a:cubicBezTo>
                      <a:cubicBezTo>
                        <a:pt x="1739899" y="1524794"/>
                        <a:pt x="1753392" y="1577974"/>
                        <a:pt x="1812130" y="1547812"/>
                      </a:cubicBezTo>
                      <a:cubicBezTo>
                        <a:pt x="1847452" y="1541462"/>
                        <a:pt x="1826021" y="1586706"/>
                        <a:pt x="1876424" y="1571625"/>
                      </a:cubicBezTo>
                      <a:cubicBezTo>
                        <a:pt x="1900236" y="1570831"/>
                        <a:pt x="1903411" y="1547812"/>
                        <a:pt x="1943099" y="1528762"/>
                      </a:cubicBezTo>
                      <a:cubicBezTo>
                        <a:pt x="1982787" y="1509712"/>
                        <a:pt x="2085180" y="1481137"/>
                        <a:pt x="2114549" y="1457325"/>
                      </a:cubicBezTo>
                      <a:cubicBezTo>
                        <a:pt x="2116136" y="1433512"/>
                        <a:pt x="2105818" y="1409700"/>
                        <a:pt x="2107405" y="1385887"/>
                      </a:cubicBezTo>
                      <a:lnTo>
                        <a:pt x="2131218" y="1319214"/>
                      </a:lnTo>
                      <a:lnTo>
                        <a:pt x="2288380" y="1283495"/>
                      </a:lnTo>
                      <a:cubicBezTo>
                        <a:pt x="2276474" y="1238251"/>
                        <a:pt x="2255042" y="1216819"/>
                        <a:pt x="2243136" y="1171575"/>
                      </a:cubicBezTo>
                      <a:lnTo>
                        <a:pt x="2216942" y="1009650"/>
                      </a:lnTo>
                      <a:cubicBezTo>
                        <a:pt x="2192336" y="969169"/>
                        <a:pt x="2162967" y="902493"/>
                        <a:pt x="2138361" y="862012"/>
                      </a:cubicBezTo>
                      <a:lnTo>
                        <a:pt x="2069305" y="771526"/>
                      </a:lnTo>
                      <a:cubicBezTo>
                        <a:pt x="1938336" y="732632"/>
                        <a:pt x="1800224" y="712788"/>
                        <a:pt x="1669255" y="673894"/>
                      </a:cubicBezTo>
                      <a:lnTo>
                        <a:pt x="1516856" y="604837"/>
                      </a:lnTo>
                      <a:lnTo>
                        <a:pt x="1509712" y="442913"/>
                      </a:lnTo>
                      <a:cubicBezTo>
                        <a:pt x="1539874" y="404813"/>
                        <a:pt x="1586706" y="400050"/>
                        <a:pt x="1616868" y="361950"/>
                      </a:cubicBezTo>
                      <a:lnTo>
                        <a:pt x="1681161" y="219076"/>
                      </a:lnTo>
                      <a:cubicBezTo>
                        <a:pt x="1666874" y="214710"/>
                        <a:pt x="1560115" y="287338"/>
                        <a:pt x="1512093" y="323850"/>
                      </a:cubicBezTo>
                      <a:cubicBezTo>
                        <a:pt x="1464071" y="360362"/>
                        <a:pt x="1427955" y="415131"/>
                        <a:pt x="1393030" y="438150"/>
                      </a:cubicBezTo>
                      <a:cubicBezTo>
                        <a:pt x="1366836" y="444500"/>
                        <a:pt x="1347787" y="467519"/>
                        <a:pt x="1321593" y="473869"/>
                      </a:cubicBezTo>
                      <a:lnTo>
                        <a:pt x="1273968" y="469106"/>
                      </a:lnTo>
                      <a:cubicBezTo>
                        <a:pt x="1273174" y="429419"/>
                        <a:pt x="1331912" y="377824"/>
                        <a:pt x="1331118" y="338137"/>
                      </a:cubicBezTo>
                      <a:lnTo>
                        <a:pt x="1259681" y="214314"/>
                      </a:lnTo>
                      <a:cubicBezTo>
                        <a:pt x="1246981" y="219870"/>
                        <a:pt x="1217611" y="332581"/>
                        <a:pt x="1204911" y="338137"/>
                      </a:cubicBezTo>
                      <a:cubicBezTo>
                        <a:pt x="1187448" y="358774"/>
                        <a:pt x="1162843" y="322263"/>
                        <a:pt x="1140618" y="323850"/>
                      </a:cubicBezTo>
                      <a:cubicBezTo>
                        <a:pt x="1118393" y="325437"/>
                        <a:pt x="1092595" y="352424"/>
                        <a:pt x="1071561" y="347662"/>
                      </a:cubicBezTo>
                      <a:lnTo>
                        <a:pt x="1028700" y="309564"/>
                      </a:lnTo>
                      <a:cubicBezTo>
                        <a:pt x="980678" y="311548"/>
                        <a:pt x="979883" y="369491"/>
                        <a:pt x="947736" y="381000"/>
                      </a:cubicBezTo>
                      <a:cubicBezTo>
                        <a:pt x="915589" y="392509"/>
                        <a:pt x="855662" y="380206"/>
                        <a:pt x="835818" y="378619"/>
                      </a:cubicBezTo>
                      <a:lnTo>
                        <a:pt x="797718" y="340520"/>
                      </a:lnTo>
                      <a:lnTo>
                        <a:pt x="931068" y="123826"/>
                      </a:lnTo>
                      <a:lnTo>
                        <a:pt x="902493" y="0"/>
                      </a:lnTo>
                      <a:cubicBezTo>
                        <a:pt x="873918" y="18256"/>
                        <a:pt x="866774" y="48419"/>
                        <a:pt x="838199" y="66675"/>
                      </a:cubicBezTo>
                      <a:lnTo>
                        <a:pt x="790574" y="78582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6" name="Freeform 95"/>
                <p:cNvSpPr/>
                <p:nvPr/>
              </p:nvSpPr>
              <p:spPr>
                <a:xfrm>
                  <a:off x="3784600" y="4875212"/>
                  <a:ext cx="1287387" cy="1160464"/>
                </a:xfrm>
                <a:custGeom>
                  <a:avLst/>
                  <a:gdLst>
                    <a:gd name="connsiteX0" fmla="*/ 758825 w 1377950"/>
                    <a:gd name="connsiteY0" fmla="*/ 0 h 1273175"/>
                    <a:gd name="connsiteX1" fmla="*/ 244475 w 1377950"/>
                    <a:gd name="connsiteY1" fmla="*/ 92075 h 1273175"/>
                    <a:gd name="connsiteX2" fmla="*/ 0 w 1377950"/>
                    <a:gd name="connsiteY2" fmla="*/ 158750 h 1273175"/>
                    <a:gd name="connsiteX3" fmla="*/ 12700 w 1377950"/>
                    <a:gd name="connsiteY3" fmla="*/ 336550 h 1273175"/>
                    <a:gd name="connsiteX4" fmla="*/ 130175 w 1377950"/>
                    <a:gd name="connsiteY4" fmla="*/ 574675 h 1273175"/>
                    <a:gd name="connsiteX5" fmla="*/ 333375 w 1377950"/>
                    <a:gd name="connsiteY5" fmla="*/ 1019175 h 1273175"/>
                    <a:gd name="connsiteX6" fmla="*/ 441325 w 1377950"/>
                    <a:gd name="connsiteY6" fmla="*/ 1254125 h 1273175"/>
                    <a:gd name="connsiteX7" fmla="*/ 695325 w 1377950"/>
                    <a:gd name="connsiteY7" fmla="*/ 1273175 h 1273175"/>
                    <a:gd name="connsiteX8" fmla="*/ 1098550 w 1377950"/>
                    <a:gd name="connsiteY8" fmla="*/ 1041400 h 1273175"/>
                    <a:gd name="connsiteX9" fmla="*/ 1092200 w 1377950"/>
                    <a:gd name="connsiteY9" fmla="*/ 777875 h 1273175"/>
                    <a:gd name="connsiteX10" fmla="*/ 1314450 w 1377950"/>
                    <a:gd name="connsiteY10" fmla="*/ 546100 h 1273175"/>
                    <a:gd name="connsiteX11" fmla="*/ 1377950 w 1377950"/>
                    <a:gd name="connsiteY11" fmla="*/ 368300 h 1273175"/>
                    <a:gd name="connsiteX12" fmla="*/ 1127125 w 1377950"/>
                    <a:gd name="connsiteY12" fmla="*/ 168275 h 1273175"/>
                    <a:gd name="connsiteX13" fmla="*/ 1025525 w 1377950"/>
                    <a:gd name="connsiteY13" fmla="*/ 158750 h 1273175"/>
                    <a:gd name="connsiteX14" fmla="*/ 758825 w 1377950"/>
                    <a:gd name="connsiteY14" fmla="*/ 0 h 1273175"/>
                    <a:gd name="connsiteX0" fmla="*/ 677863 w 1377950"/>
                    <a:gd name="connsiteY0" fmla="*/ 0 h 1230313"/>
                    <a:gd name="connsiteX1" fmla="*/ 244475 w 1377950"/>
                    <a:gd name="connsiteY1" fmla="*/ 49213 h 1230313"/>
                    <a:gd name="connsiteX2" fmla="*/ 0 w 1377950"/>
                    <a:gd name="connsiteY2" fmla="*/ 115888 h 1230313"/>
                    <a:gd name="connsiteX3" fmla="*/ 12700 w 1377950"/>
                    <a:gd name="connsiteY3" fmla="*/ 293688 h 1230313"/>
                    <a:gd name="connsiteX4" fmla="*/ 130175 w 1377950"/>
                    <a:gd name="connsiteY4" fmla="*/ 531813 h 1230313"/>
                    <a:gd name="connsiteX5" fmla="*/ 333375 w 1377950"/>
                    <a:gd name="connsiteY5" fmla="*/ 976313 h 1230313"/>
                    <a:gd name="connsiteX6" fmla="*/ 441325 w 1377950"/>
                    <a:gd name="connsiteY6" fmla="*/ 1211263 h 1230313"/>
                    <a:gd name="connsiteX7" fmla="*/ 695325 w 1377950"/>
                    <a:gd name="connsiteY7" fmla="*/ 1230313 h 1230313"/>
                    <a:gd name="connsiteX8" fmla="*/ 1098550 w 1377950"/>
                    <a:gd name="connsiteY8" fmla="*/ 998538 h 1230313"/>
                    <a:gd name="connsiteX9" fmla="*/ 1092200 w 1377950"/>
                    <a:gd name="connsiteY9" fmla="*/ 735013 h 1230313"/>
                    <a:gd name="connsiteX10" fmla="*/ 1314450 w 1377950"/>
                    <a:gd name="connsiteY10" fmla="*/ 503238 h 1230313"/>
                    <a:gd name="connsiteX11" fmla="*/ 1377950 w 1377950"/>
                    <a:gd name="connsiteY11" fmla="*/ 325438 h 1230313"/>
                    <a:gd name="connsiteX12" fmla="*/ 1127125 w 1377950"/>
                    <a:gd name="connsiteY12" fmla="*/ 125413 h 1230313"/>
                    <a:gd name="connsiteX13" fmla="*/ 1025525 w 1377950"/>
                    <a:gd name="connsiteY13" fmla="*/ 115888 h 1230313"/>
                    <a:gd name="connsiteX14" fmla="*/ 677863 w 1377950"/>
                    <a:gd name="connsiteY14" fmla="*/ 0 h 1230313"/>
                    <a:gd name="connsiteX0" fmla="*/ 677863 w 1314450"/>
                    <a:gd name="connsiteY0" fmla="*/ 0 h 1230313"/>
                    <a:gd name="connsiteX1" fmla="*/ 244475 w 1314450"/>
                    <a:gd name="connsiteY1" fmla="*/ 49213 h 1230313"/>
                    <a:gd name="connsiteX2" fmla="*/ 0 w 1314450"/>
                    <a:gd name="connsiteY2" fmla="*/ 115888 h 1230313"/>
                    <a:gd name="connsiteX3" fmla="*/ 12700 w 1314450"/>
                    <a:gd name="connsiteY3" fmla="*/ 293688 h 1230313"/>
                    <a:gd name="connsiteX4" fmla="*/ 130175 w 1314450"/>
                    <a:gd name="connsiteY4" fmla="*/ 531813 h 1230313"/>
                    <a:gd name="connsiteX5" fmla="*/ 333375 w 1314450"/>
                    <a:gd name="connsiteY5" fmla="*/ 976313 h 1230313"/>
                    <a:gd name="connsiteX6" fmla="*/ 441325 w 1314450"/>
                    <a:gd name="connsiteY6" fmla="*/ 1211263 h 1230313"/>
                    <a:gd name="connsiteX7" fmla="*/ 695325 w 1314450"/>
                    <a:gd name="connsiteY7" fmla="*/ 1230313 h 1230313"/>
                    <a:gd name="connsiteX8" fmla="*/ 1098550 w 1314450"/>
                    <a:gd name="connsiteY8" fmla="*/ 998538 h 1230313"/>
                    <a:gd name="connsiteX9" fmla="*/ 1092200 w 1314450"/>
                    <a:gd name="connsiteY9" fmla="*/ 735013 h 1230313"/>
                    <a:gd name="connsiteX10" fmla="*/ 1314450 w 1314450"/>
                    <a:gd name="connsiteY10" fmla="*/ 503238 h 1230313"/>
                    <a:gd name="connsiteX11" fmla="*/ 1277938 w 1314450"/>
                    <a:gd name="connsiteY11" fmla="*/ 413544 h 1230313"/>
                    <a:gd name="connsiteX12" fmla="*/ 1127125 w 1314450"/>
                    <a:gd name="connsiteY12" fmla="*/ 125413 h 1230313"/>
                    <a:gd name="connsiteX13" fmla="*/ 1025525 w 1314450"/>
                    <a:gd name="connsiteY13" fmla="*/ 115888 h 1230313"/>
                    <a:gd name="connsiteX14" fmla="*/ 677863 w 1314450"/>
                    <a:gd name="connsiteY14" fmla="*/ 0 h 1230313"/>
                    <a:gd name="connsiteX0" fmla="*/ 677863 w 1277938"/>
                    <a:gd name="connsiteY0" fmla="*/ 0 h 1230313"/>
                    <a:gd name="connsiteX1" fmla="*/ 244475 w 1277938"/>
                    <a:gd name="connsiteY1" fmla="*/ 49213 h 1230313"/>
                    <a:gd name="connsiteX2" fmla="*/ 0 w 1277938"/>
                    <a:gd name="connsiteY2" fmla="*/ 115888 h 1230313"/>
                    <a:gd name="connsiteX3" fmla="*/ 12700 w 1277938"/>
                    <a:gd name="connsiteY3" fmla="*/ 293688 h 1230313"/>
                    <a:gd name="connsiteX4" fmla="*/ 130175 w 1277938"/>
                    <a:gd name="connsiteY4" fmla="*/ 531813 h 1230313"/>
                    <a:gd name="connsiteX5" fmla="*/ 333375 w 1277938"/>
                    <a:gd name="connsiteY5" fmla="*/ 976313 h 1230313"/>
                    <a:gd name="connsiteX6" fmla="*/ 441325 w 1277938"/>
                    <a:gd name="connsiteY6" fmla="*/ 1211263 h 1230313"/>
                    <a:gd name="connsiteX7" fmla="*/ 695325 w 1277938"/>
                    <a:gd name="connsiteY7" fmla="*/ 1230313 h 1230313"/>
                    <a:gd name="connsiteX8" fmla="*/ 1098550 w 1277938"/>
                    <a:gd name="connsiteY8" fmla="*/ 998538 h 1230313"/>
                    <a:gd name="connsiteX9" fmla="*/ 1092200 w 1277938"/>
                    <a:gd name="connsiteY9" fmla="*/ 735013 h 1230313"/>
                    <a:gd name="connsiteX10" fmla="*/ 907257 w 1277938"/>
                    <a:gd name="connsiteY10" fmla="*/ 691357 h 1230313"/>
                    <a:gd name="connsiteX11" fmla="*/ 1277938 w 1277938"/>
                    <a:gd name="connsiteY11" fmla="*/ 413544 h 1230313"/>
                    <a:gd name="connsiteX12" fmla="*/ 1127125 w 1277938"/>
                    <a:gd name="connsiteY12" fmla="*/ 125413 h 1230313"/>
                    <a:gd name="connsiteX13" fmla="*/ 1025525 w 1277938"/>
                    <a:gd name="connsiteY13" fmla="*/ 115888 h 1230313"/>
                    <a:gd name="connsiteX14" fmla="*/ 677863 w 1277938"/>
                    <a:gd name="connsiteY14" fmla="*/ 0 h 1230313"/>
                    <a:gd name="connsiteX0" fmla="*/ 677863 w 1277938"/>
                    <a:gd name="connsiteY0" fmla="*/ 0 h 1230313"/>
                    <a:gd name="connsiteX1" fmla="*/ 244475 w 1277938"/>
                    <a:gd name="connsiteY1" fmla="*/ 49213 h 1230313"/>
                    <a:gd name="connsiteX2" fmla="*/ 0 w 1277938"/>
                    <a:gd name="connsiteY2" fmla="*/ 115888 h 1230313"/>
                    <a:gd name="connsiteX3" fmla="*/ 12700 w 1277938"/>
                    <a:gd name="connsiteY3" fmla="*/ 293688 h 1230313"/>
                    <a:gd name="connsiteX4" fmla="*/ 130175 w 1277938"/>
                    <a:gd name="connsiteY4" fmla="*/ 531813 h 1230313"/>
                    <a:gd name="connsiteX5" fmla="*/ 333375 w 1277938"/>
                    <a:gd name="connsiteY5" fmla="*/ 976313 h 1230313"/>
                    <a:gd name="connsiteX6" fmla="*/ 441325 w 1277938"/>
                    <a:gd name="connsiteY6" fmla="*/ 1211263 h 1230313"/>
                    <a:gd name="connsiteX7" fmla="*/ 695325 w 1277938"/>
                    <a:gd name="connsiteY7" fmla="*/ 1230313 h 1230313"/>
                    <a:gd name="connsiteX8" fmla="*/ 1098550 w 1277938"/>
                    <a:gd name="connsiteY8" fmla="*/ 998538 h 1230313"/>
                    <a:gd name="connsiteX9" fmla="*/ 915987 w 1277938"/>
                    <a:gd name="connsiteY9" fmla="*/ 954088 h 1230313"/>
                    <a:gd name="connsiteX10" fmla="*/ 907257 w 1277938"/>
                    <a:gd name="connsiteY10" fmla="*/ 691357 h 1230313"/>
                    <a:gd name="connsiteX11" fmla="*/ 1277938 w 1277938"/>
                    <a:gd name="connsiteY11" fmla="*/ 413544 h 1230313"/>
                    <a:gd name="connsiteX12" fmla="*/ 1127125 w 1277938"/>
                    <a:gd name="connsiteY12" fmla="*/ 125413 h 1230313"/>
                    <a:gd name="connsiteX13" fmla="*/ 1025525 w 1277938"/>
                    <a:gd name="connsiteY13" fmla="*/ 115888 h 1230313"/>
                    <a:gd name="connsiteX14" fmla="*/ 677863 w 1277938"/>
                    <a:gd name="connsiteY14" fmla="*/ 0 h 1230313"/>
                    <a:gd name="connsiteX0" fmla="*/ 677863 w 1277938"/>
                    <a:gd name="connsiteY0" fmla="*/ 0 h 1230313"/>
                    <a:gd name="connsiteX1" fmla="*/ 244475 w 1277938"/>
                    <a:gd name="connsiteY1" fmla="*/ 49213 h 1230313"/>
                    <a:gd name="connsiteX2" fmla="*/ 0 w 1277938"/>
                    <a:gd name="connsiteY2" fmla="*/ 115888 h 1230313"/>
                    <a:gd name="connsiteX3" fmla="*/ 12700 w 1277938"/>
                    <a:gd name="connsiteY3" fmla="*/ 293688 h 1230313"/>
                    <a:gd name="connsiteX4" fmla="*/ 130175 w 1277938"/>
                    <a:gd name="connsiteY4" fmla="*/ 531813 h 1230313"/>
                    <a:gd name="connsiteX5" fmla="*/ 333375 w 1277938"/>
                    <a:gd name="connsiteY5" fmla="*/ 976313 h 1230313"/>
                    <a:gd name="connsiteX6" fmla="*/ 441325 w 1277938"/>
                    <a:gd name="connsiteY6" fmla="*/ 1211263 h 1230313"/>
                    <a:gd name="connsiteX7" fmla="*/ 695325 w 1277938"/>
                    <a:gd name="connsiteY7" fmla="*/ 1230313 h 1230313"/>
                    <a:gd name="connsiteX8" fmla="*/ 677069 w 1277938"/>
                    <a:gd name="connsiteY8" fmla="*/ 1146176 h 1230313"/>
                    <a:gd name="connsiteX9" fmla="*/ 915987 w 1277938"/>
                    <a:gd name="connsiteY9" fmla="*/ 954088 h 1230313"/>
                    <a:gd name="connsiteX10" fmla="*/ 907257 w 1277938"/>
                    <a:gd name="connsiteY10" fmla="*/ 691357 h 1230313"/>
                    <a:gd name="connsiteX11" fmla="*/ 1277938 w 1277938"/>
                    <a:gd name="connsiteY11" fmla="*/ 413544 h 1230313"/>
                    <a:gd name="connsiteX12" fmla="*/ 1127125 w 1277938"/>
                    <a:gd name="connsiteY12" fmla="*/ 125413 h 1230313"/>
                    <a:gd name="connsiteX13" fmla="*/ 1025525 w 1277938"/>
                    <a:gd name="connsiteY13" fmla="*/ 115888 h 1230313"/>
                    <a:gd name="connsiteX14" fmla="*/ 677863 w 1277938"/>
                    <a:gd name="connsiteY14" fmla="*/ 0 h 1230313"/>
                    <a:gd name="connsiteX0" fmla="*/ 677863 w 1277938"/>
                    <a:gd name="connsiteY0" fmla="*/ 0 h 1211263"/>
                    <a:gd name="connsiteX1" fmla="*/ 244475 w 1277938"/>
                    <a:gd name="connsiteY1" fmla="*/ 49213 h 1211263"/>
                    <a:gd name="connsiteX2" fmla="*/ 0 w 1277938"/>
                    <a:gd name="connsiteY2" fmla="*/ 115888 h 1211263"/>
                    <a:gd name="connsiteX3" fmla="*/ 12700 w 1277938"/>
                    <a:gd name="connsiteY3" fmla="*/ 293688 h 1211263"/>
                    <a:gd name="connsiteX4" fmla="*/ 130175 w 1277938"/>
                    <a:gd name="connsiteY4" fmla="*/ 531813 h 1211263"/>
                    <a:gd name="connsiteX5" fmla="*/ 333375 w 1277938"/>
                    <a:gd name="connsiteY5" fmla="*/ 976313 h 1211263"/>
                    <a:gd name="connsiteX6" fmla="*/ 441325 w 1277938"/>
                    <a:gd name="connsiteY6" fmla="*/ 1211263 h 1211263"/>
                    <a:gd name="connsiteX7" fmla="*/ 511969 w 1277938"/>
                    <a:gd name="connsiteY7" fmla="*/ 1149350 h 1211263"/>
                    <a:gd name="connsiteX8" fmla="*/ 677069 w 1277938"/>
                    <a:gd name="connsiteY8" fmla="*/ 1146176 h 1211263"/>
                    <a:gd name="connsiteX9" fmla="*/ 915987 w 1277938"/>
                    <a:gd name="connsiteY9" fmla="*/ 954088 h 1211263"/>
                    <a:gd name="connsiteX10" fmla="*/ 907257 w 1277938"/>
                    <a:gd name="connsiteY10" fmla="*/ 691357 h 1211263"/>
                    <a:gd name="connsiteX11" fmla="*/ 1277938 w 1277938"/>
                    <a:gd name="connsiteY11" fmla="*/ 413544 h 1211263"/>
                    <a:gd name="connsiteX12" fmla="*/ 1127125 w 1277938"/>
                    <a:gd name="connsiteY12" fmla="*/ 125413 h 1211263"/>
                    <a:gd name="connsiteX13" fmla="*/ 1025525 w 1277938"/>
                    <a:gd name="connsiteY13" fmla="*/ 115888 h 1211263"/>
                    <a:gd name="connsiteX14" fmla="*/ 677863 w 1277938"/>
                    <a:gd name="connsiteY14" fmla="*/ 0 h 1211263"/>
                    <a:gd name="connsiteX0" fmla="*/ 677863 w 1277938"/>
                    <a:gd name="connsiteY0" fmla="*/ 0 h 1149350"/>
                    <a:gd name="connsiteX1" fmla="*/ 244475 w 1277938"/>
                    <a:gd name="connsiteY1" fmla="*/ 49213 h 1149350"/>
                    <a:gd name="connsiteX2" fmla="*/ 0 w 1277938"/>
                    <a:gd name="connsiteY2" fmla="*/ 115888 h 1149350"/>
                    <a:gd name="connsiteX3" fmla="*/ 12700 w 1277938"/>
                    <a:gd name="connsiteY3" fmla="*/ 293688 h 1149350"/>
                    <a:gd name="connsiteX4" fmla="*/ 130175 w 1277938"/>
                    <a:gd name="connsiteY4" fmla="*/ 531813 h 1149350"/>
                    <a:gd name="connsiteX5" fmla="*/ 333375 w 1277938"/>
                    <a:gd name="connsiteY5" fmla="*/ 976313 h 1149350"/>
                    <a:gd name="connsiteX6" fmla="*/ 496093 w 1277938"/>
                    <a:gd name="connsiteY6" fmla="*/ 1008857 h 1149350"/>
                    <a:gd name="connsiteX7" fmla="*/ 511969 w 1277938"/>
                    <a:gd name="connsiteY7" fmla="*/ 1149350 h 1149350"/>
                    <a:gd name="connsiteX8" fmla="*/ 677069 w 1277938"/>
                    <a:gd name="connsiteY8" fmla="*/ 1146176 h 1149350"/>
                    <a:gd name="connsiteX9" fmla="*/ 915987 w 1277938"/>
                    <a:gd name="connsiteY9" fmla="*/ 954088 h 1149350"/>
                    <a:gd name="connsiteX10" fmla="*/ 907257 w 1277938"/>
                    <a:gd name="connsiteY10" fmla="*/ 691357 h 1149350"/>
                    <a:gd name="connsiteX11" fmla="*/ 1277938 w 1277938"/>
                    <a:gd name="connsiteY11" fmla="*/ 413544 h 1149350"/>
                    <a:gd name="connsiteX12" fmla="*/ 1127125 w 1277938"/>
                    <a:gd name="connsiteY12" fmla="*/ 125413 h 1149350"/>
                    <a:gd name="connsiteX13" fmla="*/ 1025525 w 1277938"/>
                    <a:gd name="connsiteY13" fmla="*/ 115888 h 1149350"/>
                    <a:gd name="connsiteX14" fmla="*/ 677863 w 1277938"/>
                    <a:gd name="connsiteY14" fmla="*/ 0 h 1149350"/>
                    <a:gd name="connsiteX0" fmla="*/ 677863 w 1277938"/>
                    <a:gd name="connsiteY0" fmla="*/ 0 h 1149350"/>
                    <a:gd name="connsiteX1" fmla="*/ 244475 w 1277938"/>
                    <a:gd name="connsiteY1" fmla="*/ 49213 h 1149350"/>
                    <a:gd name="connsiteX2" fmla="*/ 0 w 1277938"/>
                    <a:gd name="connsiteY2" fmla="*/ 115888 h 1149350"/>
                    <a:gd name="connsiteX3" fmla="*/ 12700 w 1277938"/>
                    <a:gd name="connsiteY3" fmla="*/ 293688 h 1149350"/>
                    <a:gd name="connsiteX4" fmla="*/ 130175 w 1277938"/>
                    <a:gd name="connsiteY4" fmla="*/ 531813 h 1149350"/>
                    <a:gd name="connsiteX5" fmla="*/ 378619 w 1277938"/>
                    <a:gd name="connsiteY5" fmla="*/ 773906 h 1149350"/>
                    <a:gd name="connsiteX6" fmla="*/ 496093 w 1277938"/>
                    <a:gd name="connsiteY6" fmla="*/ 1008857 h 1149350"/>
                    <a:gd name="connsiteX7" fmla="*/ 511969 w 1277938"/>
                    <a:gd name="connsiteY7" fmla="*/ 1149350 h 1149350"/>
                    <a:gd name="connsiteX8" fmla="*/ 677069 w 1277938"/>
                    <a:gd name="connsiteY8" fmla="*/ 1146176 h 1149350"/>
                    <a:gd name="connsiteX9" fmla="*/ 915987 w 1277938"/>
                    <a:gd name="connsiteY9" fmla="*/ 954088 h 1149350"/>
                    <a:gd name="connsiteX10" fmla="*/ 907257 w 1277938"/>
                    <a:gd name="connsiteY10" fmla="*/ 691357 h 1149350"/>
                    <a:gd name="connsiteX11" fmla="*/ 1277938 w 1277938"/>
                    <a:gd name="connsiteY11" fmla="*/ 413544 h 1149350"/>
                    <a:gd name="connsiteX12" fmla="*/ 1127125 w 1277938"/>
                    <a:gd name="connsiteY12" fmla="*/ 125413 h 1149350"/>
                    <a:gd name="connsiteX13" fmla="*/ 1025525 w 1277938"/>
                    <a:gd name="connsiteY13" fmla="*/ 115888 h 1149350"/>
                    <a:gd name="connsiteX14" fmla="*/ 677863 w 1277938"/>
                    <a:gd name="connsiteY14" fmla="*/ 0 h 1149350"/>
                    <a:gd name="connsiteX0" fmla="*/ 677863 w 1277938"/>
                    <a:gd name="connsiteY0" fmla="*/ 0 h 1149350"/>
                    <a:gd name="connsiteX1" fmla="*/ 244475 w 1277938"/>
                    <a:gd name="connsiteY1" fmla="*/ 49213 h 1149350"/>
                    <a:gd name="connsiteX2" fmla="*/ 0 w 1277938"/>
                    <a:gd name="connsiteY2" fmla="*/ 115888 h 1149350"/>
                    <a:gd name="connsiteX3" fmla="*/ 12700 w 1277938"/>
                    <a:gd name="connsiteY3" fmla="*/ 293688 h 1149350"/>
                    <a:gd name="connsiteX4" fmla="*/ 130175 w 1277938"/>
                    <a:gd name="connsiteY4" fmla="*/ 531813 h 1149350"/>
                    <a:gd name="connsiteX5" fmla="*/ 378619 w 1277938"/>
                    <a:gd name="connsiteY5" fmla="*/ 773906 h 1149350"/>
                    <a:gd name="connsiteX6" fmla="*/ 496093 w 1277938"/>
                    <a:gd name="connsiteY6" fmla="*/ 1008857 h 1149350"/>
                    <a:gd name="connsiteX7" fmla="*/ 511969 w 1277938"/>
                    <a:gd name="connsiteY7" fmla="*/ 1149350 h 1149350"/>
                    <a:gd name="connsiteX8" fmla="*/ 677069 w 1277938"/>
                    <a:gd name="connsiteY8" fmla="*/ 1146176 h 1149350"/>
                    <a:gd name="connsiteX9" fmla="*/ 915987 w 1277938"/>
                    <a:gd name="connsiteY9" fmla="*/ 954088 h 1149350"/>
                    <a:gd name="connsiteX10" fmla="*/ 907257 w 1277938"/>
                    <a:gd name="connsiteY10" fmla="*/ 691357 h 1149350"/>
                    <a:gd name="connsiteX11" fmla="*/ 1277938 w 1277938"/>
                    <a:gd name="connsiteY11" fmla="*/ 413544 h 1149350"/>
                    <a:gd name="connsiteX12" fmla="*/ 1127125 w 1277938"/>
                    <a:gd name="connsiteY12" fmla="*/ 125413 h 1149350"/>
                    <a:gd name="connsiteX13" fmla="*/ 1025525 w 1277938"/>
                    <a:gd name="connsiteY13" fmla="*/ 115888 h 1149350"/>
                    <a:gd name="connsiteX14" fmla="*/ 782638 w 1277938"/>
                    <a:gd name="connsiteY14" fmla="*/ 23019 h 1149350"/>
                    <a:gd name="connsiteX15" fmla="*/ 677863 w 1277938"/>
                    <a:gd name="connsiteY15" fmla="*/ 0 h 1149350"/>
                    <a:gd name="connsiteX0" fmla="*/ 677863 w 1277938"/>
                    <a:gd name="connsiteY0" fmla="*/ 0 h 1149350"/>
                    <a:gd name="connsiteX1" fmla="*/ 244475 w 1277938"/>
                    <a:gd name="connsiteY1" fmla="*/ 49213 h 1149350"/>
                    <a:gd name="connsiteX2" fmla="*/ 0 w 1277938"/>
                    <a:gd name="connsiteY2" fmla="*/ 115888 h 1149350"/>
                    <a:gd name="connsiteX3" fmla="*/ 12700 w 1277938"/>
                    <a:gd name="connsiteY3" fmla="*/ 293688 h 1149350"/>
                    <a:gd name="connsiteX4" fmla="*/ 130175 w 1277938"/>
                    <a:gd name="connsiteY4" fmla="*/ 531813 h 1149350"/>
                    <a:gd name="connsiteX5" fmla="*/ 378619 w 1277938"/>
                    <a:gd name="connsiteY5" fmla="*/ 773906 h 1149350"/>
                    <a:gd name="connsiteX6" fmla="*/ 496093 w 1277938"/>
                    <a:gd name="connsiteY6" fmla="*/ 1008857 h 1149350"/>
                    <a:gd name="connsiteX7" fmla="*/ 511969 w 1277938"/>
                    <a:gd name="connsiteY7" fmla="*/ 1149350 h 1149350"/>
                    <a:gd name="connsiteX8" fmla="*/ 677069 w 1277938"/>
                    <a:gd name="connsiteY8" fmla="*/ 1146176 h 1149350"/>
                    <a:gd name="connsiteX9" fmla="*/ 915987 w 1277938"/>
                    <a:gd name="connsiteY9" fmla="*/ 954088 h 1149350"/>
                    <a:gd name="connsiteX10" fmla="*/ 907257 w 1277938"/>
                    <a:gd name="connsiteY10" fmla="*/ 691357 h 1149350"/>
                    <a:gd name="connsiteX11" fmla="*/ 1277938 w 1277938"/>
                    <a:gd name="connsiteY11" fmla="*/ 413544 h 1149350"/>
                    <a:gd name="connsiteX12" fmla="*/ 1127125 w 1277938"/>
                    <a:gd name="connsiteY12" fmla="*/ 125413 h 1149350"/>
                    <a:gd name="connsiteX13" fmla="*/ 1025525 w 1277938"/>
                    <a:gd name="connsiteY13" fmla="*/ 115888 h 1149350"/>
                    <a:gd name="connsiteX14" fmla="*/ 785019 w 1277938"/>
                    <a:gd name="connsiteY14" fmla="*/ 70644 h 1149350"/>
                    <a:gd name="connsiteX15" fmla="*/ 782638 w 1277938"/>
                    <a:gd name="connsiteY15" fmla="*/ 23019 h 1149350"/>
                    <a:gd name="connsiteX16" fmla="*/ 677863 w 1277938"/>
                    <a:gd name="connsiteY16" fmla="*/ 0 h 1149350"/>
                    <a:gd name="connsiteX0" fmla="*/ 677863 w 1277938"/>
                    <a:gd name="connsiteY0" fmla="*/ 0 h 1149350"/>
                    <a:gd name="connsiteX1" fmla="*/ 244475 w 1277938"/>
                    <a:gd name="connsiteY1" fmla="*/ 49213 h 1149350"/>
                    <a:gd name="connsiteX2" fmla="*/ 0 w 1277938"/>
                    <a:gd name="connsiteY2" fmla="*/ 115888 h 1149350"/>
                    <a:gd name="connsiteX3" fmla="*/ 12700 w 1277938"/>
                    <a:gd name="connsiteY3" fmla="*/ 293688 h 1149350"/>
                    <a:gd name="connsiteX4" fmla="*/ 130175 w 1277938"/>
                    <a:gd name="connsiteY4" fmla="*/ 531813 h 1149350"/>
                    <a:gd name="connsiteX5" fmla="*/ 378619 w 1277938"/>
                    <a:gd name="connsiteY5" fmla="*/ 773906 h 1149350"/>
                    <a:gd name="connsiteX6" fmla="*/ 496093 w 1277938"/>
                    <a:gd name="connsiteY6" fmla="*/ 1008857 h 1149350"/>
                    <a:gd name="connsiteX7" fmla="*/ 511969 w 1277938"/>
                    <a:gd name="connsiteY7" fmla="*/ 1149350 h 1149350"/>
                    <a:gd name="connsiteX8" fmla="*/ 677069 w 1277938"/>
                    <a:gd name="connsiteY8" fmla="*/ 1146176 h 1149350"/>
                    <a:gd name="connsiteX9" fmla="*/ 915987 w 1277938"/>
                    <a:gd name="connsiteY9" fmla="*/ 954088 h 1149350"/>
                    <a:gd name="connsiteX10" fmla="*/ 907257 w 1277938"/>
                    <a:gd name="connsiteY10" fmla="*/ 691357 h 1149350"/>
                    <a:gd name="connsiteX11" fmla="*/ 1277938 w 1277938"/>
                    <a:gd name="connsiteY11" fmla="*/ 413544 h 1149350"/>
                    <a:gd name="connsiteX12" fmla="*/ 1127125 w 1277938"/>
                    <a:gd name="connsiteY12" fmla="*/ 125413 h 1149350"/>
                    <a:gd name="connsiteX13" fmla="*/ 1025525 w 1277938"/>
                    <a:gd name="connsiteY13" fmla="*/ 115888 h 1149350"/>
                    <a:gd name="connsiteX14" fmla="*/ 868363 w 1277938"/>
                    <a:gd name="connsiteY14" fmla="*/ 94457 h 1149350"/>
                    <a:gd name="connsiteX15" fmla="*/ 785019 w 1277938"/>
                    <a:gd name="connsiteY15" fmla="*/ 70644 h 1149350"/>
                    <a:gd name="connsiteX16" fmla="*/ 782638 w 1277938"/>
                    <a:gd name="connsiteY16" fmla="*/ 23019 h 1149350"/>
                    <a:gd name="connsiteX17" fmla="*/ 677863 w 1277938"/>
                    <a:gd name="connsiteY17" fmla="*/ 0 h 1149350"/>
                    <a:gd name="connsiteX0" fmla="*/ 677863 w 1277938"/>
                    <a:gd name="connsiteY0" fmla="*/ 0 h 1149350"/>
                    <a:gd name="connsiteX1" fmla="*/ 244475 w 1277938"/>
                    <a:gd name="connsiteY1" fmla="*/ 49213 h 1149350"/>
                    <a:gd name="connsiteX2" fmla="*/ 0 w 1277938"/>
                    <a:gd name="connsiteY2" fmla="*/ 115888 h 1149350"/>
                    <a:gd name="connsiteX3" fmla="*/ 12700 w 1277938"/>
                    <a:gd name="connsiteY3" fmla="*/ 293688 h 1149350"/>
                    <a:gd name="connsiteX4" fmla="*/ 130175 w 1277938"/>
                    <a:gd name="connsiteY4" fmla="*/ 531813 h 1149350"/>
                    <a:gd name="connsiteX5" fmla="*/ 378619 w 1277938"/>
                    <a:gd name="connsiteY5" fmla="*/ 773906 h 1149350"/>
                    <a:gd name="connsiteX6" fmla="*/ 496093 w 1277938"/>
                    <a:gd name="connsiteY6" fmla="*/ 1008857 h 1149350"/>
                    <a:gd name="connsiteX7" fmla="*/ 511969 w 1277938"/>
                    <a:gd name="connsiteY7" fmla="*/ 1149350 h 1149350"/>
                    <a:gd name="connsiteX8" fmla="*/ 677069 w 1277938"/>
                    <a:gd name="connsiteY8" fmla="*/ 1146176 h 1149350"/>
                    <a:gd name="connsiteX9" fmla="*/ 915987 w 1277938"/>
                    <a:gd name="connsiteY9" fmla="*/ 954088 h 1149350"/>
                    <a:gd name="connsiteX10" fmla="*/ 907257 w 1277938"/>
                    <a:gd name="connsiteY10" fmla="*/ 691357 h 1149350"/>
                    <a:gd name="connsiteX11" fmla="*/ 1277938 w 1277938"/>
                    <a:gd name="connsiteY11" fmla="*/ 413544 h 1149350"/>
                    <a:gd name="connsiteX12" fmla="*/ 1127125 w 1277938"/>
                    <a:gd name="connsiteY12" fmla="*/ 125413 h 1149350"/>
                    <a:gd name="connsiteX13" fmla="*/ 1025525 w 1277938"/>
                    <a:gd name="connsiteY13" fmla="*/ 115888 h 1149350"/>
                    <a:gd name="connsiteX14" fmla="*/ 904081 w 1277938"/>
                    <a:gd name="connsiteY14" fmla="*/ 75407 h 1149350"/>
                    <a:gd name="connsiteX15" fmla="*/ 868363 w 1277938"/>
                    <a:gd name="connsiteY15" fmla="*/ 94457 h 1149350"/>
                    <a:gd name="connsiteX16" fmla="*/ 785019 w 1277938"/>
                    <a:gd name="connsiteY16" fmla="*/ 70644 h 1149350"/>
                    <a:gd name="connsiteX17" fmla="*/ 782638 w 1277938"/>
                    <a:gd name="connsiteY17" fmla="*/ 23019 h 1149350"/>
                    <a:gd name="connsiteX18" fmla="*/ 677863 w 1277938"/>
                    <a:gd name="connsiteY18" fmla="*/ 0 h 1149350"/>
                    <a:gd name="connsiteX0" fmla="*/ 677863 w 1277938"/>
                    <a:gd name="connsiteY0" fmla="*/ 0 h 1149350"/>
                    <a:gd name="connsiteX1" fmla="*/ 244475 w 1277938"/>
                    <a:gd name="connsiteY1" fmla="*/ 49213 h 1149350"/>
                    <a:gd name="connsiteX2" fmla="*/ 0 w 1277938"/>
                    <a:gd name="connsiteY2" fmla="*/ 115888 h 1149350"/>
                    <a:gd name="connsiteX3" fmla="*/ 12700 w 1277938"/>
                    <a:gd name="connsiteY3" fmla="*/ 293688 h 1149350"/>
                    <a:gd name="connsiteX4" fmla="*/ 130175 w 1277938"/>
                    <a:gd name="connsiteY4" fmla="*/ 531813 h 1149350"/>
                    <a:gd name="connsiteX5" fmla="*/ 378619 w 1277938"/>
                    <a:gd name="connsiteY5" fmla="*/ 773906 h 1149350"/>
                    <a:gd name="connsiteX6" fmla="*/ 496093 w 1277938"/>
                    <a:gd name="connsiteY6" fmla="*/ 1008857 h 1149350"/>
                    <a:gd name="connsiteX7" fmla="*/ 511969 w 1277938"/>
                    <a:gd name="connsiteY7" fmla="*/ 1149350 h 1149350"/>
                    <a:gd name="connsiteX8" fmla="*/ 677069 w 1277938"/>
                    <a:gd name="connsiteY8" fmla="*/ 1146176 h 1149350"/>
                    <a:gd name="connsiteX9" fmla="*/ 915987 w 1277938"/>
                    <a:gd name="connsiteY9" fmla="*/ 954088 h 1149350"/>
                    <a:gd name="connsiteX10" fmla="*/ 907257 w 1277938"/>
                    <a:gd name="connsiteY10" fmla="*/ 691357 h 1149350"/>
                    <a:gd name="connsiteX11" fmla="*/ 1277938 w 1277938"/>
                    <a:gd name="connsiteY11" fmla="*/ 413544 h 1149350"/>
                    <a:gd name="connsiteX12" fmla="*/ 1127125 w 1277938"/>
                    <a:gd name="connsiteY12" fmla="*/ 125413 h 1149350"/>
                    <a:gd name="connsiteX13" fmla="*/ 1025525 w 1277938"/>
                    <a:gd name="connsiteY13" fmla="*/ 115888 h 1149350"/>
                    <a:gd name="connsiteX14" fmla="*/ 954088 w 1277938"/>
                    <a:gd name="connsiteY14" fmla="*/ 230188 h 1149350"/>
                    <a:gd name="connsiteX15" fmla="*/ 904081 w 1277938"/>
                    <a:gd name="connsiteY15" fmla="*/ 75407 h 1149350"/>
                    <a:gd name="connsiteX16" fmla="*/ 868363 w 1277938"/>
                    <a:gd name="connsiteY16" fmla="*/ 94457 h 1149350"/>
                    <a:gd name="connsiteX17" fmla="*/ 785019 w 1277938"/>
                    <a:gd name="connsiteY17" fmla="*/ 70644 h 1149350"/>
                    <a:gd name="connsiteX18" fmla="*/ 782638 w 1277938"/>
                    <a:gd name="connsiteY18" fmla="*/ 23019 h 1149350"/>
                    <a:gd name="connsiteX19" fmla="*/ 677863 w 1277938"/>
                    <a:gd name="connsiteY19" fmla="*/ 0 h 1149350"/>
                    <a:gd name="connsiteX0" fmla="*/ 677863 w 1277938"/>
                    <a:gd name="connsiteY0" fmla="*/ 0 h 1149350"/>
                    <a:gd name="connsiteX1" fmla="*/ 244475 w 1277938"/>
                    <a:gd name="connsiteY1" fmla="*/ 49213 h 1149350"/>
                    <a:gd name="connsiteX2" fmla="*/ 0 w 1277938"/>
                    <a:gd name="connsiteY2" fmla="*/ 115888 h 1149350"/>
                    <a:gd name="connsiteX3" fmla="*/ 12700 w 1277938"/>
                    <a:gd name="connsiteY3" fmla="*/ 293688 h 1149350"/>
                    <a:gd name="connsiteX4" fmla="*/ 130175 w 1277938"/>
                    <a:gd name="connsiteY4" fmla="*/ 531813 h 1149350"/>
                    <a:gd name="connsiteX5" fmla="*/ 378619 w 1277938"/>
                    <a:gd name="connsiteY5" fmla="*/ 773906 h 1149350"/>
                    <a:gd name="connsiteX6" fmla="*/ 496093 w 1277938"/>
                    <a:gd name="connsiteY6" fmla="*/ 1008857 h 1149350"/>
                    <a:gd name="connsiteX7" fmla="*/ 511969 w 1277938"/>
                    <a:gd name="connsiteY7" fmla="*/ 1149350 h 1149350"/>
                    <a:gd name="connsiteX8" fmla="*/ 677069 w 1277938"/>
                    <a:gd name="connsiteY8" fmla="*/ 1146176 h 1149350"/>
                    <a:gd name="connsiteX9" fmla="*/ 915987 w 1277938"/>
                    <a:gd name="connsiteY9" fmla="*/ 954088 h 1149350"/>
                    <a:gd name="connsiteX10" fmla="*/ 907257 w 1277938"/>
                    <a:gd name="connsiteY10" fmla="*/ 691357 h 1149350"/>
                    <a:gd name="connsiteX11" fmla="*/ 1277938 w 1277938"/>
                    <a:gd name="connsiteY11" fmla="*/ 413544 h 1149350"/>
                    <a:gd name="connsiteX12" fmla="*/ 1127125 w 1277938"/>
                    <a:gd name="connsiteY12" fmla="*/ 125413 h 1149350"/>
                    <a:gd name="connsiteX13" fmla="*/ 1066007 w 1277938"/>
                    <a:gd name="connsiteY13" fmla="*/ 218282 h 1149350"/>
                    <a:gd name="connsiteX14" fmla="*/ 954088 w 1277938"/>
                    <a:gd name="connsiteY14" fmla="*/ 230188 h 1149350"/>
                    <a:gd name="connsiteX15" fmla="*/ 904081 w 1277938"/>
                    <a:gd name="connsiteY15" fmla="*/ 75407 h 1149350"/>
                    <a:gd name="connsiteX16" fmla="*/ 868363 w 1277938"/>
                    <a:gd name="connsiteY16" fmla="*/ 94457 h 1149350"/>
                    <a:gd name="connsiteX17" fmla="*/ 785019 w 1277938"/>
                    <a:gd name="connsiteY17" fmla="*/ 70644 h 1149350"/>
                    <a:gd name="connsiteX18" fmla="*/ 782638 w 1277938"/>
                    <a:gd name="connsiteY18" fmla="*/ 23019 h 1149350"/>
                    <a:gd name="connsiteX19" fmla="*/ 677863 w 1277938"/>
                    <a:gd name="connsiteY19" fmla="*/ 0 h 1149350"/>
                    <a:gd name="connsiteX0" fmla="*/ 677863 w 1277938"/>
                    <a:gd name="connsiteY0" fmla="*/ 0 h 1149350"/>
                    <a:gd name="connsiteX1" fmla="*/ 244475 w 1277938"/>
                    <a:gd name="connsiteY1" fmla="*/ 49213 h 1149350"/>
                    <a:gd name="connsiteX2" fmla="*/ 0 w 1277938"/>
                    <a:gd name="connsiteY2" fmla="*/ 115888 h 1149350"/>
                    <a:gd name="connsiteX3" fmla="*/ 12700 w 1277938"/>
                    <a:gd name="connsiteY3" fmla="*/ 293688 h 1149350"/>
                    <a:gd name="connsiteX4" fmla="*/ 130175 w 1277938"/>
                    <a:gd name="connsiteY4" fmla="*/ 531813 h 1149350"/>
                    <a:gd name="connsiteX5" fmla="*/ 378619 w 1277938"/>
                    <a:gd name="connsiteY5" fmla="*/ 773906 h 1149350"/>
                    <a:gd name="connsiteX6" fmla="*/ 496093 w 1277938"/>
                    <a:gd name="connsiteY6" fmla="*/ 1008857 h 1149350"/>
                    <a:gd name="connsiteX7" fmla="*/ 511969 w 1277938"/>
                    <a:gd name="connsiteY7" fmla="*/ 1149350 h 1149350"/>
                    <a:gd name="connsiteX8" fmla="*/ 677069 w 1277938"/>
                    <a:gd name="connsiteY8" fmla="*/ 1146176 h 1149350"/>
                    <a:gd name="connsiteX9" fmla="*/ 915987 w 1277938"/>
                    <a:gd name="connsiteY9" fmla="*/ 954088 h 1149350"/>
                    <a:gd name="connsiteX10" fmla="*/ 907257 w 1277938"/>
                    <a:gd name="connsiteY10" fmla="*/ 691357 h 1149350"/>
                    <a:gd name="connsiteX11" fmla="*/ 1277938 w 1277938"/>
                    <a:gd name="connsiteY11" fmla="*/ 413544 h 1149350"/>
                    <a:gd name="connsiteX12" fmla="*/ 1119981 w 1277938"/>
                    <a:gd name="connsiteY12" fmla="*/ 196851 h 1149350"/>
                    <a:gd name="connsiteX13" fmla="*/ 1066007 w 1277938"/>
                    <a:gd name="connsiteY13" fmla="*/ 218282 h 1149350"/>
                    <a:gd name="connsiteX14" fmla="*/ 954088 w 1277938"/>
                    <a:gd name="connsiteY14" fmla="*/ 230188 h 1149350"/>
                    <a:gd name="connsiteX15" fmla="*/ 904081 w 1277938"/>
                    <a:gd name="connsiteY15" fmla="*/ 75407 h 1149350"/>
                    <a:gd name="connsiteX16" fmla="*/ 868363 w 1277938"/>
                    <a:gd name="connsiteY16" fmla="*/ 94457 h 1149350"/>
                    <a:gd name="connsiteX17" fmla="*/ 785019 w 1277938"/>
                    <a:gd name="connsiteY17" fmla="*/ 70644 h 1149350"/>
                    <a:gd name="connsiteX18" fmla="*/ 782638 w 1277938"/>
                    <a:gd name="connsiteY18" fmla="*/ 23019 h 1149350"/>
                    <a:gd name="connsiteX19" fmla="*/ 677863 w 1277938"/>
                    <a:gd name="connsiteY19" fmla="*/ 0 h 1149350"/>
                    <a:gd name="connsiteX0" fmla="*/ 677863 w 1287387"/>
                    <a:gd name="connsiteY0" fmla="*/ 0 h 1149350"/>
                    <a:gd name="connsiteX1" fmla="*/ 244475 w 1287387"/>
                    <a:gd name="connsiteY1" fmla="*/ 49213 h 1149350"/>
                    <a:gd name="connsiteX2" fmla="*/ 0 w 1287387"/>
                    <a:gd name="connsiteY2" fmla="*/ 115888 h 1149350"/>
                    <a:gd name="connsiteX3" fmla="*/ 12700 w 1287387"/>
                    <a:gd name="connsiteY3" fmla="*/ 293688 h 1149350"/>
                    <a:gd name="connsiteX4" fmla="*/ 130175 w 1287387"/>
                    <a:gd name="connsiteY4" fmla="*/ 531813 h 1149350"/>
                    <a:gd name="connsiteX5" fmla="*/ 378619 w 1287387"/>
                    <a:gd name="connsiteY5" fmla="*/ 773906 h 1149350"/>
                    <a:gd name="connsiteX6" fmla="*/ 496093 w 1287387"/>
                    <a:gd name="connsiteY6" fmla="*/ 1008857 h 1149350"/>
                    <a:gd name="connsiteX7" fmla="*/ 511969 w 1287387"/>
                    <a:gd name="connsiteY7" fmla="*/ 1149350 h 1149350"/>
                    <a:gd name="connsiteX8" fmla="*/ 677069 w 1287387"/>
                    <a:gd name="connsiteY8" fmla="*/ 1146176 h 1149350"/>
                    <a:gd name="connsiteX9" fmla="*/ 915987 w 1287387"/>
                    <a:gd name="connsiteY9" fmla="*/ 954088 h 1149350"/>
                    <a:gd name="connsiteX10" fmla="*/ 907257 w 1287387"/>
                    <a:gd name="connsiteY10" fmla="*/ 691357 h 1149350"/>
                    <a:gd name="connsiteX11" fmla="*/ 1277938 w 1287387"/>
                    <a:gd name="connsiteY11" fmla="*/ 413544 h 1149350"/>
                    <a:gd name="connsiteX12" fmla="*/ 1280319 w 1287387"/>
                    <a:gd name="connsiteY12" fmla="*/ 358776 h 1149350"/>
                    <a:gd name="connsiteX13" fmla="*/ 1119981 w 1287387"/>
                    <a:gd name="connsiteY13" fmla="*/ 196851 h 1149350"/>
                    <a:gd name="connsiteX14" fmla="*/ 1066007 w 1287387"/>
                    <a:gd name="connsiteY14" fmla="*/ 218282 h 1149350"/>
                    <a:gd name="connsiteX15" fmla="*/ 954088 w 1287387"/>
                    <a:gd name="connsiteY15" fmla="*/ 230188 h 1149350"/>
                    <a:gd name="connsiteX16" fmla="*/ 904081 w 1287387"/>
                    <a:gd name="connsiteY16" fmla="*/ 75407 h 1149350"/>
                    <a:gd name="connsiteX17" fmla="*/ 868363 w 1287387"/>
                    <a:gd name="connsiteY17" fmla="*/ 94457 h 1149350"/>
                    <a:gd name="connsiteX18" fmla="*/ 785019 w 1287387"/>
                    <a:gd name="connsiteY18" fmla="*/ 70644 h 1149350"/>
                    <a:gd name="connsiteX19" fmla="*/ 782638 w 1287387"/>
                    <a:gd name="connsiteY19" fmla="*/ 23019 h 1149350"/>
                    <a:gd name="connsiteX20" fmla="*/ 677863 w 1287387"/>
                    <a:gd name="connsiteY20" fmla="*/ 0 h 1149350"/>
                    <a:gd name="connsiteX0" fmla="*/ 677863 w 1287387"/>
                    <a:gd name="connsiteY0" fmla="*/ 0 h 1149350"/>
                    <a:gd name="connsiteX1" fmla="*/ 244475 w 1287387"/>
                    <a:gd name="connsiteY1" fmla="*/ 49213 h 1149350"/>
                    <a:gd name="connsiteX2" fmla="*/ 0 w 1287387"/>
                    <a:gd name="connsiteY2" fmla="*/ 115888 h 1149350"/>
                    <a:gd name="connsiteX3" fmla="*/ 12700 w 1287387"/>
                    <a:gd name="connsiteY3" fmla="*/ 293688 h 1149350"/>
                    <a:gd name="connsiteX4" fmla="*/ 130175 w 1287387"/>
                    <a:gd name="connsiteY4" fmla="*/ 531813 h 1149350"/>
                    <a:gd name="connsiteX5" fmla="*/ 378619 w 1287387"/>
                    <a:gd name="connsiteY5" fmla="*/ 773906 h 1149350"/>
                    <a:gd name="connsiteX6" fmla="*/ 496093 w 1287387"/>
                    <a:gd name="connsiteY6" fmla="*/ 1008857 h 1149350"/>
                    <a:gd name="connsiteX7" fmla="*/ 511969 w 1287387"/>
                    <a:gd name="connsiteY7" fmla="*/ 1149350 h 1149350"/>
                    <a:gd name="connsiteX8" fmla="*/ 677069 w 1287387"/>
                    <a:gd name="connsiteY8" fmla="*/ 1146176 h 1149350"/>
                    <a:gd name="connsiteX9" fmla="*/ 915987 w 1287387"/>
                    <a:gd name="connsiteY9" fmla="*/ 954088 h 1149350"/>
                    <a:gd name="connsiteX10" fmla="*/ 907257 w 1287387"/>
                    <a:gd name="connsiteY10" fmla="*/ 691357 h 1149350"/>
                    <a:gd name="connsiteX11" fmla="*/ 1277938 w 1287387"/>
                    <a:gd name="connsiteY11" fmla="*/ 413544 h 1149350"/>
                    <a:gd name="connsiteX12" fmla="*/ 1280319 w 1287387"/>
                    <a:gd name="connsiteY12" fmla="*/ 358776 h 1149350"/>
                    <a:gd name="connsiteX13" fmla="*/ 1158875 w 1287387"/>
                    <a:gd name="connsiteY13" fmla="*/ 277813 h 1149350"/>
                    <a:gd name="connsiteX14" fmla="*/ 1119981 w 1287387"/>
                    <a:gd name="connsiteY14" fmla="*/ 196851 h 1149350"/>
                    <a:gd name="connsiteX15" fmla="*/ 1066007 w 1287387"/>
                    <a:gd name="connsiteY15" fmla="*/ 218282 h 1149350"/>
                    <a:gd name="connsiteX16" fmla="*/ 954088 w 1287387"/>
                    <a:gd name="connsiteY16" fmla="*/ 230188 h 1149350"/>
                    <a:gd name="connsiteX17" fmla="*/ 904081 w 1287387"/>
                    <a:gd name="connsiteY17" fmla="*/ 75407 h 1149350"/>
                    <a:gd name="connsiteX18" fmla="*/ 868363 w 1287387"/>
                    <a:gd name="connsiteY18" fmla="*/ 94457 h 1149350"/>
                    <a:gd name="connsiteX19" fmla="*/ 785019 w 1287387"/>
                    <a:gd name="connsiteY19" fmla="*/ 70644 h 1149350"/>
                    <a:gd name="connsiteX20" fmla="*/ 782638 w 1287387"/>
                    <a:gd name="connsiteY20" fmla="*/ 23019 h 1149350"/>
                    <a:gd name="connsiteX21" fmla="*/ 677863 w 1287387"/>
                    <a:gd name="connsiteY21" fmla="*/ 0 h 1149350"/>
                    <a:gd name="connsiteX0" fmla="*/ 677863 w 1287387"/>
                    <a:gd name="connsiteY0" fmla="*/ 0 h 1149350"/>
                    <a:gd name="connsiteX1" fmla="*/ 244475 w 1287387"/>
                    <a:gd name="connsiteY1" fmla="*/ 49213 h 1149350"/>
                    <a:gd name="connsiteX2" fmla="*/ 0 w 1287387"/>
                    <a:gd name="connsiteY2" fmla="*/ 115888 h 1149350"/>
                    <a:gd name="connsiteX3" fmla="*/ 12700 w 1287387"/>
                    <a:gd name="connsiteY3" fmla="*/ 293688 h 1149350"/>
                    <a:gd name="connsiteX4" fmla="*/ 130175 w 1287387"/>
                    <a:gd name="connsiteY4" fmla="*/ 531813 h 1149350"/>
                    <a:gd name="connsiteX5" fmla="*/ 378619 w 1287387"/>
                    <a:gd name="connsiteY5" fmla="*/ 773906 h 1149350"/>
                    <a:gd name="connsiteX6" fmla="*/ 496093 w 1287387"/>
                    <a:gd name="connsiteY6" fmla="*/ 1008857 h 1149350"/>
                    <a:gd name="connsiteX7" fmla="*/ 511969 w 1287387"/>
                    <a:gd name="connsiteY7" fmla="*/ 1149350 h 1149350"/>
                    <a:gd name="connsiteX8" fmla="*/ 677069 w 1287387"/>
                    <a:gd name="connsiteY8" fmla="*/ 1146176 h 1149350"/>
                    <a:gd name="connsiteX9" fmla="*/ 915987 w 1287387"/>
                    <a:gd name="connsiteY9" fmla="*/ 954088 h 1149350"/>
                    <a:gd name="connsiteX10" fmla="*/ 961231 w 1287387"/>
                    <a:gd name="connsiteY10" fmla="*/ 735013 h 1149350"/>
                    <a:gd name="connsiteX11" fmla="*/ 907257 w 1287387"/>
                    <a:gd name="connsiteY11" fmla="*/ 691357 h 1149350"/>
                    <a:gd name="connsiteX12" fmla="*/ 1277938 w 1287387"/>
                    <a:gd name="connsiteY12" fmla="*/ 413544 h 1149350"/>
                    <a:gd name="connsiteX13" fmla="*/ 1280319 w 1287387"/>
                    <a:gd name="connsiteY13" fmla="*/ 358776 h 1149350"/>
                    <a:gd name="connsiteX14" fmla="*/ 1158875 w 1287387"/>
                    <a:gd name="connsiteY14" fmla="*/ 277813 h 1149350"/>
                    <a:gd name="connsiteX15" fmla="*/ 1119981 w 1287387"/>
                    <a:gd name="connsiteY15" fmla="*/ 196851 h 1149350"/>
                    <a:gd name="connsiteX16" fmla="*/ 1066007 w 1287387"/>
                    <a:gd name="connsiteY16" fmla="*/ 218282 h 1149350"/>
                    <a:gd name="connsiteX17" fmla="*/ 954088 w 1287387"/>
                    <a:gd name="connsiteY17" fmla="*/ 230188 h 1149350"/>
                    <a:gd name="connsiteX18" fmla="*/ 904081 w 1287387"/>
                    <a:gd name="connsiteY18" fmla="*/ 75407 h 1149350"/>
                    <a:gd name="connsiteX19" fmla="*/ 868363 w 1287387"/>
                    <a:gd name="connsiteY19" fmla="*/ 94457 h 1149350"/>
                    <a:gd name="connsiteX20" fmla="*/ 785019 w 1287387"/>
                    <a:gd name="connsiteY20" fmla="*/ 70644 h 1149350"/>
                    <a:gd name="connsiteX21" fmla="*/ 782638 w 1287387"/>
                    <a:gd name="connsiteY21" fmla="*/ 23019 h 1149350"/>
                    <a:gd name="connsiteX22" fmla="*/ 677863 w 1287387"/>
                    <a:gd name="connsiteY22" fmla="*/ 0 h 1149350"/>
                    <a:gd name="connsiteX0" fmla="*/ 677863 w 1287387"/>
                    <a:gd name="connsiteY0" fmla="*/ 0 h 1149350"/>
                    <a:gd name="connsiteX1" fmla="*/ 244475 w 1287387"/>
                    <a:gd name="connsiteY1" fmla="*/ 49213 h 1149350"/>
                    <a:gd name="connsiteX2" fmla="*/ 0 w 1287387"/>
                    <a:gd name="connsiteY2" fmla="*/ 115888 h 1149350"/>
                    <a:gd name="connsiteX3" fmla="*/ 12700 w 1287387"/>
                    <a:gd name="connsiteY3" fmla="*/ 293688 h 1149350"/>
                    <a:gd name="connsiteX4" fmla="*/ 130175 w 1287387"/>
                    <a:gd name="connsiteY4" fmla="*/ 531813 h 1149350"/>
                    <a:gd name="connsiteX5" fmla="*/ 378619 w 1287387"/>
                    <a:gd name="connsiteY5" fmla="*/ 773906 h 1149350"/>
                    <a:gd name="connsiteX6" fmla="*/ 496093 w 1287387"/>
                    <a:gd name="connsiteY6" fmla="*/ 1008857 h 1149350"/>
                    <a:gd name="connsiteX7" fmla="*/ 511969 w 1287387"/>
                    <a:gd name="connsiteY7" fmla="*/ 1149350 h 1149350"/>
                    <a:gd name="connsiteX8" fmla="*/ 677069 w 1287387"/>
                    <a:gd name="connsiteY8" fmla="*/ 1146176 h 1149350"/>
                    <a:gd name="connsiteX9" fmla="*/ 915987 w 1287387"/>
                    <a:gd name="connsiteY9" fmla="*/ 954088 h 1149350"/>
                    <a:gd name="connsiteX10" fmla="*/ 982663 w 1287387"/>
                    <a:gd name="connsiteY10" fmla="*/ 835026 h 1149350"/>
                    <a:gd name="connsiteX11" fmla="*/ 961231 w 1287387"/>
                    <a:gd name="connsiteY11" fmla="*/ 735013 h 1149350"/>
                    <a:gd name="connsiteX12" fmla="*/ 907257 w 1287387"/>
                    <a:gd name="connsiteY12" fmla="*/ 691357 h 1149350"/>
                    <a:gd name="connsiteX13" fmla="*/ 1277938 w 1287387"/>
                    <a:gd name="connsiteY13" fmla="*/ 413544 h 1149350"/>
                    <a:gd name="connsiteX14" fmla="*/ 1280319 w 1287387"/>
                    <a:gd name="connsiteY14" fmla="*/ 358776 h 1149350"/>
                    <a:gd name="connsiteX15" fmla="*/ 1158875 w 1287387"/>
                    <a:gd name="connsiteY15" fmla="*/ 277813 h 1149350"/>
                    <a:gd name="connsiteX16" fmla="*/ 1119981 w 1287387"/>
                    <a:gd name="connsiteY16" fmla="*/ 196851 h 1149350"/>
                    <a:gd name="connsiteX17" fmla="*/ 1066007 w 1287387"/>
                    <a:gd name="connsiteY17" fmla="*/ 218282 h 1149350"/>
                    <a:gd name="connsiteX18" fmla="*/ 954088 w 1287387"/>
                    <a:gd name="connsiteY18" fmla="*/ 230188 h 1149350"/>
                    <a:gd name="connsiteX19" fmla="*/ 904081 w 1287387"/>
                    <a:gd name="connsiteY19" fmla="*/ 75407 h 1149350"/>
                    <a:gd name="connsiteX20" fmla="*/ 868363 w 1287387"/>
                    <a:gd name="connsiteY20" fmla="*/ 94457 h 1149350"/>
                    <a:gd name="connsiteX21" fmla="*/ 785019 w 1287387"/>
                    <a:gd name="connsiteY21" fmla="*/ 70644 h 1149350"/>
                    <a:gd name="connsiteX22" fmla="*/ 782638 w 1287387"/>
                    <a:gd name="connsiteY22" fmla="*/ 23019 h 1149350"/>
                    <a:gd name="connsiteX23" fmla="*/ 677863 w 1287387"/>
                    <a:gd name="connsiteY23" fmla="*/ 0 h 1149350"/>
                    <a:gd name="connsiteX0" fmla="*/ 677863 w 1287387"/>
                    <a:gd name="connsiteY0" fmla="*/ 0 h 1149350"/>
                    <a:gd name="connsiteX1" fmla="*/ 244475 w 1287387"/>
                    <a:gd name="connsiteY1" fmla="*/ 49213 h 1149350"/>
                    <a:gd name="connsiteX2" fmla="*/ 0 w 1287387"/>
                    <a:gd name="connsiteY2" fmla="*/ 115888 h 1149350"/>
                    <a:gd name="connsiteX3" fmla="*/ 12700 w 1287387"/>
                    <a:gd name="connsiteY3" fmla="*/ 293688 h 1149350"/>
                    <a:gd name="connsiteX4" fmla="*/ 130175 w 1287387"/>
                    <a:gd name="connsiteY4" fmla="*/ 531813 h 1149350"/>
                    <a:gd name="connsiteX5" fmla="*/ 378619 w 1287387"/>
                    <a:gd name="connsiteY5" fmla="*/ 773906 h 1149350"/>
                    <a:gd name="connsiteX6" fmla="*/ 496093 w 1287387"/>
                    <a:gd name="connsiteY6" fmla="*/ 1008857 h 1149350"/>
                    <a:gd name="connsiteX7" fmla="*/ 511969 w 1287387"/>
                    <a:gd name="connsiteY7" fmla="*/ 1149350 h 1149350"/>
                    <a:gd name="connsiteX8" fmla="*/ 677069 w 1287387"/>
                    <a:gd name="connsiteY8" fmla="*/ 1146176 h 1149350"/>
                    <a:gd name="connsiteX9" fmla="*/ 915987 w 1287387"/>
                    <a:gd name="connsiteY9" fmla="*/ 954088 h 1149350"/>
                    <a:gd name="connsiteX10" fmla="*/ 982663 w 1287387"/>
                    <a:gd name="connsiteY10" fmla="*/ 835026 h 1149350"/>
                    <a:gd name="connsiteX11" fmla="*/ 954088 w 1287387"/>
                    <a:gd name="connsiteY11" fmla="*/ 775494 h 1149350"/>
                    <a:gd name="connsiteX12" fmla="*/ 961231 w 1287387"/>
                    <a:gd name="connsiteY12" fmla="*/ 735013 h 1149350"/>
                    <a:gd name="connsiteX13" fmla="*/ 907257 w 1287387"/>
                    <a:gd name="connsiteY13" fmla="*/ 691357 h 1149350"/>
                    <a:gd name="connsiteX14" fmla="*/ 1277938 w 1287387"/>
                    <a:gd name="connsiteY14" fmla="*/ 413544 h 1149350"/>
                    <a:gd name="connsiteX15" fmla="*/ 1280319 w 1287387"/>
                    <a:gd name="connsiteY15" fmla="*/ 358776 h 1149350"/>
                    <a:gd name="connsiteX16" fmla="*/ 1158875 w 1287387"/>
                    <a:gd name="connsiteY16" fmla="*/ 277813 h 1149350"/>
                    <a:gd name="connsiteX17" fmla="*/ 1119981 w 1287387"/>
                    <a:gd name="connsiteY17" fmla="*/ 196851 h 1149350"/>
                    <a:gd name="connsiteX18" fmla="*/ 1066007 w 1287387"/>
                    <a:gd name="connsiteY18" fmla="*/ 218282 h 1149350"/>
                    <a:gd name="connsiteX19" fmla="*/ 954088 w 1287387"/>
                    <a:gd name="connsiteY19" fmla="*/ 230188 h 1149350"/>
                    <a:gd name="connsiteX20" fmla="*/ 904081 w 1287387"/>
                    <a:gd name="connsiteY20" fmla="*/ 75407 h 1149350"/>
                    <a:gd name="connsiteX21" fmla="*/ 868363 w 1287387"/>
                    <a:gd name="connsiteY21" fmla="*/ 94457 h 1149350"/>
                    <a:gd name="connsiteX22" fmla="*/ 785019 w 1287387"/>
                    <a:gd name="connsiteY22" fmla="*/ 70644 h 1149350"/>
                    <a:gd name="connsiteX23" fmla="*/ 782638 w 1287387"/>
                    <a:gd name="connsiteY23" fmla="*/ 23019 h 1149350"/>
                    <a:gd name="connsiteX24" fmla="*/ 677863 w 1287387"/>
                    <a:gd name="connsiteY24" fmla="*/ 0 h 1149350"/>
                    <a:gd name="connsiteX0" fmla="*/ 677863 w 1287387"/>
                    <a:gd name="connsiteY0" fmla="*/ 0 h 1149350"/>
                    <a:gd name="connsiteX1" fmla="*/ 244475 w 1287387"/>
                    <a:gd name="connsiteY1" fmla="*/ 49213 h 1149350"/>
                    <a:gd name="connsiteX2" fmla="*/ 0 w 1287387"/>
                    <a:gd name="connsiteY2" fmla="*/ 115888 h 1149350"/>
                    <a:gd name="connsiteX3" fmla="*/ 12700 w 1287387"/>
                    <a:gd name="connsiteY3" fmla="*/ 293688 h 1149350"/>
                    <a:gd name="connsiteX4" fmla="*/ 130175 w 1287387"/>
                    <a:gd name="connsiteY4" fmla="*/ 531813 h 1149350"/>
                    <a:gd name="connsiteX5" fmla="*/ 378619 w 1287387"/>
                    <a:gd name="connsiteY5" fmla="*/ 773906 h 1149350"/>
                    <a:gd name="connsiteX6" fmla="*/ 496093 w 1287387"/>
                    <a:gd name="connsiteY6" fmla="*/ 1008857 h 1149350"/>
                    <a:gd name="connsiteX7" fmla="*/ 511969 w 1287387"/>
                    <a:gd name="connsiteY7" fmla="*/ 1149350 h 1149350"/>
                    <a:gd name="connsiteX8" fmla="*/ 677069 w 1287387"/>
                    <a:gd name="connsiteY8" fmla="*/ 1146176 h 1149350"/>
                    <a:gd name="connsiteX9" fmla="*/ 856456 w 1287387"/>
                    <a:gd name="connsiteY9" fmla="*/ 954088 h 1149350"/>
                    <a:gd name="connsiteX10" fmla="*/ 915987 w 1287387"/>
                    <a:gd name="connsiteY10" fmla="*/ 954088 h 1149350"/>
                    <a:gd name="connsiteX11" fmla="*/ 982663 w 1287387"/>
                    <a:gd name="connsiteY11" fmla="*/ 835026 h 1149350"/>
                    <a:gd name="connsiteX12" fmla="*/ 954088 w 1287387"/>
                    <a:gd name="connsiteY12" fmla="*/ 775494 h 1149350"/>
                    <a:gd name="connsiteX13" fmla="*/ 961231 w 1287387"/>
                    <a:gd name="connsiteY13" fmla="*/ 735013 h 1149350"/>
                    <a:gd name="connsiteX14" fmla="*/ 907257 w 1287387"/>
                    <a:gd name="connsiteY14" fmla="*/ 691357 h 1149350"/>
                    <a:gd name="connsiteX15" fmla="*/ 1277938 w 1287387"/>
                    <a:gd name="connsiteY15" fmla="*/ 413544 h 1149350"/>
                    <a:gd name="connsiteX16" fmla="*/ 1280319 w 1287387"/>
                    <a:gd name="connsiteY16" fmla="*/ 358776 h 1149350"/>
                    <a:gd name="connsiteX17" fmla="*/ 1158875 w 1287387"/>
                    <a:gd name="connsiteY17" fmla="*/ 277813 h 1149350"/>
                    <a:gd name="connsiteX18" fmla="*/ 1119981 w 1287387"/>
                    <a:gd name="connsiteY18" fmla="*/ 196851 h 1149350"/>
                    <a:gd name="connsiteX19" fmla="*/ 1066007 w 1287387"/>
                    <a:gd name="connsiteY19" fmla="*/ 218282 h 1149350"/>
                    <a:gd name="connsiteX20" fmla="*/ 954088 w 1287387"/>
                    <a:gd name="connsiteY20" fmla="*/ 230188 h 1149350"/>
                    <a:gd name="connsiteX21" fmla="*/ 904081 w 1287387"/>
                    <a:gd name="connsiteY21" fmla="*/ 75407 h 1149350"/>
                    <a:gd name="connsiteX22" fmla="*/ 868363 w 1287387"/>
                    <a:gd name="connsiteY22" fmla="*/ 94457 h 1149350"/>
                    <a:gd name="connsiteX23" fmla="*/ 785019 w 1287387"/>
                    <a:gd name="connsiteY23" fmla="*/ 70644 h 1149350"/>
                    <a:gd name="connsiteX24" fmla="*/ 782638 w 1287387"/>
                    <a:gd name="connsiteY24" fmla="*/ 23019 h 1149350"/>
                    <a:gd name="connsiteX25" fmla="*/ 677863 w 1287387"/>
                    <a:gd name="connsiteY25" fmla="*/ 0 h 1149350"/>
                    <a:gd name="connsiteX0" fmla="*/ 677863 w 1287387"/>
                    <a:gd name="connsiteY0" fmla="*/ 0 h 1149350"/>
                    <a:gd name="connsiteX1" fmla="*/ 244475 w 1287387"/>
                    <a:gd name="connsiteY1" fmla="*/ 49213 h 1149350"/>
                    <a:gd name="connsiteX2" fmla="*/ 0 w 1287387"/>
                    <a:gd name="connsiteY2" fmla="*/ 115888 h 1149350"/>
                    <a:gd name="connsiteX3" fmla="*/ 12700 w 1287387"/>
                    <a:gd name="connsiteY3" fmla="*/ 293688 h 1149350"/>
                    <a:gd name="connsiteX4" fmla="*/ 130175 w 1287387"/>
                    <a:gd name="connsiteY4" fmla="*/ 531813 h 1149350"/>
                    <a:gd name="connsiteX5" fmla="*/ 378619 w 1287387"/>
                    <a:gd name="connsiteY5" fmla="*/ 773906 h 1149350"/>
                    <a:gd name="connsiteX6" fmla="*/ 496093 w 1287387"/>
                    <a:gd name="connsiteY6" fmla="*/ 1008857 h 1149350"/>
                    <a:gd name="connsiteX7" fmla="*/ 511969 w 1287387"/>
                    <a:gd name="connsiteY7" fmla="*/ 1149350 h 1149350"/>
                    <a:gd name="connsiteX8" fmla="*/ 677069 w 1287387"/>
                    <a:gd name="connsiteY8" fmla="*/ 1146176 h 1149350"/>
                    <a:gd name="connsiteX9" fmla="*/ 839788 w 1287387"/>
                    <a:gd name="connsiteY9" fmla="*/ 1027907 h 1149350"/>
                    <a:gd name="connsiteX10" fmla="*/ 856456 w 1287387"/>
                    <a:gd name="connsiteY10" fmla="*/ 954088 h 1149350"/>
                    <a:gd name="connsiteX11" fmla="*/ 915987 w 1287387"/>
                    <a:gd name="connsiteY11" fmla="*/ 954088 h 1149350"/>
                    <a:gd name="connsiteX12" fmla="*/ 982663 w 1287387"/>
                    <a:gd name="connsiteY12" fmla="*/ 835026 h 1149350"/>
                    <a:gd name="connsiteX13" fmla="*/ 954088 w 1287387"/>
                    <a:gd name="connsiteY13" fmla="*/ 775494 h 1149350"/>
                    <a:gd name="connsiteX14" fmla="*/ 961231 w 1287387"/>
                    <a:gd name="connsiteY14" fmla="*/ 735013 h 1149350"/>
                    <a:gd name="connsiteX15" fmla="*/ 907257 w 1287387"/>
                    <a:gd name="connsiteY15" fmla="*/ 691357 h 1149350"/>
                    <a:gd name="connsiteX16" fmla="*/ 1277938 w 1287387"/>
                    <a:gd name="connsiteY16" fmla="*/ 413544 h 1149350"/>
                    <a:gd name="connsiteX17" fmla="*/ 1280319 w 1287387"/>
                    <a:gd name="connsiteY17" fmla="*/ 358776 h 1149350"/>
                    <a:gd name="connsiteX18" fmla="*/ 1158875 w 1287387"/>
                    <a:gd name="connsiteY18" fmla="*/ 277813 h 1149350"/>
                    <a:gd name="connsiteX19" fmla="*/ 1119981 w 1287387"/>
                    <a:gd name="connsiteY19" fmla="*/ 196851 h 1149350"/>
                    <a:gd name="connsiteX20" fmla="*/ 1066007 w 1287387"/>
                    <a:gd name="connsiteY20" fmla="*/ 218282 h 1149350"/>
                    <a:gd name="connsiteX21" fmla="*/ 954088 w 1287387"/>
                    <a:gd name="connsiteY21" fmla="*/ 230188 h 1149350"/>
                    <a:gd name="connsiteX22" fmla="*/ 904081 w 1287387"/>
                    <a:gd name="connsiteY22" fmla="*/ 75407 h 1149350"/>
                    <a:gd name="connsiteX23" fmla="*/ 868363 w 1287387"/>
                    <a:gd name="connsiteY23" fmla="*/ 94457 h 1149350"/>
                    <a:gd name="connsiteX24" fmla="*/ 785019 w 1287387"/>
                    <a:gd name="connsiteY24" fmla="*/ 70644 h 1149350"/>
                    <a:gd name="connsiteX25" fmla="*/ 782638 w 1287387"/>
                    <a:gd name="connsiteY25" fmla="*/ 23019 h 1149350"/>
                    <a:gd name="connsiteX26" fmla="*/ 677863 w 1287387"/>
                    <a:gd name="connsiteY26" fmla="*/ 0 h 1149350"/>
                    <a:gd name="connsiteX0" fmla="*/ 677863 w 1287387"/>
                    <a:gd name="connsiteY0" fmla="*/ 0 h 1160464"/>
                    <a:gd name="connsiteX1" fmla="*/ 244475 w 1287387"/>
                    <a:gd name="connsiteY1" fmla="*/ 49213 h 1160464"/>
                    <a:gd name="connsiteX2" fmla="*/ 0 w 1287387"/>
                    <a:gd name="connsiteY2" fmla="*/ 115888 h 1160464"/>
                    <a:gd name="connsiteX3" fmla="*/ 12700 w 1287387"/>
                    <a:gd name="connsiteY3" fmla="*/ 293688 h 1160464"/>
                    <a:gd name="connsiteX4" fmla="*/ 130175 w 1287387"/>
                    <a:gd name="connsiteY4" fmla="*/ 531813 h 1160464"/>
                    <a:gd name="connsiteX5" fmla="*/ 378619 w 1287387"/>
                    <a:gd name="connsiteY5" fmla="*/ 773906 h 1160464"/>
                    <a:gd name="connsiteX6" fmla="*/ 496093 w 1287387"/>
                    <a:gd name="connsiteY6" fmla="*/ 1008857 h 1160464"/>
                    <a:gd name="connsiteX7" fmla="*/ 511969 w 1287387"/>
                    <a:gd name="connsiteY7" fmla="*/ 1149350 h 1160464"/>
                    <a:gd name="connsiteX8" fmla="*/ 653256 w 1287387"/>
                    <a:gd name="connsiteY8" fmla="*/ 1160464 h 1160464"/>
                    <a:gd name="connsiteX9" fmla="*/ 839788 w 1287387"/>
                    <a:gd name="connsiteY9" fmla="*/ 1027907 h 1160464"/>
                    <a:gd name="connsiteX10" fmla="*/ 856456 w 1287387"/>
                    <a:gd name="connsiteY10" fmla="*/ 954088 h 1160464"/>
                    <a:gd name="connsiteX11" fmla="*/ 915987 w 1287387"/>
                    <a:gd name="connsiteY11" fmla="*/ 954088 h 1160464"/>
                    <a:gd name="connsiteX12" fmla="*/ 982663 w 1287387"/>
                    <a:gd name="connsiteY12" fmla="*/ 835026 h 1160464"/>
                    <a:gd name="connsiteX13" fmla="*/ 954088 w 1287387"/>
                    <a:gd name="connsiteY13" fmla="*/ 775494 h 1160464"/>
                    <a:gd name="connsiteX14" fmla="*/ 961231 w 1287387"/>
                    <a:gd name="connsiteY14" fmla="*/ 735013 h 1160464"/>
                    <a:gd name="connsiteX15" fmla="*/ 907257 w 1287387"/>
                    <a:gd name="connsiteY15" fmla="*/ 691357 h 1160464"/>
                    <a:gd name="connsiteX16" fmla="*/ 1277938 w 1287387"/>
                    <a:gd name="connsiteY16" fmla="*/ 413544 h 1160464"/>
                    <a:gd name="connsiteX17" fmla="*/ 1280319 w 1287387"/>
                    <a:gd name="connsiteY17" fmla="*/ 358776 h 1160464"/>
                    <a:gd name="connsiteX18" fmla="*/ 1158875 w 1287387"/>
                    <a:gd name="connsiteY18" fmla="*/ 277813 h 1160464"/>
                    <a:gd name="connsiteX19" fmla="*/ 1119981 w 1287387"/>
                    <a:gd name="connsiteY19" fmla="*/ 196851 h 1160464"/>
                    <a:gd name="connsiteX20" fmla="*/ 1066007 w 1287387"/>
                    <a:gd name="connsiteY20" fmla="*/ 218282 h 1160464"/>
                    <a:gd name="connsiteX21" fmla="*/ 954088 w 1287387"/>
                    <a:gd name="connsiteY21" fmla="*/ 230188 h 1160464"/>
                    <a:gd name="connsiteX22" fmla="*/ 904081 w 1287387"/>
                    <a:gd name="connsiteY22" fmla="*/ 75407 h 1160464"/>
                    <a:gd name="connsiteX23" fmla="*/ 868363 w 1287387"/>
                    <a:gd name="connsiteY23" fmla="*/ 94457 h 1160464"/>
                    <a:gd name="connsiteX24" fmla="*/ 785019 w 1287387"/>
                    <a:gd name="connsiteY24" fmla="*/ 70644 h 1160464"/>
                    <a:gd name="connsiteX25" fmla="*/ 782638 w 1287387"/>
                    <a:gd name="connsiteY25" fmla="*/ 23019 h 1160464"/>
                    <a:gd name="connsiteX26" fmla="*/ 677863 w 1287387"/>
                    <a:gd name="connsiteY26" fmla="*/ 0 h 1160464"/>
                    <a:gd name="connsiteX0" fmla="*/ 677863 w 1287387"/>
                    <a:gd name="connsiteY0" fmla="*/ 0 h 1160464"/>
                    <a:gd name="connsiteX1" fmla="*/ 244475 w 1287387"/>
                    <a:gd name="connsiteY1" fmla="*/ 49213 h 1160464"/>
                    <a:gd name="connsiteX2" fmla="*/ 0 w 1287387"/>
                    <a:gd name="connsiteY2" fmla="*/ 115888 h 1160464"/>
                    <a:gd name="connsiteX3" fmla="*/ 12700 w 1287387"/>
                    <a:gd name="connsiteY3" fmla="*/ 293688 h 1160464"/>
                    <a:gd name="connsiteX4" fmla="*/ 130175 w 1287387"/>
                    <a:gd name="connsiteY4" fmla="*/ 531813 h 1160464"/>
                    <a:gd name="connsiteX5" fmla="*/ 378619 w 1287387"/>
                    <a:gd name="connsiteY5" fmla="*/ 773906 h 1160464"/>
                    <a:gd name="connsiteX6" fmla="*/ 496093 w 1287387"/>
                    <a:gd name="connsiteY6" fmla="*/ 1008857 h 1160464"/>
                    <a:gd name="connsiteX7" fmla="*/ 511969 w 1287387"/>
                    <a:gd name="connsiteY7" fmla="*/ 1149350 h 1160464"/>
                    <a:gd name="connsiteX8" fmla="*/ 653256 w 1287387"/>
                    <a:gd name="connsiteY8" fmla="*/ 1160464 h 1160464"/>
                    <a:gd name="connsiteX9" fmla="*/ 751681 w 1287387"/>
                    <a:gd name="connsiteY9" fmla="*/ 1085057 h 1160464"/>
                    <a:gd name="connsiteX10" fmla="*/ 839788 w 1287387"/>
                    <a:gd name="connsiteY10" fmla="*/ 1027907 h 1160464"/>
                    <a:gd name="connsiteX11" fmla="*/ 856456 w 1287387"/>
                    <a:gd name="connsiteY11" fmla="*/ 954088 h 1160464"/>
                    <a:gd name="connsiteX12" fmla="*/ 915987 w 1287387"/>
                    <a:gd name="connsiteY12" fmla="*/ 954088 h 1160464"/>
                    <a:gd name="connsiteX13" fmla="*/ 982663 w 1287387"/>
                    <a:gd name="connsiteY13" fmla="*/ 835026 h 1160464"/>
                    <a:gd name="connsiteX14" fmla="*/ 954088 w 1287387"/>
                    <a:gd name="connsiteY14" fmla="*/ 775494 h 1160464"/>
                    <a:gd name="connsiteX15" fmla="*/ 961231 w 1287387"/>
                    <a:gd name="connsiteY15" fmla="*/ 735013 h 1160464"/>
                    <a:gd name="connsiteX16" fmla="*/ 907257 w 1287387"/>
                    <a:gd name="connsiteY16" fmla="*/ 691357 h 1160464"/>
                    <a:gd name="connsiteX17" fmla="*/ 1277938 w 1287387"/>
                    <a:gd name="connsiteY17" fmla="*/ 413544 h 1160464"/>
                    <a:gd name="connsiteX18" fmla="*/ 1280319 w 1287387"/>
                    <a:gd name="connsiteY18" fmla="*/ 358776 h 1160464"/>
                    <a:gd name="connsiteX19" fmla="*/ 1158875 w 1287387"/>
                    <a:gd name="connsiteY19" fmla="*/ 277813 h 1160464"/>
                    <a:gd name="connsiteX20" fmla="*/ 1119981 w 1287387"/>
                    <a:gd name="connsiteY20" fmla="*/ 196851 h 1160464"/>
                    <a:gd name="connsiteX21" fmla="*/ 1066007 w 1287387"/>
                    <a:gd name="connsiteY21" fmla="*/ 218282 h 1160464"/>
                    <a:gd name="connsiteX22" fmla="*/ 954088 w 1287387"/>
                    <a:gd name="connsiteY22" fmla="*/ 230188 h 1160464"/>
                    <a:gd name="connsiteX23" fmla="*/ 904081 w 1287387"/>
                    <a:gd name="connsiteY23" fmla="*/ 75407 h 1160464"/>
                    <a:gd name="connsiteX24" fmla="*/ 868363 w 1287387"/>
                    <a:gd name="connsiteY24" fmla="*/ 94457 h 1160464"/>
                    <a:gd name="connsiteX25" fmla="*/ 785019 w 1287387"/>
                    <a:gd name="connsiteY25" fmla="*/ 70644 h 1160464"/>
                    <a:gd name="connsiteX26" fmla="*/ 782638 w 1287387"/>
                    <a:gd name="connsiteY26" fmla="*/ 23019 h 1160464"/>
                    <a:gd name="connsiteX27" fmla="*/ 677863 w 1287387"/>
                    <a:gd name="connsiteY27" fmla="*/ 0 h 1160464"/>
                    <a:gd name="connsiteX0" fmla="*/ 677863 w 1287387"/>
                    <a:gd name="connsiteY0" fmla="*/ 0 h 1160464"/>
                    <a:gd name="connsiteX1" fmla="*/ 244475 w 1287387"/>
                    <a:gd name="connsiteY1" fmla="*/ 49213 h 1160464"/>
                    <a:gd name="connsiteX2" fmla="*/ 0 w 1287387"/>
                    <a:gd name="connsiteY2" fmla="*/ 115888 h 1160464"/>
                    <a:gd name="connsiteX3" fmla="*/ 12700 w 1287387"/>
                    <a:gd name="connsiteY3" fmla="*/ 293688 h 1160464"/>
                    <a:gd name="connsiteX4" fmla="*/ 130175 w 1287387"/>
                    <a:gd name="connsiteY4" fmla="*/ 531813 h 1160464"/>
                    <a:gd name="connsiteX5" fmla="*/ 378619 w 1287387"/>
                    <a:gd name="connsiteY5" fmla="*/ 773906 h 1160464"/>
                    <a:gd name="connsiteX6" fmla="*/ 463550 w 1287387"/>
                    <a:gd name="connsiteY6" fmla="*/ 954088 h 1160464"/>
                    <a:gd name="connsiteX7" fmla="*/ 496093 w 1287387"/>
                    <a:gd name="connsiteY7" fmla="*/ 1008857 h 1160464"/>
                    <a:gd name="connsiteX8" fmla="*/ 511969 w 1287387"/>
                    <a:gd name="connsiteY8" fmla="*/ 1149350 h 1160464"/>
                    <a:gd name="connsiteX9" fmla="*/ 653256 w 1287387"/>
                    <a:gd name="connsiteY9" fmla="*/ 1160464 h 1160464"/>
                    <a:gd name="connsiteX10" fmla="*/ 751681 w 1287387"/>
                    <a:gd name="connsiteY10" fmla="*/ 1085057 h 1160464"/>
                    <a:gd name="connsiteX11" fmla="*/ 839788 w 1287387"/>
                    <a:gd name="connsiteY11" fmla="*/ 1027907 h 1160464"/>
                    <a:gd name="connsiteX12" fmla="*/ 856456 w 1287387"/>
                    <a:gd name="connsiteY12" fmla="*/ 954088 h 1160464"/>
                    <a:gd name="connsiteX13" fmla="*/ 915987 w 1287387"/>
                    <a:gd name="connsiteY13" fmla="*/ 954088 h 1160464"/>
                    <a:gd name="connsiteX14" fmla="*/ 982663 w 1287387"/>
                    <a:gd name="connsiteY14" fmla="*/ 835026 h 1160464"/>
                    <a:gd name="connsiteX15" fmla="*/ 954088 w 1287387"/>
                    <a:gd name="connsiteY15" fmla="*/ 775494 h 1160464"/>
                    <a:gd name="connsiteX16" fmla="*/ 961231 w 1287387"/>
                    <a:gd name="connsiteY16" fmla="*/ 735013 h 1160464"/>
                    <a:gd name="connsiteX17" fmla="*/ 907257 w 1287387"/>
                    <a:gd name="connsiteY17" fmla="*/ 691357 h 1160464"/>
                    <a:gd name="connsiteX18" fmla="*/ 1277938 w 1287387"/>
                    <a:gd name="connsiteY18" fmla="*/ 413544 h 1160464"/>
                    <a:gd name="connsiteX19" fmla="*/ 1280319 w 1287387"/>
                    <a:gd name="connsiteY19" fmla="*/ 358776 h 1160464"/>
                    <a:gd name="connsiteX20" fmla="*/ 1158875 w 1287387"/>
                    <a:gd name="connsiteY20" fmla="*/ 277813 h 1160464"/>
                    <a:gd name="connsiteX21" fmla="*/ 1119981 w 1287387"/>
                    <a:gd name="connsiteY21" fmla="*/ 196851 h 1160464"/>
                    <a:gd name="connsiteX22" fmla="*/ 1066007 w 1287387"/>
                    <a:gd name="connsiteY22" fmla="*/ 218282 h 1160464"/>
                    <a:gd name="connsiteX23" fmla="*/ 954088 w 1287387"/>
                    <a:gd name="connsiteY23" fmla="*/ 230188 h 1160464"/>
                    <a:gd name="connsiteX24" fmla="*/ 904081 w 1287387"/>
                    <a:gd name="connsiteY24" fmla="*/ 75407 h 1160464"/>
                    <a:gd name="connsiteX25" fmla="*/ 868363 w 1287387"/>
                    <a:gd name="connsiteY25" fmla="*/ 94457 h 1160464"/>
                    <a:gd name="connsiteX26" fmla="*/ 785019 w 1287387"/>
                    <a:gd name="connsiteY26" fmla="*/ 70644 h 1160464"/>
                    <a:gd name="connsiteX27" fmla="*/ 782638 w 1287387"/>
                    <a:gd name="connsiteY27" fmla="*/ 23019 h 1160464"/>
                    <a:gd name="connsiteX28" fmla="*/ 677863 w 1287387"/>
                    <a:gd name="connsiteY28" fmla="*/ 0 h 1160464"/>
                    <a:gd name="connsiteX0" fmla="*/ 677863 w 1287387"/>
                    <a:gd name="connsiteY0" fmla="*/ 0 h 1160464"/>
                    <a:gd name="connsiteX1" fmla="*/ 244475 w 1287387"/>
                    <a:gd name="connsiteY1" fmla="*/ 49213 h 1160464"/>
                    <a:gd name="connsiteX2" fmla="*/ 0 w 1287387"/>
                    <a:gd name="connsiteY2" fmla="*/ 115888 h 1160464"/>
                    <a:gd name="connsiteX3" fmla="*/ 12700 w 1287387"/>
                    <a:gd name="connsiteY3" fmla="*/ 293688 h 1160464"/>
                    <a:gd name="connsiteX4" fmla="*/ 130175 w 1287387"/>
                    <a:gd name="connsiteY4" fmla="*/ 531813 h 1160464"/>
                    <a:gd name="connsiteX5" fmla="*/ 265906 w 1287387"/>
                    <a:gd name="connsiteY5" fmla="*/ 656432 h 1160464"/>
                    <a:gd name="connsiteX6" fmla="*/ 378619 w 1287387"/>
                    <a:gd name="connsiteY6" fmla="*/ 773906 h 1160464"/>
                    <a:gd name="connsiteX7" fmla="*/ 463550 w 1287387"/>
                    <a:gd name="connsiteY7" fmla="*/ 954088 h 1160464"/>
                    <a:gd name="connsiteX8" fmla="*/ 496093 w 1287387"/>
                    <a:gd name="connsiteY8" fmla="*/ 1008857 h 1160464"/>
                    <a:gd name="connsiteX9" fmla="*/ 511969 w 1287387"/>
                    <a:gd name="connsiteY9" fmla="*/ 1149350 h 1160464"/>
                    <a:gd name="connsiteX10" fmla="*/ 653256 w 1287387"/>
                    <a:gd name="connsiteY10" fmla="*/ 1160464 h 1160464"/>
                    <a:gd name="connsiteX11" fmla="*/ 751681 w 1287387"/>
                    <a:gd name="connsiteY11" fmla="*/ 1085057 h 1160464"/>
                    <a:gd name="connsiteX12" fmla="*/ 839788 w 1287387"/>
                    <a:gd name="connsiteY12" fmla="*/ 1027907 h 1160464"/>
                    <a:gd name="connsiteX13" fmla="*/ 856456 w 1287387"/>
                    <a:gd name="connsiteY13" fmla="*/ 954088 h 1160464"/>
                    <a:gd name="connsiteX14" fmla="*/ 915987 w 1287387"/>
                    <a:gd name="connsiteY14" fmla="*/ 954088 h 1160464"/>
                    <a:gd name="connsiteX15" fmla="*/ 982663 w 1287387"/>
                    <a:gd name="connsiteY15" fmla="*/ 835026 h 1160464"/>
                    <a:gd name="connsiteX16" fmla="*/ 954088 w 1287387"/>
                    <a:gd name="connsiteY16" fmla="*/ 775494 h 1160464"/>
                    <a:gd name="connsiteX17" fmla="*/ 961231 w 1287387"/>
                    <a:gd name="connsiteY17" fmla="*/ 735013 h 1160464"/>
                    <a:gd name="connsiteX18" fmla="*/ 907257 w 1287387"/>
                    <a:gd name="connsiteY18" fmla="*/ 691357 h 1160464"/>
                    <a:gd name="connsiteX19" fmla="*/ 1277938 w 1287387"/>
                    <a:gd name="connsiteY19" fmla="*/ 413544 h 1160464"/>
                    <a:gd name="connsiteX20" fmla="*/ 1280319 w 1287387"/>
                    <a:gd name="connsiteY20" fmla="*/ 358776 h 1160464"/>
                    <a:gd name="connsiteX21" fmla="*/ 1158875 w 1287387"/>
                    <a:gd name="connsiteY21" fmla="*/ 277813 h 1160464"/>
                    <a:gd name="connsiteX22" fmla="*/ 1119981 w 1287387"/>
                    <a:gd name="connsiteY22" fmla="*/ 196851 h 1160464"/>
                    <a:gd name="connsiteX23" fmla="*/ 1066007 w 1287387"/>
                    <a:gd name="connsiteY23" fmla="*/ 218282 h 1160464"/>
                    <a:gd name="connsiteX24" fmla="*/ 954088 w 1287387"/>
                    <a:gd name="connsiteY24" fmla="*/ 230188 h 1160464"/>
                    <a:gd name="connsiteX25" fmla="*/ 904081 w 1287387"/>
                    <a:gd name="connsiteY25" fmla="*/ 75407 h 1160464"/>
                    <a:gd name="connsiteX26" fmla="*/ 868363 w 1287387"/>
                    <a:gd name="connsiteY26" fmla="*/ 94457 h 1160464"/>
                    <a:gd name="connsiteX27" fmla="*/ 785019 w 1287387"/>
                    <a:gd name="connsiteY27" fmla="*/ 70644 h 1160464"/>
                    <a:gd name="connsiteX28" fmla="*/ 782638 w 1287387"/>
                    <a:gd name="connsiteY28" fmla="*/ 23019 h 1160464"/>
                    <a:gd name="connsiteX29" fmla="*/ 677863 w 1287387"/>
                    <a:gd name="connsiteY29" fmla="*/ 0 h 1160464"/>
                    <a:gd name="connsiteX0" fmla="*/ 677863 w 1287387"/>
                    <a:gd name="connsiteY0" fmla="*/ 0 h 1160464"/>
                    <a:gd name="connsiteX1" fmla="*/ 244475 w 1287387"/>
                    <a:gd name="connsiteY1" fmla="*/ 49213 h 1160464"/>
                    <a:gd name="connsiteX2" fmla="*/ 0 w 1287387"/>
                    <a:gd name="connsiteY2" fmla="*/ 115888 h 1160464"/>
                    <a:gd name="connsiteX3" fmla="*/ 12700 w 1287387"/>
                    <a:gd name="connsiteY3" fmla="*/ 293688 h 1160464"/>
                    <a:gd name="connsiteX4" fmla="*/ 130175 w 1287387"/>
                    <a:gd name="connsiteY4" fmla="*/ 531813 h 1160464"/>
                    <a:gd name="connsiteX5" fmla="*/ 265906 w 1287387"/>
                    <a:gd name="connsiteY5" fmla="*/ 656432 h 1160464"/>
                    <a:gd name="connsiteX6" fmla="*/ 337344 w 1287387"/>
                    <a:gd name="connsiteY6" fmla="*/ 701676 h 1160464"/>
                    <a:gd name="connsiteX7" fmla="*/ 378619 w 1287387"/>
                    <a:gd name="connsiteY7" fmla="*/ 773906 h 1160464"/>
                    <a:gd name="connsiteX8" fmla="*/ 463550 w 1287387"/>
                    <a:gd name="connsiteY8" fmla="*/ 954088 h 1160464"/>
                    <a:gd name="connsiteX9" fmla="*/ 496093 w 1287387"/>
                    <a:gd name="connsiteY9" fmla="*/ 1008857 h 1160464"/>
                    <a:gd name="connsiteX10" fmla="*/ 511969 w 1287387"/>
                    <a:gd name="connsiteY10" fmla="*/ 1149350 h 1160464"/>
                    <a:gd name="connsiteX11" fmla="*/ 653256 w 1287387"/>
                    <a:gd name="connsiteY11" fmla="*/ 1160464 h 1160464"/>
                    <a:gd name="connsiteX12" fmla="*/ 751681 w 1287387"/>
                    <a:gd name="connsiteY12" fmla="*/ 1085057 h 1160464"/>
                    <a:gd name="connsiteX13" fmla="*/ 839788 w 1287387"/>
                    <a:gd name="connsiteY13" fmla="*/ 1027907 h 1160464"/>
                    <a:gd name="connsiteX14" fmla="*/ 856456 w 1287387"/>
                    <a:gd name="connsiteY14" fmla="*/ 954088 h 1160464"/>
                    <a:gd name="connsiteX15" fmla="*/ 915987 w 1287387"/>
                    <a:gd name="connsiteY15" fmla="*/ 954088 h 1160464"/>
                    <a:gd name="connsiteX16" fmla="*/ 982663 w 1287387"/>
                    <a:gd name="connsiteY16" fmla="*/ 835026 h 1160464"/>
                    <a:gd name="connsiteX17" fmla="*/ 954088 w 1287387"/>
                    <a:gd name="connsiteY17" fmla="*/ 775494 h 1160464"/>
                    <a:gd name="connsiteX18" fmla="*/ 961231 w 1287387"/>
                    <a:gd name="connsiteY18" fmla="*/ 735013 h 1160464"/>
                    <a:gd name="connsiteX19" fmla="*/ 907257 w 1287387"/>
                    <a:gd name="connsiteY19" fmla="*/ 691357 h 1160464"/>
                    <a:gd name="connsiteX20" fmla="*/ 1277938 w 1287387"/>
                    <a:gd name="connsiteY20" fmla="*/ 413544 h 1160464"/>
                    <a:gd name="connsiteX21" fmla="*/ 1280319 w 1287387"/>
                    <a:gd name="connsiteY21" fmla="*/ 358776 h 1160464"/>
                    <a:gd name="connsiteX22" fmla="*/ 1158875 w 1287387"/>
                    <a:gd name="connsiteY22" fmla="*/ 277813 h 1160464"/>
                    <a:gd name="connsiteX23" fmla="*/ 1119981 w 1287387"/>
                    <a:gd name="connsiteY23" fmla="*/ 196851 h 1160464"/>
                    <a:gd name="connsiteX24" fmla="*/ 1066007 w 1287387"/>
                    <a:gd name="connsiteY24" fmla="*/ 218282 h 1160464"/>
                    <a:gd name="connsiteX25" fmla="*/ 954088 w 1287387"/>
                    <a:gd name="connsiteY25" fmla="*/ 230188 h 1160464"/>
                    <a:gd name="connsiteX26" fmla="*/ 904081 w 1287387"/>
                    <a:gd name="connsiteY26" fmla="*/ 75407 h 1160464"/>
                    <a:gd name="connsiteX27" fmla="*/ 868363 w 1287387"/>
                    <a:gd name="connsiteY27" fmla="*/ 94457 h 1160464"/>
                    <a:gd name="connsiteX28" fmla="*/ 785019 w 1287387"/>
                    <a:gd name="connsiteY28" fmla="*/ 70644 h 1160464"/>
                    <a:gd name="connsiteX29" fmla="*/ 782638 w 1287387"/>
                    <a:gd name="connsiteY29" fmla="*/ 23019 h 1160464"/>
                    <a:gd name="connsiteX30" fmla="*/ 677863 w 1287387"/>
                    <a:gd name="connsiteY30" fmla="*/ 0 h 1160464"/>
                    <a:gd name="connsiteX0" fmla="*/ 677863 w 1287387"/>
                    <a:gd name="connsiteY0" fmla="*/ 0 h 1160464"/>
                    <a:gd name="connsiteX1" fmla="*/ 244475 w 1287387"/>
                    <a:gd name="connsiteY1" fmla="*/ 49213 h 1160464"/>
                    <a:gd name="connsiteX2" fmla="*/ 0 w 1287387"/>
                    <a:gd name="connsiteY2" fmla="*/ 115888 h 1160464"/>
                    <a:gd name="connsiteX3" fmla="*/ 12700 w 1287387"/>
                    <a:gd name="connsiteY3" fmla="*/ 293688 h 1160464"/>
                    <a:gd name="connsiteX4" fmla="*/ 130175 w 1287387"/>
                    <a:gd name="connsiteY4" fmla="*/ 531813 h 1160464"/>
                    <a:gd name="connsiteX5" fmla="*/ 265906 w 1287387"/>
                    <a:gd name="connsiteY5" fmla="*/ 656432 h 1160464"/>
                    <a:gd name="connsiteX6" fmla="*/ 337344 w 1287387"/>
                    <a:gd name="connsiteY6" fmla="*/ 701676 h 1160464"/>
                    <a:gd name="connsiteX7" fmla="*/ 378619 w 1287387"/>
                    <a:gd name="connsiteY7" fmla="*/ 773906 h 1160464"/>
                    <a:gd name="connsiteX8" fmla="*/ 463550 w 1287387"/>
                    <a:gd name="connsiteY8" fmla="*/ 954088 h 1160464"/>
                    <a:gd name="connsiteX9" fmla="*/ 496093 w 1287387"/>
                    <a:gd name="connsiteY9" fmla="*/ 1008857 h 1160464"/>
                    <a:gd name="connsiteX10" fmla="*/ 511969 w 1287387"/>
                    <a:gd name="connsiteY10" fmla="*/ 1149350 h 1160464"/>
                    <a:gd name="connsiteX11" fmla="*/ 653256 w 1287387"/>
                    <a:gd name="connsiteY11" fmla="*/ 1160464 h 1160464"/>
                    <a:gd name="connsiteX12" fmla="*/ 751681 w 1287387"/>
                    <a:gd name="connsiteY12" fmla="*/ 1085057 h 1160464"/>
                    <a:gd name="connsiteX13" fmla="*/ 839788 w 1287387"/>
                    <a:gd name="connsiteY13" fmla="*/ 1027907 h 1160464"/>
                    <a:gd name="connsiteX14" fmla="*/ 856456 w 1287387"/>
                    <a:gd name="connsiteY14" fmla="*/ 954088 h 1160464"/>
                    <a:gd name="connsiteX15" fmla="*/ 915987 w 1287387"/>
                    <a:gd name="connsiteY15" fmla="*/ 954088 h 1160464"/>
                    <a:gd name="connsiteX16" fmla="*/ 982663 w 1287387"/>
                    <a:gd name="connsiteY16" fmla="*/ 835026 h 1160464"/>
                    <a:gd name="connsiteX17" fmla="*/ 954088 w 1287387"/>
                    <a:gd name="connsiteY17" fmla="*/ 775494 h 1160464"/>
                    <a:gd name="connsiteX18" fmla="*/ 961231 w 1287387"/>
                    <a:gd name="connsiteY18" fmla="*/ 735013 h 1160464"/>
                    <a:gd name="connsiteX19" fmla="*/ 907257 w 1287387"/>
                    <a:gd name="connsiteY19" fmla="*/ 691357 h 1160464"/>
                    <a:gd name="connsiteX20" fmla="*/ 1277938 w 1287387"/>
                    <a:gd name="connsiteY20" fmla="*/ 413544 h 1160464"/>
                    <a:gd name="connsiteX21" fmla="*/ 1280319 w 1287387"/>
                    <a:gd name="connsiteY21" fmla="*/ 358776 h 1160464"/>
                    <a:gd name="connsiteX22" fmla="*/ 1158875 w 1287387"/>
                    <a:gd name="connsiteY22" fmla="*/ 277813 h 1160464"/>
                    <a:gd name="connsiteX23" fmla="*/ 1119981 w 1287387"/>
                    <a:gd name="connsiteY23" fmla="*/ 196851 h 1160464"/>
                    <a:gd name="connsiteX24" fmla="*/ 1066007 w 1287387"/>
                    <a:gd name="connsiteY24" fmla="*/ 218282 h 1160464"/>
                    <a:gd name="connsiteX25" fmla="*/ 954088 w 1287387"/>
                    <a:gd name="connsiteY25" fmla="*/ 230188 h 1160464"/>
                    <a:gd name="connsiteX26" fmla="*/ 904081 w 1287387"/>
                    <a:gd name="connsiteY26" fmla="*/ 75407 h 1160464"/>
                    <a:gd name="connsiteX27" fmla="*/ 868363 w 1287387"/>
                    <a:gd name="connsiteY27" fmla="*/ 94457 h 1160464"/>
                    <a:gd name="connsiteX28" fmla="*/ 811213 w 1287387"/>
                    <a:gd name="connsiteY28" fmla="*/ 99219 h 1160464"/>
                    <a:gd name="connsiteX29" fmla="*/ 785019 w 1287387"/>
                    <a:gd name="connsiteY29" fmla="*/ 70644 h 1160464"/>
                    <a:gd name="connsiteX30" fmla="*/ 782638 w 1287387"/>
                    <a:gd name="connsiteY30" fmla="*/ 23019 h 1160464"/>
                    <a:gd name="connsiteX31" fmla="*/ 677863 w 1287387"/>
                    <a:gd name="connsiteY31" fmla="*/ 0 h 116046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</a:cxnLst>
                  <a:rect l="l" t="t" r="r" b="b"/>
                  <a:pathLst>
                    <a:path w="1287387" h="1160464">
                      <a:moveTo>
                        <a:pt x="677863" y="0"/>
                      </a:moveTo>
                      <a:lnTo>
                        <a:pt x="244475" y="49213"/>
                      </a:lnTo>
                      <a:lnTo>
                        <a:pt x="0" y="115888"/>
                      </a:lnTo>
                      <a:lnTo>
                        <a:pt x="12700" y="293688"/>
                      </a:lnTo>
                      <a:lnTo>
                        <a:pt x="130175" y="531813"/>
                      </a:lnTo>
                      <a:cubicBezTo>
                        <a:pt x="168804" y="594652"/>
                        <a:pt x="224499" y="616083"/>
                        <a:pt x="265906" y="656432"/>
                      </a:cubicBezTo>
                      <a:cubicBezTo>
                        <a:pt x="300037" y="687124"/>
                        <a:pt x="318559" y="682097"/>
                        <a:pt x="337344" y="701676"/>
                      </a:cubicBezTo>
                      <a:cubicBezTo>
                        <a:pt x="356130" y="721255"/>
                        <a:pt x="357585" y="731837"/>
                        <a:pt x="378619" y="773906"/>
                      </a:cubicBezTo>
                      <a:cubicBezTo>
                        <a:pt x="399653" y="815975"/>
                        <a:pt x="443971" y="914930"/>
                        <a:pt x="463550" y="954088"/>
                      </a:cubicBezTo>
                      <a:cubicBezTo>
                        <a:pt x="483129" y="993246"/>
                        <a:pt x="487626" y="979488"/>
                        <a:pt x="496093" y="1008857"/>
                      </a:cubicBezTo>
                      <a:lnTo>
                        <a:pt x="511969" y="1149350"/>
                      </a:lnTo>
                      <a:lnTo>
                        <a:pt x="653256" y="1160464"/>
                      </a:lnTo>
                      <a:cubicBezTo>
                        <a:pt x="695986" y="1150542"/>
                        <a:pt x="720592" y="1107150"/>
                        <a:pt x="751681" y="1085057"/>
                      </a:cubicBezTo>
                      <a:cubicBezTo>
                        <a:pt x="782770" y="1062964"/>
                        <a:pt x="825104" y="1050529"/>
                        <a:pt x="839788" y="1027907"/>
                      </a:cubicBezTo>
                      <a:cubicBezTo>
                        <a:pt x="854472" y="1005285"/>
                        <a:pt x="835025" y="966788"/>
                        <a:pt x="856456" y="954088"/>
                      </a:cubicBezTo>
                      <a:lnTo>
                        <a:pt x="915987" y="954088"/>
                      </a:lnTo>
                      <a:cubicBezTo>
                        <a:pt x="960569" y="901833"/>
                        <a:pt x="975122" y="871539"/>
                        <a:pt x="982663" y="835026"/>
                      </a:cubicBezTo>
                      <a:cubicBezTo>
                        <a:pt x="992188" y="804864"/>
                        <a:pt x="957660" y="792163"/>
                        <a:pt x="954088" y="775494"/>
                      </a:cubicBezTo>
                      <a:cubicBezTo>
                        <a:pt x="950516" y="758825"/>
                        <a:pt x="972211" y="748639"/>
                        <a:pt x="961231" y="735013"/>
                      </a:cubicBezTo>
                      <a:lnTo>
                        <a:pt x="907257" y="691357"/>
                      </a:lnTo>
                      <a:lnTo>
                        <a:pt x="1277938" y="413544"/>
                      </a:lnTo>
                      <a:cubicBezTo>
                        <a:pt x="1252538" y="377825"/>
                        <a:pt x="1305719" y="394495"/>
                        <a:pt x="1280319" y="358776"/>
                      </a:cubicBezTo>
                      <a:cubicBezTo>
                        <a:pt x="1246981" y="326232"/>
                        <a:pt x="1192213" y="310357"/>
                        <a:pt x="1158875" y="277813"/>
                      </a:cubicBezTo>
                      <a:lnTo>
                        <a:pt x="1119981" y="196851"/>
                      </a:lnTo>
                      <a:lnTo>
                        <a:pt x="1066007" y="218282"/>
                      </a:lnTo>
                      <a:cubicBezTo>
                        <a:pt x="1041136" y="215107"/>
                        <a:pt x="974329" y="236935"/>
                        <a:pt x="954088" y="230188"/>
                      </a:cubicBezTo>
                      <a:cubicBezTo>
                        <a:pt x="933847" y="223441"/>
                        <a:pt x="922337" y="77391"/>
                        <a:pt x="904081" y="75407"/>
                      </a:cubicBezTo>
                      <a:cubicBezTo>
                        <a:pt x="885825" y="73423"/>
                        <a:pt x="882253" y="93266"/>
                        <a:pt x="868363" y="94457"/>
                      </a:cubicBezTo>
                      <a:cubicBezTo>
                        <a:pt x="854473" y="95648"/>
                        <a:pt x="825104" y="103188"/>
                        <a:pt x="811213" y="99219"/>
                      </a:cubicBezTo>
                      <a:cubicBezTo>
                        <a:pt x="797322" y="95250"/>
                        <a:pt x="791369" y="80566"/>
                        <a:pt x="785019" y="70644"/>
                      </a:cubicBezTo>
                      <a:cubicBezTo>
                        <a:pt x="778669" y="60722"/>
                        <a:pt x="815182" y="32412"/>
                        <a:pt x="782638" y="23019"/>
                      </a:cubicBezTo>
                      <a:lnTo>
                        <a:pt x="677863" y="0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7" name="Freeform 96"/>
                <p:cNvSpPr/>
                <p:nvPr/>
              </p:nvSpPr>
              <p:spPr>
                <a:xfrm>
                  <a:off x="2686050" y="3750469"/>
                  <a:ext cx="1993106" cy="1788318"/>
                </a:xfrm>
                <a:custGeom>
                  <a:avLst/>
                  <a:gdLst>
                    <a:gd name="connsiteX0" fmla="*/ 1104900 w 2143125"/>
                    <a:gd name="connsiteY0" fmla="*/ 0 h 1962150"/>
                    <a:gd name="connsiteX1" fmla="*/ 323850 w 2143125"/>
                    <a:gd name="connsiteY1" fmla="*/ 57150 h 1962150"/>
                    <a:gd name="connsiteX2" fmla="*/ 0 w 2143125"/>
                    <a:gd name="connsiteY2" fmla="*/ 409575 h 1962150"/>
                    <a:gd name="connsiteX3" fmla="*/ 47625 w 2143125"/>
                    <a:gd name="connsiteY3" fmla="*/ 1276350 h 1962150"/>
                    <a:gd name="connsiteX4" fmla="*/ 114300 w 2143125"/>
                    <a:gd name="connsiteY4" fmla="*/ 1514475 h 1962150"/>
                    <a:gd name="connsiteX5" fmla="*/ 1343025 w 2143125"/>
                    <a:gd name="connsiteY5" fmla="*/ 1962150 h 1962150"/>
                    <a:gd name="connsiteX6" fmla="*/ 1619250 w 2143125"/>
                    <a:gd name="connsiteY6" fmla="*/ 1800225 h 1962150"/>
                    <a:gd name="connsiteX7" fmla="*/ 1485900 w 2143125"/>
                    <a:gd name="connsiteY7" fmla="*/ 1485900 h 1962150"/>
                    <a:gd name="connsiteX8" fmla="*/ 1790700 w 2143125"/>
                    <a:gd name="connsiteY8" fmla="*/ 1343025 h 1962150"/>
                    <a:gd name="connsiteX9" fmla="*/ 2038350 w 2143125"/>
                    <a:gd name="connsiteY9" fmla="*/ 1066800 h 1962150"/>
                    <a:gd name="connsiteX10" fmla="*/ 2143125 w 2143125"/>
                    <a:gd name="connsiteY10" fmla="*/ 733425 h 1962150"/>
                    <a:gd name="connsiteX11" fmla="*/ 1895475 w 2143125"/>
                    <a:gd name="connsiteY11" fmla="*/ 590550 h 1962150"/>
                    <a:gd name="connsiteX12" fmla="*/ 1533525 w 2143125"/>
                    <a:gd name="connsiteY12" fmla="*/ 514350 h 1962150"/>
                    <a:gd name="connsiteX13" fmla="*/ 1333500 w 2143125"/>
                    <a:gd name="connsiteY13" fmla="*/ 342900 h 1962150"/>
                    <a:gd name="connsiteX14" fmla="*/ 1104900 w 2143125"/>
                    <a:gd name="connsiteY14" fmla="*/ 0 h 1962150"/>
                    <a:gd name="connsiteX0" fmla="*/ 1104900 w 2143125"/>
                    <a:gd name="connsiteY0" fmla="*/ 0 h 1962150"/>
                    <a:gd name="connsiteX1" fmla="*/ 333375 w 2143125"/>
                    <a:gd name="connsiteY1" fmla="*/ 120650 h 1962150"/>
                    <a:gd name="connsiteX2" fmla="*/ 0 w 2143125"/>
                    <a:gd name="connsiteY2" fmla="*/ 409575 h 1962150"/>
                    <a:gd name="connsiteX3" fmla="*/ 47625 w 2143125"/>
                    <a:gd name="connsiteY3" fmla="*/ 1276350 h 1962150"/>
                    <a:gd name="connsiteX4" fmla="*/ 114300 w 2143125"/>
                    <a:gd name="connsiteY4" fmla="*/ 1514475 h 1962150"/>
                    <a:gd name="connsiteX5" fmla="*/ 1343025 w 2143125"/>
                    <a:gd name="connsiteY5" fmla="*/ 1962150 h 1962150"/>
                    <a:gd name="connsiteX6" fmla="*/ 1619250 w 2143125"/>
                    <a:gd name="connsiteY6" fmla="*/ 1800225 h 1962150"/>
                    <a:gd name="connsiteX7" fmla="*/ 1485900 w 2143125"/>
                    <a:gd name="connsiteY7" fmla="*/ 1485900 h 1962150"/>
                    <a:gd name="connsiteX8" fmla="*/ 1790700 w 2143125"/>
                    <a:gd name="connsiteY8" fmla="*/ 1343025 h 1962150"/>
                    <a:gd name="connsiteX9" fmla="*/ 2038350 w 2143125"/>
                    <a:gd name="connsiteY9" fmla="*/ 1066800 h 1962150"/>
                    <a:gd name="connsiteX10" fmla="*/ 2143125 w 2143125"/>
                    <a:gd name="connsiteY10" fmla="*/ 733425 h 1962150"/>
                    <a:gd name="connsiteX11" fmla="*/ 1895475 w 2143125"/>
                    <a:gd name="connsiteY11" fmla="*/ 590550 h 1962150"/>
                    <a:gd name="connsiteX12" fmla="*/ 1533525 w 2143125"/>
                    <a:gd name="connsiteY12" fmla="*/ 514350 h 1962150"/>
                    <a:gd name="connsiteX13" fmla="*/ 1333500 w 2143125"/>
                    <a:gd name="connsiteY13" fmla="*/ 342900 h 1962150"/>
                    <a:gd name="connsiteX14" fmla="*/ 1104900 w 2143125"/>
                    <a:gd name="connsiteY14" fmla="*/ 0 h 1962150"/>
                    <a:gd name="connsiteX0" fmla="*/ 1104900 w 2143125"/>
                    <a:gd name="connsiteY0" fmla="*/ 0 h 1962150"/>
                    <a:gd name="connsiteX1" fmla="*/ 479425 w 2143125"/>
                    <a:gd name="connsiteY1" fmla="*/ 98425 h 1962150"/>
                    <a:gd name="connsiteX2" fmla="*/ 333375 w 2143125"/>
                    <a:gd name="connsiteY2" fmla="*/ 120650 h 1962150"/>
                    <a:gd name="connsiteX3" fmla="*/ 0 w 2143125"/>
                    <a:gd name="connsiteY3" fmla="*/ 409575 h 1962150"/>
                    <a:gd name="connsiteX4" fmla="*/ 47625 w 2143125"/>
                    <a:gd name="connsiteY4" fmla="*/ 1276350 h 1962150"/>
                    <a:gd name="connsiteX5" fmla="*/ 114300 w 2143125"/>
                    <a:gd name="connsiteY5" fmla="*/ 1514475 h 1962150"/>
                    <a:gd name="connsiteX6" fmla="*/ 1343025 w 2143125"/>
                    <a:gd name="connsiteY6" fmla="*/ 1962150 h 1962150"/>
                    <a:gd name="connsiteX7" fmla="*/ 1619250 w 2143125"/>
                    <a:gd name="connsiteY7" fmla="*/ 1800225 h 1962150"/>
                    <a:gd name="connsiteX8" fmla="*/ 1485900 w 2143125"/>
                    <a:gd name="connsiteY8" fmla="*/ 1485900 h 1962150"/>
                    <a:gd name="connsiteX9" fmla="*/ 1790700 w 2143125"/>
                    <a:gd name="connsiteY9" fmla="*/ 1343025 h 1962150"/>
                    <a:gd name="connsiteX10" fmla="*/ 2038350 w 2143125"/>
                    <a:gd name="connsiteY10" fmla="*/ 1066800 h 1962150"/>
                    <a:gd name="connsiteX11" fmla="*/ 2143125 w 2143125"/>
                    <a:gd name="connsiteY11" fmla="*/ 733425 h 1962150"/>
                    <a:gd name="connsiteX12" fmla="*/ 1895475 w 2143125"/>
                    <a:gd name="connsiteY12" fmla="*/ 590550 h 1962150"/>
                    <a:gd name="connsiteX13" fmla="*/ 1533525 w 2143125"/>
                    <a:gd name="connsiteY13" fmla="*/ 514350 h 1962150"/>
                    <a:gd name="connsiteX14" fmla="*/ 1333500 w 2143125"/>
                    <a:gd name="connsiteY14" fmla="*/ 342900 h 1962150"/>
                    <a:gd name="connsiteX15" fmla="*/ 1104900 w 2143125"/>
                    <a:gd name="connsiteY15" fmla="*/ 0 h 1962150"/>
                    <a:gd name="connsiteX0" fmla="*/ 1104900 w 2143125"/>
                    <a:gd name="connsiteY0" fmla="*/ 0 h 1962150"/>
                    <a:gd name="connsiteX1" fmla="*/ 422275 w 2143125"/>
                    <a:gd name="connsiteY1" fmla="*/ 193675 h 1962150"/>
                    <a:gd name="connsiteX2" fmla="*/ 333375 w 2143125"/>
                    <a:gd name="connsiteY2" fmla="*/ 120650 h 1962150"/>
                    <a:gd name="connsiteX3" fmla="*/ 0 w 2143125"/>
                    <a:gd name="connsiteY3" fmla="*/ 409575 h 1962150"/>
                    <a:gd name="connsiteX4" fmla="*/ 47625 w 2143125"/>
                    <a:gd name="connsiteY4" fmla="*/ 1276350 h 1962150"/>
                    <a:gd name="connsiteX5" fmla="*/ 114300 w 2143125"/>
                    <a:gd name="connsiteY5" fmla="*/ 1514475 h 1962150"/>
                    <a:gd name="connsiteX6" fmla="*/ 1343025 w 2143125"/>
                    <a:gd name="connsiteY6" fmla="*/ 1962150 h 1962150"/>
                    <a:gd name="connsiteX7" fmla="*/ 1619250 w 2143125"/>
                    <a:gd name="connsiteY7" fmla="*/ 1800225 h 1962150"/>
                    <a:gd name="connsiteX8" fmla="*/ 1485900 w 2143125"/>
                    <a:gd name="connsiteY8" fmla="*/ 1485900 h 1962150"/>
                    <a:gd name="connsiteX9" fmla="*/ 1790700 w 2143125"/>
                    <a:gd name="connsiteY9" fmla="*/ 1343025 h 1962150"/>
                    <a:gd name="connsiteX10" fmla="*/ 2038350 w 2143125"/>
                    <a:gd name="connsiteY10" fmla="*/ 1066800 h 1962150"/>
                    <a:gd name="connsiteX11" fmla="*/ 2143125 w 2143125"/>
                    <a:gd name="connsiteY11" fmla="*/ 733425 h 1962150"/>
                    <a:gd name="connsiteX12" fmla="*/ 1895475 w 2143125"/>
                    <a:gd name="connsiteY12" fmla="*/ 590550 h 1962150"/>
                    <a:gd name="connsiteX13" fmla="*/ 1533525 w 2143125"/>
                    <a:gd name="connsiteY13" fmla="*/ 514350 h 1962150"/>
                    <a:gd name="connsiteX14" fmla="*/ 1333500 w 2143125"/>
                    <a:gd name="connsiteY14" fmla="*/ 342900 h 1962150"/>
                    <a:gd name="connsiteX15" fmla="*/ 1104900 w 2143125"/>
                    <a:gd name="connsiteY15" fmla="*/ 0 h 1962150"/>
                    <a:gd name="connsiteX0" fmla="*/ 1104900 w 2143125"/>
                    <a:gd name="connsiteY0" fmla="*/ 0 h 1962150"/>
                    <a:gd name="connsiteX1" fmla="*/ 702469 w 2143125"/>
                    <a:gd name="connsiteY1" fmla="*/ 116681 h 1962150"/>
                    <a:gd name="connsiteX2" fmla="*/ 422275 w 2143125"/>
                    <a:gd name="connsiteY2" fmla="*/ 193675 h 1962150"/>
                    <a:gd name="connsiteX3" fmla="*/ 333375 w 2143125"/>
                    <a:gd name="connsiteY3" fmla="*/ 120650 h 1962150"/>
                    <a:gd name="connsiteX4" fmla="*/ 0 w 2143125"/>
                    <a:gd name="connsiteY4" fmla="*/ 409575 h 1962150"/>
                    <a:gd name="connsiteX5" fmla="*/ 47625 w 2143125"/>
                    <a:gd name="connsiteY5" fmla="*/ 1276350 h 1962150"/>
                    <a:gd name="connsiteX6" fmla="*/ 114300 w 2143125"/>
                    <a:gd name="connsiteY6" fmla="*/ 1514475 h 1962150"/>
                    <a:gd name="connsiteX7" fmla="*/ 1343025 w 2143125"/>
                    <a:gd name="connsiteY7" fmla="*/ 1962150 h 1962150"/>
                    <a:gd name="connsiteX8" fmla="*/ 1619250 w 2143125"/>
                    <a:gd name="connsiteY8" fmla="*/ 1800225 h 1962150"/>
                    <a:gd name="connsiteX9" fmla="*/ 1485900 w 2143125"/>
                    <a:gd name="connsiteY9" fmla="*/ 1485900 h 1962150"/>
                    <a:gd name="connsiteX10" fmla="*/ 1790700 w 2143125"/>
                    <a:gd name="connsiteY10" fmla="*/ 1343025 h 1962150"/>
                    <a:gd name="connsiteX11" fmla="*/ 2038350 w 2143125"/>
                    <a:gd name="connsiteY11" fmla="*/ 1066800 h 1962150"/>
                    <a:gd name="connsiteX12" fmla="*/ 2143125 w 2143125"/>
                    <a:gd name="connsiteY12" fmla="*/ 733425 h 1962150"/>
                    <a:gd name="connsiteX13" fmla="*/ 1895475 w 2143125"/>
                    <a:gd name="connsiteY13" fmla="*/ 590550 h 1962150"/>
                    <a:gd name="connsiteX14" fmla="*/ 1533525 w 2143125"/>
                    <a:gd name="connsiteY14" fmla="*/ 514350 h 1962150"/>
                    <a:gd name="connsiteX15" fmla="*/ 1333500 w 2143125"/>
                    <a:gd name="connsiteY15" fmla="*/ 342900 h 1962150"/>
                    <a:gd name="connsiteX16" fmla="*/ 1104900 w 2143125"/>
                    <a:gd name="connsiteY16" fmla="*/ 0 h 1962150"/>
                    <a:gd name="connsiteX0" fmla="*/ 1104900 w 2143125"/>
                    <a:gd name="connsiteY0" fmla="*/ 0 h 1962150"/>
                    <a:gd name="connsiteX1" fmla="*/ 497681 w 2143125"/>
                    <a:gd name="connsiteY1" fmla="*/ 190500 h 1962150"/>
                    <a:gd name="connsiteX2" fmla="*/ 422275 w 2143125"/>
                    <a:gd name="connsiteY2" fmla="*/ 193675 h 1962150"/>
                    <a:gd name="connsiteX3" fmla="*/ 333375 w 2143125"/>
                    <a:gd name="connsiteY3" fmla="*/ 120650 h 1962150"/>
                    <a:gd name="connsiteX4" fmla="*/ 0 w 2143125"/>
                    <a:gd name="connsiteY4" fmla="*/ 409575 h 1962150"/>
                    <a:gd name="connsiteX5" fmla="*/ 47625 w 2143125"/>
                    <a:gd name="connsiteY5" fmla="*/ 1276350 h 1962150"/>
                    <a:gd name="connsiteX6" fmla="*/ 114300 w 2143125"/>
                    <a:gd name="connsiteY6" fmla="*/ 1514475 h 1962150"/>
                    <a:gd name="connsiteX7" fmla="*/ 1343025 w 2143125"/>
                    <a:gd name="connsiteY7" fmla="*/ 1962150 h 1962150"/>
                    <a:gd name="connsiteX8" fmla="*/ 1619250 w 2143125"/>
                    <a:gd name="connsiteY8" fmla="*/ 1800225 h 1962150"/>
                    <a:gd name="connsiteX9" fmla="*/ 1485900 w 2143125"/>
                    <a:gd name="connsiteY9" fmla="*/ 1485900 h 1962150"/>
                    <a:gd name="connsiteX10" fmla="*/ 1790700 w 2143125"/>
                    <a:gd name="connsiteY10" fmla="*/ 1343025 h 1962150"/>
                    <a:gd name="connsiteX11" fmla="*/ 2038350 w 2143125"/>
                    <a:gd name="connsiteY11" fmla="*/ 1066800 h 1962150"/>
                    <a:gd name="connsiteX12" fmla="*/ 2143125 w 2143125"/>
                    <a:gd name="connsiteY12" fmla="*/ 733425 h 1962150"/>
                    <a:gd name="connsiteX13" fmla="*/ 1895475 w 2143125"/>
                    <a:gd name="connsiteY13" fmla="*/ 590550 h 1962150"/>
                    <a:gd name="connsiteX14" fmla="*/ 1533525 w 2143125"/>
                    <a:gd name="connsiteY14" fmla="*/ 514350 h 1962150"/>
                    <a:gd name="connsiteX15" fmla="*/ 1333500 w 2143125"/>
                    <a:gd name="connsiteY15" fmla="*/ 342900 h 1962150"/>
                    <a:gd name="connsiteX16" fmla="*/ 1104900 w 2143125"/>
                    <a:gd name="connsiteY16" fmla="*/ 0 h 1962150"/>
                    <a:gd name="connsiteX0" fmla="*/ 1104900 w 2143125"/>
                    <a:gd name="connsiteY0" fmla="*/ 0 h 1962150"/>
                    <a:gd name="connsiteX1" fmla="*/ 742950 w 2143125"/>
                    <a:gd name="connsiteY1" fmla="*/ 114300 h 1962150"/>
                    <a:gd name="connsiteX2" fmla="*/ 497681 w 2143125"/>
                    <a:gd name="connsiteY2" fmla="*/ 190500 h 1962150"/>
                    <a:gd name="connsiteX3" fmla="*/ 422275 w 2143125"/>
                    <a:gd name="connsiteY3" fmla="*/ 193675 h 1962150"/>
                    <a:gd name="connsiteX4" fmla="*/ 333375 w 2143125"/>
                    <a:gd name="connsiteY4" fmla="*/ 120650 h 1962150"/>
                    <a:gd name="connsiteX5" fmla="*/ 0 w 2143125"/>
                    <a:gd name="connsiteY5" fmla="*/ 409575 h 1962150"/>
                    <a:gd name="connsiteX6" fmla="*/ 47625 w 2143125"/>
                    <a:gd name="connsiteY6" fmla="*/ 1276350 h 1962150"/>
                    <a:gd name="connsiteX7" fmla="*/ 114300 w 2143125"/>
                    <a:gd name="connsiteY7" fmla="*/ 1514475 h 1962150"/>
                    <a:gd name="connsiteX8" fmla="*/ 1343025 w 2143125"/>
                    <a:gd name="connsiteY8" fmla="*/ 1962150 h 1962150"/>
                    <a:gd name="connsiteX9" fmla="*/ 1619250 w 2143125"/>
                    <a:gd name="connsiteY9" fmla="*/ 1800225 h 1962150"/>
                    <a:gd name="connsiteX10" fmla="*/ 1485900 w 2143125"/>
                    <a:gd name="connsiteY10" fmla="*/ 1485900 h 1962150"/>
                    <a:gd name="connsiteX11" fmla="*/ 1790700 w 2143125"/>
                    <a:gd name="connsiteY11" fmla="*/ 1343025 h 1962150"/>
                    <a:gd name="connsiteX12" fmla="*/ 2038350 w 2143125"/>
                    <a:gd name="connsiteY12" fmla="*/ 1066800 h 1962150"/>
                    <a:gd name="connsiteX13" fmla="*/ 2143125 w 2143125"/>
                    <a:gd name="connsiteY13" fmla="*/ 733425 h 1962150"/>
                    <a:gd name="connsiteX14" fmla="*/ 1895475 w 2143125"/>
                    <a:gd name="connsiteY14" fmla="*/ 590550 h 1962150"/>
                    <a:gd name="connsiteX15" fmla="*/ 1533525 w 2143125"/>
                    <a:gd name="connsiteY15" fmla="*/ 514350 h 1962150"/>
                    <a:gd name="connsiteX16" fmla="*/ 1333500 w 2143125"/>
                    <a:gd name="connsiteY16" fmla="*/ 342900 h 1962150"/>
                    <a:gd name="connsiteX17" fmla="*/ 1104900 w 2143125"/>
                    <a:gd name="connsiteY17" fmla="*/ 0 h 1962150"/>
                    <a:gd name="connsiteX0" fmla="*/ 1104900 w 2143125"/>
                    <a:gd name="connsiteY0" fmla="*/ 0 h 1962150"/>
                    <a:gd name="connsiteX1" fmla="*/ 569119 w 2143125"/>
                    <a:gd name="connsiteY1" fmla="*/ 90488 h 1962150"/>
                    <a:gd name="connsiteX2" fmla="*/ 497681 w 2143125"/>
                    <a:gd name="connsiteY2" fmla="*/ 190500 h 1962150"/>
                    <a:gd name="connsiteX3" fmla="*/ 422275 w 2143125"/>
                    <a:gd name="connsiteY3" fmla="*/ 193675 h 1962150"/>
                    <a:gd name="connsiteX4" fmla="*/ 333375 w 2143125"/>
                    <a:gd name="connsiteY4" fmla="*/ 120650 h 1962150"/>
                    <a:gd name="connsiteX5" fmla="*/ 0 w 2143125"/>
                    <a:gd name="connsiteY5" fmla="*/ 409575 h 1962150"/>
                    <a:gd name="connsiteX6" fmla="*/ 47625 w 2143125"/>
                    <a:gd name="connsiteY6" fmla="*/ 1276350 h 1962150"/>
                    <a:gd name="connsiteX7" fmla="*/ 114300 w 2143125"/>
                    <a:gd name="connsiteY7" fmla="*/ 1514475 h 1962150"/>
                    <a:gd name="connsiteX8" fmla="*/ 1343025 w 2143125"/>
                    <a:gd name="connsiteY8" fmla="*/ 1962150 h 1962150"/>
                    <a:gd name="connsiteX9" fmla="*/ 1619250 w 2143125"/>
                    <a:gd name="connsiteY9" fmla="*/ 1800225 h 1962150"/>
                    <a:gd name="connsiteX10" fmla="*/ 1485900 w 2143125"/>
                    <a:gd name="connsiteY10" fmla="*/ 1485900 h 1962150"/>
                    <a:gd name="connsiteX11" fmla="*/ 1790700 w 2143125"/>
                    <a:gd name="connsiteY11" fmla="*/ 1343025 h 1962150"/>
                    <a:gd name="connsiteX12" fmla="*/ 2038350 w 2143125"/>
                    <a:gd name="connsiteY12" fmla="*/ 1066800 h 1962150"/>
                    <a:gd name="connsiteX13" fmla="*/ 2143125 w 2143125"/>
                    <a:gd name="connsiteY13" fmla="*/ 733425 h 1962150"/>
                    <a:gd name="connsiteX14" fmla="*/ 1895475 w 2143125"/>
                    <a:gd name="connsiteY14" fmla="*/ 590550 h 1962150"/>
                    <a:gd name="connsiteX15" fmla="*/ 1533525 w 2143125"/>
                    <a:gd name="connsiteY15" fmla="*/ 514350 h 1962150"/>
                    <a:gd name="connsiteX16" fmla="*/ 1333500 w 2143125"/>
                    <a:gd name="connsiteY16" fmla="*/ 342900 h 1962150"/>
                    <a:gd name="connsiteX17" fmla="*/ 1104900 w 2143125"/>
                    <a:gd name="connsiteY17" fmla="*/ 0 h 1962150"/>
                    <a:gd name="connsiteX0" fmla="*/ 1104900 w 2143125"/>
                    <a:gd name="connsiteY0" fmla="*/ 0 h 1962150"/>
                    <a:gd name="connsiteX1" fmla="*/ 704850 w 2143125"/>
                    <a:gd name="connsiteY1" fmla="*/ 69056 h 1962150"/>
                    <a:gd name="connsiteX2" fmla="*/ 569119 w 2143125"/>
                    <a:gd name="connsiteY2" fmla="*/ 90488 h 1962150"/>
                    <a:gd name="connsiteX3" fmla="*/ 497681 w 2143125"/>
                    <a:gd name="connsiteY3" fmla="*/ 190500 h 1962150"/>
                    <a:gd name="connsiteX4" fmla="*/ 422275 w 2143125"/>
                    <a:gd name="connsiteY4" fmla="*/ 193675 h 1962150"/>
                    <a:gd name="connsiteX5" fmla="*/ 333375 w 2143125"/>
                    <a:gd name="connsiteY5" fmla="*/ 120650 h 1962150"/>
                    <a:gd name="connsiteX6" fmla="*/ 0 w 2143125"/>
                    <a:gd name="connsiteY6" fmla="*/ 409575 h 1962150"/>
                    <a:gd name="connsiteX7" fmla="*/ 47625 w 2143125"/>
                    <a:gd name="connsiteY7" fmla="*/ 1276350 h 1962150"/>
                    <a:gd name="connsiteX8" fmla="*/ 114300 w 2143125"/>
                    <a:gd name="connsiteY8" fmla="*/ 1514475 h 1962150"/>
                    <a:gd name="connsiteX9" fmla="*/ 1343025 w 2143125"/>
                    <a:gd name="connsiteY9" fmla="*/ 1962150 h 1962150"/>
                    <a:gd name="connsiteX10" fmla="*/ 1619250 w 2143125"/>
                    <a:gd name="connsiteY10" fmla="*/ 1800225 h 1962150"/>
                    <a:gd name="connsiteX11" fmla="*/ 1485900 w 2143125"/>
                    <a:gd name="connsiteY11" fmla="*/ 1485900 h 1962150"/>
                    <a:gd name="connsiteX12" fmla="*/ 1790700 w 2143125"/>
                    <a:gd name="connsiteY12" fmla="*/ 1343025 h 1962150"/>
                    <a:gd name="connsiteX13" fmla="*/ 2038350 w 2143125"/>
                    <a:gd name="connsiteY13" fmla="*/ 1066800 h 1962150"/>
                    <a:gd name="connsiteX14" fmla="*/ 2143125 w 2143125"/>
                    <a:gd name="connsiteY14" fmla="*/ 733425 h 1962150"/>
                    <a:gd name="connsiteX15" fmla="*/ 1895475 w 2143125"/>
                    <a:gd name="connsiteY15" fmla="*/ 590550 h 1962150"/>
                    <a:gd name="connsiteX16" fmla="*/ 1533525 w 2143125"/>
                    <a:gd name="connsiteY16" fmla="*/ 514350 h 1962150"/>
                    <a:gd name="connsiteX17" fmla="*/ 1333500 w 2143125"/>
                    <a:gd name="connsiteY17" fmla="*/ 342900 h 1962150"/>
                    <a:gd name="connsiteX18" fmla="*/ 1104900 w 2143125"/>
                    <a:gd name="connsiteY18" fmla="*/ 0 h 1962150"/>
                    <a:gd name="connsiteX0" fmla="*/ 1104900 w 2143125"/>
                    <a:gd name="connsiteY0" fmla="*/ 0 h 1962150"/>
                    <a:gd name="connsiteX1" fmla="*/ 623888 w 2143125"/>
                    <a:gd name="connsiteY1" fmla="*/ 95250 h 1962150"/>
                    <a:gd name="connsiteX2" fmla="*/ 569119 w 2143125"/>
                    <a:gd name="connsiteY2" fmla="*/ 90488 h 1962150"/>
                    <a:gd name="connsiteX3" fmla="*/ 497681 w 2143125"/>
                    <a:gd name="connsiteY3" fmla="*/ 190500 h 1962150"/>
                    <a:gd name="connsiteX4" fmla="*/ 422275 w 2143125"/>
                    <a:gd name="connsiteY4" fmla="*/ 193675 h 1962150"/>
                    <a:gd name="connsiteX5" fmla="*/ 333375 w 2143125"/>
                    <a:gd name="connsiteY5" fmla="*/ 120650 h 1962150"/>
                    <a:gd name="connsiteX6" fmla="*/ 0 w 2143125"/>
                    <a:gd name="connsiteY6" fmla="*/ 409575 h 1962150"/>
                    <a:gd name="connsiteX7" fmla="*/ 47625 w 2143125"/>
                    <a:gd name="connsiteY7" fmla="*/ 1276350 h 1962150"/>
                    <a:gd name="connsiteX8" fmla="*/ 114300 w 2143125"/>
                    <a:gd name="connsiteY8" fmla="*/ 1514475 h 1962150"/>
                    <a:gd name="connsiteX9" fmla="*/ 1343025 w 2143125"/>
                    <a:gd name="connsiteY9" fmla="*/ 1962150 h 1962150"/>
                    <a:gd name="connsiteX10" fmla="*/ 1619250 w 2143125"/>
                    <a:gd name="connsiteY10" fmla="*/ 1800225 h 1962150"/>
                    <a:gd name="connsiteX11" fmla="*/ 1485900 w 2143125"/>
                    <a:gd name="connsiteY11" fmla="*/ 1485900 h 1962150"/>
                    <a:gd name="connsiteX12" fmla="*/ 1790700 w 2143125"/>
                    <a:gd name="connsiteY12" fmla="*/ 1343025 h 1962150"/>
                    <a:gd name="connsiteX13" fmla="*/ 2038350 w 2143125"/>
                    <a:gd name="connsiteY13" fmla="*/ 1066800 h 1962150"/>
                    <a:gd name="connsiteX14" fmla="*/ 2143125 w 2143125"/>
                    <a:gd name="connsiteY14" fmla="*/ 733425 h 1962150"/>
                    <a:gd name="connsiteX15" fmla="*/ 1895475 w 2143125"/>
                    <a:gd name="connsiteY15" fmla="*/ 590550 h 1962150"/>
                    <a:gd name="connsiteX16" fmla="*/ 1533525 w 2143125"/>
                    <a:gd name="connsiteY16" fmla="*/ 514350 h 1962150"/>
                    <a:gd name="connsiteX17" fmla="*/ 1333500 w 2143125"/>
                    <a:gd name="connsiteY17" fmla="*/ 342900 h 1962150"/>
                    <a:gd name="connsiteX18" fmla="*/ 1104900 w 2143125"/>
                    <a:gd name="connsiteY18" fmla="*/ 0 h 1962150"/>
                    <a:gd name="connsiteX0" fmla="*/ 1104900 w 2143125"/>
                    <a:gd name="connsiteY0" fmla="*/ 0 h 1962150"/>
                    <a:gd name="connsiteX1" fmla="*/ 764381 w 2143125"/>
                    <a:gd name="connsiteY1" fmla="*/ 69056 h 1962150"/>
                    <a:gd name="connsiteX2" fmla="*/ 623888 w 2143125"/>
                    <a:gd name="connsiteY2" fmla="*/ 95250 h 1962150"/>
                    <a:gd name="connsiteX3" fmla="*/ 569119 w 2143125"/>
                    <a:gd name="connsiteY3" fmla="*/ 90488 h 1962150"/>
                    <a:gd name="connsiteX4" fmla="*/ 497681 w 2143125"/>
                    <a:gd name="connsiteY4" fmla="*/ 190500 h 1962150"/>
                    <a:gd name="connsiteX5" fmla="*/ 422275 w 2143125"/>
                    <a:gd name="connsiteY5" fmla="*/ 193675 h 1962150"/>
                    <a:gd name="connsiteX6" fmla="*/ 333375 w 2143125"/>
                    <a:gd name="connsiteY6" fmla="*/ 120650 h 1962150"/>
                    <a:gd name="connsiteX7" fmla="*/ 0 w 2143125"/>
                    <a:gd name="connsiteY7" fmla="*/ 409575 h 1962150"/>
                    <a:gd name="connsiteX8" fmla="*/ 47625 w 2143125"/>
                    <a:gd name="connsiteY8" fmla="*/ 1276350 h 1962150"/>
                    <a:gd name="connsiteX9" fmla="*/ 114300 w 2143125"/>
                    <a:gd name="connsiteY9" fmla="*/ 1514475 h 1962150"/>
                    <a:gd name="connsiteX10" fmla="*/ 1343025 w 2143125"/>
                    <a:gd name="connsiteY10" fmla="*/ 1962150 h 1962150"/>
                    <a:gd name="connsiteX11" fmla="*/ 1619250 w 2143125"/>
                    <a:gd name="connsiteY11" fmla="*/ 1800225 h 1962150"/>
                    <a:gd name="connsiteX12" fmla="*/ 1485900 w 2143125"/>
                    <a:gd name="connsiteY12" fmla="*/ 1485900 h 1962150"/>
                    <a:gd name="connsiteX13" fmla="*/ 1790700 w 2143125"/>
                    <a:gd name="connsiteY13" fmla="*/ 1343025 h 1962150"/>
                    <a:gd name="connsiteX14" fmla="*/ 2038350 w 2143125"/>
                    <a:gd name="connsiteY14" fmla="*/ 1066800 h 1962150"/>
                    <a:gd name="connsiteX15" fmla="*/ 2143125 w 2143125"/>
                    <a:gd name="connsiteY15" fmla="*/ 733425 h 1962150"/>
                    <a:gd name="connsiteX16" fmla="*/ 1895475 w 2143125"/>
                    <a:gd name="connsiteY16" fmla="*/ 590550 h 1962150"/>
                    <a:gd name="connsiteX17" fmla="*/ 1533525 w 2143125"/>
                    <a:gd name="connsiteY17" fmla="*/ 514350 h 1962150"/>
                    <a:gd name="connsiteX18" fmla="*/ 1333500 w 2143125"/>
                    <a:gd name="connsiteY18" fmla="*/ 342900 h 1962150"/>
                    <a:gd name="connsiteX19" fmla="*/ 1104900 w 2143125"/>
                    <a:gd name="connsiteY19" fmla="*/ 0 h 1962150"/>
                    <a:gd name="connsiteX0" fmla="*/ 1104900 w 2143125"/>
                    <a:gd name="connsiteY0" fmla="*/ 0 h 1962150"/>
                    <a:gd name="connsiteX1" fmla="*/ 735806 w 2143125"/>
                    <a:gd name="connsiteY1" fmla="*/ 45244 h 1962150"/>
                    <a:gd name="connsiteX2" fmla="*/ 623888 w 2143125"/>
                    <a:gd name="connsiteY2" fmla="*/ 95250 h 1962150"/>
                    <a:gd name="connsiteX3" fmla="*/ 569119 w 2143125"/>
                    <a:gd name="connsiteY3" fmla="*/ 90488 h 1962150"/>
                    <a:gd name="connsiteX4" fmla="*/ 497681 w 2143125"/>
                    <a:gd name="connsiteY4" fmla="*/ 190500 h 1962150"/>
                    <a:gd name="connsiteX5" fmla="*/ 422275 w 2143125"/>
                    <a:gd name="connsiteY5" fmla="*/ 193675 h 1962150"/>
                    <a:gd name="connsiteX6" fmla="*/ 333375 w 2143125"/>
                    <a:gd name="connsiteY6" fmla="*/ 120650 h 1962150"/>
                    <a:gd name="connsiteX7" fmla="*/ 0 w 2143125"/>
                    <a:gd name="connsiteY7" fmla="*/ 409575 h 1962150"/>
                    <a:gd name="connsiteX8" fmla="*/ 47625 w 2143125"/>
                    <a:gd name="connsiteY8" fmla="*/ 1276350 h 1962150"/>
                    <a:gd name="connsiteX9" fmla="*/ 114300 w 2143125"/>
                    <a:gd name="connsiteY9" fmla="*/ 1514475 h 1962150"/>
                    <a:gd name="connsiteX10" fmla="*/ 1343025 w 2143125"/>
                    <a:gd name="connsiteY10" fmla="*/ 1962150 h 1962150"/>
                    <a:gd name="connsiteX11" fmla="*/ 1619250 w 2143125"/>
                    <a:gd name="connsiteY11" fmla="*/ 1800225 h 1962150"/>
                    <a:gd name="connsiteX12" fmla="*/ 1485900 w 2143125"/>
                    <a:gd name="connsiteY12" fmla="*/ 1485900 h 1962150"/>
                    <a:gd name="connsiteX13" fmla="*/ 1790700 w 2143125"/>
                    <a:gd name="connsiteY13" fmla="*/ 1343025 h 1962150"/>
                    <a:gd name="connsiteX14" fmla="*/ 2038350 w 2143125"/>
                    <a:gd name="connsiteY14" fmla="*/ 1066800 h 1962150"/>
                    <a:gd name="connsiteX15" fmla="*/ 2143125 w 2143125"/>
                    <a:gd name="connsiteY15" fmla="*/ 733425 h 1962150"/>
                    <a:gd name="connsiteX16" fmla="*/ 1895475 w 2143125"/>
                    <a:gd name="connsiteY16" fmla="*/ 590550 h 1962150"/>
                    <a:gd name="connsiteX17" fmla="*/ 1533525 w 2143125"/>
                    <a:gd name="connsiteY17" fmla="*/ 514350 h 1962150"/>
                    <a:gd name="connsiteX18" fmla="*/ 1333500 w 2143125"/>
                    <a:gd name="connsiteY18" fmla="*/ 342900 h 1962150"/>
                    <a:gd name="connsiteX19" fmla="*/ 1104900 w 2143125"/>
                    <a:gd name="connsiteY19" fmla="*/ 0 h 1962150"/>
                    <a:gd name="connsiteX0" fmla="*/ 1104900 w 2143125"/>
                    <a:gd name="connsiteY0" fmla="*/ 0 h 1962150"/>
                    <a:gd name="connsiteX1" fmla="*/ 883444 w 2143125"/>
                    <a:gd name="connsiteY1" fmla="*/ 26194 h 1962150"/>
                    <a:gd name="connsiteX2" fmla="*/ 735806 w 2143125"/>
                    <a:gd name="connsiteY2" fmla="*/ 45244 h 1962150"/>
                    <a:gd name="connsiteX3" fmla="*/ 623888 w 2143125"/>
                    <a:gd name="connsiteY3" fmla="*/ 95250 h 1962150"/>
                    <a:gd name="connsiteX4" fmla="*/ 569119 w 2143125"/>
                    <a:gd name="connsiteY4" fmla="*/ 90488 h 1962150"/>
                    <a:gd name="connsiteX5" fmla="*/ 497681 w 2143125"/>
                    <a:gd name="connsiteY5" fmla="*/ 190500 h 1962150"/>
                    <a:gd name="connsiteX6" fmla="*/ 422275 w 2143125"/>
                    <a:gd name="connsiteY6" fmla="*/ 193675 h 1962150"/>
                    <a:gd name="connsiteX7" fmla="*/ 333375 w 2143125"/>
                    <a:gd name="connsiteY7" fmla="*/ 120650 h 1962150"/>
                    <a:gd name="connsiteX8" fmla="*/ 0 w 2143125"/>
                    <a:gd name="connsiteY8" fmla="*/ 409575 h 1962150"/>
                    <a:gd name="connsiteX9" fmla="*/ 47625 w 2143125"/>
                    <a:gd name="connsiteY9" fmla="*/ 1276350 h 1962150"/>
                    <a:gd name="connsiteX10" fmla="*/ 114300 w 2143125"/>
                    <a:gd name="connsiteY10" fmla="*/ 1514475 h 1962150"/>
                    <a:gd name="connsiteX11" fmla="*/ 1343025 w 2143125"/>
                    <a:gd name="connsiteY11" fmla="*/ 1962150 h 1962150"/>
                    <a:gd name="connsiteX12" fmla="*/ 1619250 w 2143125"/>
                    <a:gd name="connsiteY12" fmla="*/ 1800225 h 1962150"/>
                    <a:gd name="connsiteX13" fmla="*/ 1485900 w 2143125"/>
                    <a:gd name="connsiteY13" fmla="*/ 1485900 h 1962150"/>
                    <a:gd name="connsiteX14" fmla="*/ 1790700 w 2143125"/>
                    <a:gd name="connsiteY14" fmla="*/ 1343025 h 1962150"/>
                    <a:gd name="connsiteX15" fmla="*/ 2038350 w 2143125"/>
                    <a:gd name="connsiteY15" fmla="*/ 1066800 h 1962150"/>
                    <a:gd name="connsiteX16" fmla="*/ 2143125 w 2143125"/>
                    <a:gd name="connsiteY16" fmla="*/ 733425 h 1962150"/>
                    <a:gd name="connsiteX17" fmla="*/ 1895475 w 2143125"/>
                    <a:gd name="connsiteY17" fmla="*/ 590550 h 1962150"/>
                    <a:gd name="connsiteX18" fmla="*/ 1533525 w 2143125"/>
                    <a:gd name="connsiteY18" fmla="*/ 514350 h 1962150"/>
                    <a:gd name="connsiteX19" fmla="*/ 1333500 w 2143125"/>
                    <a:gd name="connsiteY19" fmla="*/ 342900 h 1962150"/>
                    <a:gd name="connsiteX20" fmla="*/ 1104900 w 2143125"/>
                    <a:gd name="connsiteY20" fmla="*/ 0 h 1962150"/>
                    <a:gd name="connsiteX0" fmla="*/ 1104900 w 2143125"/>
                    <a:gd name="connsiteY0" fmla="*/ 0 h 1962150"/>
                    <a:gd name="connsiteX1" fmla="*/ 826294 w 2143125"/>
                    <a:gd name="connsiteY1" fmla="*/ 104775 h 1962150"/>
                    <a:gd name="connsiteX2" fmla="*/ 735806 w 2143125"/>
                    <a:gd name="connsiteY2" fmla="*/ 45244 h 1962150"/>
                    <a:gd name="connsiteX3" fmla="*/ 623888 w 2143125"/>
                    <a:gd name="connsiteY3" fmla="*/ 95250 h 1962150"/>
                    <a:gd name="connsiteX4" fmla="*/ 569119 w 2143125"/>
                    <a:gd name="connsiteY4" fmla="*/ 90488 h 1962150"/>
                    <a:gd name="connsiteX5" fmla="*/ 497681 w 2143125"/>
                    <a:gd name="connsiteY5" fmla="*/ 190500 h 1962150"/>
                    <a:gd name="connsiteX6" fmla="*/ 422275 w 2143125"/>
                    <a:gd name="connsiteY6" fmla="*/ 193675 h 1962150"/>
                    <a:gd name="connsiteX7" fmla="*/ 333375 w 2143125"/>
                    <a:gd name="connsiteY7" fmla="*/ 120650 h 1962150"/>
                    <a:gd name="connsiteX8" fmla="*/ 0 w 2143125"/>
                    <a:gd name="connsiteY8" fmla="*/ 409575 h 1962150"/>
                    <a:gd name="connsiteX9" fmla="*/ 47625 w 2143125"/>
                    <a:gd name="connsiteY9" fmla="*/ 1276350 h 1962150"/>
                    <a:gd name="connsiteX10" fmla="*/ 114300 w 2143125"/>
                    <a:gd name="connsiteY10" fmla="*/ 1514475 h 1962150"/>
                    <a:gd name="connsiteX11" fmla="*/ 1343025 w 2143125"/>
                    <a:gd name="connsiteY11" fmla="*/ 1962150 h 1962150"/>
                    <a:gd name="connsiteX12" fmla="*/ 1619250 w 2143125"/>
                    <a:gd name="connsiteY12" fmla="*/ 1800225 h 1962150"/>
                    <a:gd name="connsiteX13" fmla="*/ 1485900 w 2143125"/>
                    <a:gd name="connsiteY13" fmla="*/ 1485900 h 1962150"/>
                    <a:gd name="connsiteX14" fmla="*/ 1790700 w 2143125"/>
                    <a:gd name="connsiteY14" fmla="*/ 1343025 h 1962150"/>
                    <a:gd name="connsiteX15" fmla="*/ 2038350 w 2143125"/>
                    <a:gd name="connsiteY15" fmla="*/ 1066800 h 1962150"/>
                    <a:gd name="connsiteX16" fmla="*/ 2143125 w 2143125"/>
                    <a:gd name="connsiteY16" fmla="*/ 733425 h 1962150"/>
                    <a:gd name="connsiteX17" fmla="*/ 1895475 w 2143125"/>
                    <a:gd name="connsiteY17" fmla="*/ 590550 h 1962150"/>
                    <a:gd name="connsiteX18" fmla="*/ 1533525 w 2143125"/>
                    <a:gd name="connsiteY18" fmla="*/ 514350 h 1962150"/>
                    <a:gd name="connsiteX19" fmla="*/ 1333500 w 2143125"/>
                    <a:gd name="connsiteY19" fmla="*/ 342900 h 1962150"/>
                    <a:gd name="connsiteX20" fmla="*/ 1104900 w 2143125"/>
                    <a:gd name="connsiteY20" fmla="*/ 0 h 1962150"/>
                    <a:gd name="connsiteX0" fmla="*/ 1104900 w 2143125"/>
                    <a:gd name="connsiteY0" fmla="*/ 0 h 1962150"/>
                    <a:gd name="connsiteX1" fmla="*/ 990600 w 2143125"/>
                    <a:gd name="connsiteY1" fmla="*/ 47625 h 1962150"/>
                    <a:gd name="connsiteX2" fmla="*/ 826294 w 2143125"/>
                    <a:gd name="connsiteY2" fmla="*/ 104775 h 1962150"/>
                    <a:gd name="connsiteX3" fmla="*/ 735806 w 2143125"/>
                    <a:gd name="connsiteY3" fmla="*/ 45244 h 1962150"/>
                    <a:gd name="connsiteX4" fmla="*/ 623888 w 2143125"/>
                    <a:gd name="connsiteY4" fmla="*/ 95250 h 1962150"/>
                    <a:gd name="connsiteX5" fmla="*/ 569119 w 2143125"/>
                    <a:gd name="connsiteY5" fmla="*/ 90488 h 1962150"/>
                    <a:gd name="connsiteX6" fmla="*/ 497681 w 2143125"/>
                    <a:gd name="connsiteY6" fmla="*/ 190500 h 1962150"/>
                    <a:gd name="connsiteX7" fmla="*/ 422275 w 2143125"/>
                    <a:gd name="connsiteY7" fmla="*/ 193675 h 1962150"/>
                    <a:gd name="connsiteX8" fmla="*/ 333375 w 2143125"/>
                    <a:gd name="connsiteY8" fmla="*/ 120650 h 1962150"/>
                    <a:gd name="connsiteX9" fmla="*/ 0 w 2143125"/>
                    <a:gd name="connsiteY9" fmla="*/ 409575 h 1962150"/>
                    <a:gd name="connsiteX10" fmla="*/ 47625 w 2143125"/>
                    <a:gd name="connsiteY10" fmla="*/ 1276350 h 1962150"/>
                    <a:gd name="connsiteX11" fmla="*/ 114300 w 2143125"/>
                    <a:gd name="connsiteY11" fmla="*/ 1514475 h 1962150"/>
                    <a:gd name="connsiteX12" fmla="*/ 1343025 w 2143125"/>
                    <a:gd name="connsiteY12" fmla="*/ 1962150 h 1962150"/>
                    <a:gd name="connsiteX13" fmla="*/ 1619250 w 2143125"/>
                    <a:gd name="connsiteY13" fmla="*/ 1800225 h 1962150"/>
                    <a:gd name="connsiteX14" fmla="*/ 1485900 w 2143125"/>
                    <a:gd name="connsiteY14" fmla="*/ 1485900 h 1962150"/>
                    <a:gd name="connsiteX15" fmla="*/ 1790700 w 2143125"/>
                    <a:gd name="connsiteY15" fmla="*/ 1343025 h 1962150"/>
                    <a:gd name="connsiteX16" fmla="*/ 2038350 w 2143125"/>
                    <a:gd name="connsiteY16" fmla="*/ 1066800 h 1962150"/>
                    <a:gd name="connsiteX17" fmla="*/ 2143125 w 2143125"/>
                    <a:gd name="connsiteY17" fmla="*/ 733425 h 1962150"/>
                    <a:gd name="connsiteX18" fmla="*/ 1895475 w 2143125"/>
                    <a:gd name="connsiteY18" fmla="*/ 590550 h 1962150"/>
                    <a:gd name="connsiteX19" fmla="*/ 1533525 w 2143125"/>
                    <a:gd name="connsiteY19" fmla="*/ 514350 h 1962150"/>
                    <a:gd name="connsiteX20" fmla="*/ 1333500 w 2143125"/>
                    <a:gd name="connsiteY20" fmla="*/ 342900 h 1962150"/>
                    <a:gd name="connsiteX21" fmla="*/ 1104900 w 2143125"/>
                    <a:gd name="connsiteY21" fmla="*/ 0 h 1962150"/>
                    <a:gd name="connsiteX0" fmla="*/ 1104900 w 2143125"/>
                    <a:gd name="connsiteY0" fmla="*/ 0 h 1962150"/>
                    <a:gd name="connsiteX1" fmla="*/ 997744 w 2143125"/>
                    <a:gd name="connsiteY1" fmla="*/ 97631 h 1962150"/>
                    <a:gd name="connsiteX2" fmla="*/ 826294 w 2143125"/>
                    <a:gd name="connsiteY2" fmla="*/ 104775 h 1962150"/>
                    <a:gd name="connsiteX3" fmla="*/ 735806 w 2143125"/>
                    <a:gd name="connsiteY3" fmla="*/ 45244 h 1962150"/>
                    <a:gd name="connsiteX4" fmla="*/ 623888 w 2143125"/>
                    <a:gd name="connsiteY4" fmla="*/ 95250 h 1962150"/>
                    <a:gd name="connsiteX5" fmla="*/ 569119 w 2143125"/>
                    <a:gd name="connsiteY5" fmla="*/ 90488 h 1962150"/>
                    <a:gd name="connsiteX6" fmla="*/ 497681 w 2143125"/>
                    <a:gd name="connsiteY6" fmla="*/ 190500 h 1962150"/>
                    <a:gd name="connsiteX7" fmla="*/ 422275 w 2143125"/>
                    <a:gd name="connsiteY7" fmla="*/ 193675 h 1962150"/>
                    <a:gd name="connsiteX8" fmla="*/ 333375 w 2143125"/>
                    <a:gd name="connsiteY8" fmla="*/ 120650 h 1962150"/>
                    <a:gd name="connsiteX9" fmla="*/ 0 w 2143125"/>
                    <a:gd name="connsiteY9" fmla="*/ 409575 h 1962150"/>
                    <a:gd name="connsiteX10" fmla="*/ 47625 w 2143125"/>
                    <a:gd name="connsiteY10" fmla="*/ 1276350 h 1962150"/>
                    <a:gd name="connsiteX11" fmla="*/ 114300 w 2143125"/>
                    <a:gd name="connsiteY11" fmla="*/ 1514475 h 1962150"/>
                    <a:gd name="connsiteX12" fmla="*/ 1343025 w 2143125"/>
                    <a:gd name="connsiteY12" fmla="*/ 1962150 h 1962150"/>
                    <a:gd name="connsiteX13" fmla="*/ 1619250 w 2143125"/>
                    <a:gd name="connsiteY13" fmla="*/ 1800225 h 1962150"/>
                    <a:gd name="connsiteX14" fmla="*/ 1485900 w 2143125"/>
                    <a:gd name="connsiteY14" fmla="*/ 1485900 h 1962150"/>
                    <a:gd name="connsiteX15" fmla="*/ 1790700 w 2143125"/>
                    <a:gd name="connsiteY15" fmla="*/ 1343025 h 1962150"/>
                    <a:gd name="connsiteX16" fmla="*/ 2038350 w 2143125"/>
                    <a:gd name="connsiteY16" fmla="*/ 1066800 h 1962150"/>
                    <a:gd name="connsiteX17" fmla="*/ 2143125 w 2143125"/>
                    <a:gd name="connsiteY17" fmla="*/ 733425 h 1962150"/>
                    <a:gd name="connsiteX18" fmla="*/ 1895475 w 2143125"/>
                    <a:gd name="connsiteY18" fmla="*/ 590550 h 1962150"/>
                    <a:gd name="connsiteX19" fmla="*/ 1533525 w 2143125"/>
                    <a:gd name="connsiteY19" fmla="*/ 514350 h 1962150"/>
                    <a:gd name="connsiteX20" fmla="*/ 1333500 w 2143125"/>
                    <a:gd name="connsiteY20" fmla="*/ 342900 h 1962150"/>
                    <a:gd name="connsiteX21" fmla="*/ 1104900 w 2143125"/>
                    <a:gd name="connsiteY21" fmla="*/ 0 h 1962150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33500 w 2143125"/>
                    <a:gd name="connsiteY20" fmla="*/ 297656 h 1916906"/>
                    <a:gd name="connsiteX21" fmla="*/ 1047750 w 2143125"/>
                    <a:gd name="connsiteY21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33500 w 2143125"/>
                    <a:gd name="connsiteY20" fmla="*/ 297656 h 1916906"/>
                    <a:gd name="connsiteX21" fmla="*/ 1073944 w 2143125"/>
                    <a:gd name="connsiteY21" fmla="*/ 111919 h 1916906"/>
                    <a:gd name="connsiteX22" fmla="*/ 1047750 w 2143125"/>
                    <a:gd name="connsiteY22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33500 w 2143125"/>
                    <a:gd name="connsiteY20" fmla="*/ 297656 h 1916906"/>
                    <a:gd name="connsiteX21" fmla="*/ 1050131 w 2143125"/>
                    <a:gd name="connsiteY21" fmla="*/ 176213 h 1916906"/>
                    <a:gd name="connsiteX22" fmla="*/ 1047750 w 2143125"/>
                    <a:gd name="connsiteY22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33500 w 2143125"/>
                    <a:gd name="connsiteY20" fmla="*/ 297656 h 1916906"/>
                    <a:gd name="connsiteX21" fmla="*/ 1171575 w 2143125"/>
                    <a:gd name="connsiteY21" fmla="*/ 233362 h 1916906"/>
                    <a:gd name="connsiteX22" fmla="*/ 1050131 w 2143125"/>
                    <a:gd name="connsiteY22" fmla="*/ 176213 h 1916906"/>
                    <a:gd name="connsiteX23" fmla="*/ 1047750 w 2143125"/>
                    <a:gd name="connsiteY23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33500 w 2143125"/>
                    <a:gd name="connsiteY20" fmla="*/ 297656 h 1916906"/>
                    <a:gd name="connsiteX21" fmla="*/ 1097756 w 2143125"/>
                    <a:gd name="connsiteY21" fmla="*/ 190499 h 1916906"/>
                    <a:gd name="connsiteX22" fmla="*/ 1050131 w 2143125"/>
                    <a:gd name="connsiteY22" fmla="*/ 176213 h 1916906"/>
                    <a:gd name="connsiteX23" fmla="*/ 1047750 w 2143125"/>
                    <a:gd name="connsiteY23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33500 w 2143125"/>
                    <a:gd name="connsiteY20" fmla="*/ 297656 h 1916906"/>
                    <a:gd name="connsiteX21" fmla="*/ 1233488 w 2143125"/>
                    <a:gd name="connsiteY21" fmla="*/ 247650 h 1916906"/>
                    <a:gd name="connsiteX22" fmla="*/ 1097756 w 2143125"/>
                    <a:gd name="connsiteY22" fmla="*/ 190499 h 1916906"/>
                    <a:gd name="connsiteX23" fmla="*/ 1050131 w 2143125"/>
                    <a:gd name="connsiteY23" fmla="*/ 176213 h 1916906"/>
                    <a:gd name="connsiteX24" fmla="*/ 1047750 w 2143125"/>
                    <a:gd name="connsiteY24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33500 w 2143125"/>
                    <a:gd name="connsiteY20" fmla="*/ 297656 h 1916906"/>
                    <a:gd name="connsiteX21" fmla="*/ 1147763 w 2143125"/>
                    <a:gd name="connsiteY21" fmla="*/ 273844 h 1916906"/>
                    <a:gd name="connsiteX22" fmla="*/ 1097756 w 2143125"/>
                    <a:gd name="connsiteY22" fmla="*/ 190499 h 1916906"/>
                    <a:gd name="connsiteX23" fmla="*/ 1050131 w 2143125"/>
                    <a:gd name="connsiteY23" fmla="*/ 176213 h 1916906"/>
                    <a:gd name="connsiteX24" fmla="*/ 1047750 w 2143125"/>
                    <a:gd name="connsiteY24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07306 w 2143125"/>
                    <a:gd name="connsiteY20" fmla="*/ 411956 h 1916906"/>
                    <a:gd name="connsiteX21" fmla="*/ 1147763 w 2143125"/>
                    <a:gd name="connsiteY21" fmla="*/ 273844 h 1916906"/>
                    <a:gd name="connsiteX22" fmla="*/ 1097756 w 2143125"/>
                    <a:gd name="connsiteY22" fmla="*/ 190499 h 1916906"/>
                    <a:gd name="connsiteX23" fmla="*/ 1050131 w 2143125"/>
                    <a:gd name="connsiteY23" fmla="*/ 176213 h 1916906"/>
                    <a:gd name="connsiteX24" fmla="*/ 1047750 w 2143125"/>
                    <a:gd name="connsiteY24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07306 w 2143125"/>
                    <a:gd name="connsiteY20" fmla="*/ 411956 h 1916906"/>
                    <a:gd name="connsiteX21" fmla="*/ 1226344 w 2143125"/>
                    <a:gd name="connsiteY21" fmla="*/ 340519 h 1916906"/>
                    <a:gd name="connsiteX22" fmla="*/ 1147763 w 2143125"/>
                    <a:gd name="connsiteY22" fmla="*/ 273844 h 1916906"/>
                    <a:gd name="connsiteX23" fmla="*/ 1097756 w 2143125"/>
                    <a:gd name="connsiteY23" fmla="*/ 190499 h 1916906"/>
                    <a:gd name="connsiteX24" fmla="*/ 1050131 w 2143125"/>
                    <a:gd name="connsiteY24" fmla="*/ 176213 h 1916906"/>
                    <a:gd name="connsiteX25" fmla="*/ 1047750 w 2143125"/>
                    <a:gd name="connsiteY25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07306 w 2143125"/>
                    <a:gd name="connsiteY20" fmla="*/ 411956 h 1916906"/>
                    <a:gd name="connsiteX21" fmla="*/ 1195388 w 2143125"/>
                    <a:gd name="connsiteY21" fmla="*/ 273844 h 1916906"/>
                    <a:gd name="connsiteX22" fmla="*/ 1147763 w 2143125"/>
                    <a:gd name="connsiteY22" fmla="*/ 273844 h 1916906"/>
                    <a:gd name="connsiteX23" fmla="*/ 1097756 w 2143125"/>
                    <a:gd name="connsiteY23" fmla="*/ 190499 h 1916906"/>
                    <a:gd name="connsiteX24" fmla="*/ 1050131 w 2143125"/>
                    <a:gd name="connsiteY24" fmla="*/ 176213 h 1916906"/>
                    <a:gd name="connsiteX25" fmla="*/ 1047750 w 2143125"/>
                    <a:gd name="connsiteY25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07306 w 2143125"/>
                    <a:gd name="connsiteY20" fmla="*/ 411956 h 1916906"/>
                    <a:gd name="connsiteX21" fmla="*/ 1240631 w 2143125"/>
                    <a:gd name="connsiteY21" fmla="*/ 335756 h 1916906"/>
                    <a:gd name="connsiteX22" fmla="*/ 1195388 w 2143125"/>
                    <a:gd name="connsiteY22" fmla="*/ 273844 h 1916906"/>
                    <a:gd name="connsiteX23" fmla="*/ 1147763 w 2143125"/>
                    <a:gd name="connsiteY23" fmla="*/ 273844 h 1916906"/>
                    <a:gd name="connsiteX24" fmla="*/ 1097756 w 2143125"/>
                    <a:gd name="connsiteY24" fmla="*/ 190499 h 1916906"/>
                    <a:gd name="connsiteX25" fmla="*/ 1050131 w 2143125"/>
                    <a:gd name="connsiteY25" fmla="*/ 176213 h 1916906"/>
                    <a:gd name="connsiteX26" fmla="*/ 1047750 w 2143125"/>
                    <a:gd name="connsiteY26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33525 w 2143125"/>
                    <a:gd name="connsiteY19" fmla="*/ 469106 h 1916906"/>
                    <a:gd name="connsiteX20" fmla="*/ 1307306 w 2143125"/>
                    <a:gd name="connsiteY20" fmla="*/ 411956 h 1916906"/>
                    <a:gd name="connsiteX21" fmla="*/ 1212056 w 2143125"/>
                    <a:gd name="connsiteY21" fmla="*/ 361950 h 1916906"/>
                    <a:gd name="connsiteX22" fmla="*/ 1195388 w 2143125"/>
                    <a:gd name="connsiteY22" fmla="*/ 273844 h 1916906"/>
                    <a:gd name="connsiteX23" fmla="*/ 1147763 w 2143125"/>
                    <a:gd name="connsiteY23" fmla="*/ 273844 h 1916906"/>
                    <a:gd name="connsiteX24" fmla="*/ 1097756 w 2143125"/>
                    <a:gd name="connsiteY24" fmla="*/ 190499 h 1916906"/>
                    <a:gd name="connsiteX25" fmla="*/ 1050131 w 2143125"/>
                    <a:gd name="connsiteY25" fmla="*/ 176213 h 1916906"/>
                    <a:gd name="connsiteX26" fmla="*/ 1047750 w 2143125"/>
                    <a:gd name="connsiteY26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226344 w 2143125"/>
                    <a:gd name="connsiteY19" fmla="*/ 600075 h 1916906"/>
                    <a:gd name="connsiteX20" fmla="*/ 1307306 w 2143125"/>
                    <a:gd name="connsiteY20" fmla="*/ 411956 h 1916906"/>
                    <a:gd name="connsiteX21" fmla="*/ 1212056 w 2143125"/>
                    <a:gd name="connsiteY21" fmla="*/ 361950 h 1916906"/>
                    <a:gd name="connsiteX22" fmla="*/ 1195388 w 2143125"/>
                    <a:gd name="connsiteY22" fmla="*/ 273844 h 1916906"/>
                    <a:gd name="connsiteX23" fmla="*/ 1147763 w 2143125"/>
                    <a:gd name="connsiteY23" fmla="*/ 273844 h 1916906"/>
                    <a:gd name="connsiteX24" fmla="*/ 1097756 w 2143125"/>
                    <a:gd name="connsiteY24" fmla="*/ 190499 h 1916906"/>
                    <a:gd name="connsiteX25" fmla="*/ 1050131 w 2143125"/>
                    <a:gd name="connsiteY25" fmla="*/ 176213 h 1916906"/>
                    <a:gd name="connsiteX26" fmla="*/ 1047750 w 2143125"/>
                    <a:gd name="connsiteY26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731169 w 2143125"/>
                    <a:gd name="connsiteY19" fmla="*/ 552450 h 1916906"/>
                    <a:gd name="connsiteX20" fmla="*/ 1226344 w 2143125"/>
                    <a:gd name="connsiteY20" fmla="*/ 600075 h 1916906"/>
                    <a:gd name="connsiteX21" fmla="*/ 1307306 w 2143125"/>
                    <a:gd name="connsiteY21" fmla="*/ 411956 h 1916906"/>
                    <a:gd name="connsiteX22" fmla="*/ 1212056 w 2143125"/>
                    <a:gd name="connsiteY22" fmla="*/ 361950 h 1916906"/>
                    <a:gd name="connsiteX23" fmla="*/ 1195388 w 2143125"/>
                    <a:gd name="connsiteY23" fmla="*/ 273844 h 1916906"/>
                    <a:gd name="connsiteX24" fmla="*/ 1147763 w 2143125"/>
                    <a:gd name="connsiteY24" fmla="*/ 273844 h 1916906"/>
                    <a:gd name="connsiteX25" fmla="*/ 1097756 w 2143125"/>
                    <a:gd name="connsiteY25" fmla="*/ 190499 h 1916906"/>
                    <a:gd name="connsiteX26" fmla="*/ 1050131 w 2143125"/>
                    <a:gd name="connsiteY26" fmla="*/ 176213 h 1916906"/>
                    <a:gd name="connsiteX27" fmla="*/ 1047750 w 2143125"/>
                    <a:gd name="connsiteY27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895475 w 2143125"/>
                    <a:gd name="connsiteY18" fmla="*/ 545306 h 1916906"/>
                    <a:gd name="connsiteX19" fmla="*/ 1585913 w 2143125"/>
                    <a:gd name="connsiteY19" fmla="*/ 597694 h 1916906"/>
                    <a:gd name="connsiteX20" fmla="*/ 1226344 w 2143125"/>
                    <a:gd name="connsiteY20" fmla="*/ 600075 h 1916906"/>
                    <a:gd name="connsiteX21" fmla="*/ 1307306 w 2143125"/>
                    <a:gd name="connsiteY21" fmla="*/ 411956 h 1916906"/>
                    <a:gd name="connsiteX22" fmla="*/ 1212056 w 2143125"/>
                    <a:gd name="connsiteY22" fmla="*/ 361950 h 1916906"/>
                    <a:gd name="connsiteX23" fmla="*/ 1195388 w 2143125"/>
                    <a:gd name="connsiteY23" fmla="*/ 273844 h 1916906"/>
                    <a:gd name="connsiteX24" fmla="*/ 1147763 w 2143125"/>
                    <a:gd name="connsiteY24" fmla="*/ 273844 h 1916906"/>
                    <a:gd name="connsiteX25" fmla="*/ 1097756 w 2143125"/>
                    <a:gd name="connsiteY25" fmla="*/ 190499 h 1916906"/>
                    <a:gd name="connsiteX26" fmla="*/ 1050131 w 2143125"/>
                    <a:gd name="connsiteY26" fmla="*/ 176213 h 1916906"/>
                    <a:gd name="connsiteX27" fmla="*/ 1047750 w 2143125"/>
                    <a:gd name="connsiteY27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993106 w 2143125"/>
                    <a:gd name="connsiteY18" fmla="*/ 728662 h 1916906"/>
                    <a:gd name="connsiteX19" fmla="*/ 1585913 w 2143125"/>
                    <a:gd name="connsiteY19" fmla="*/ 597694 h 1916906"/>
                    <a:gd name="connsiteX20" fmla="*/ 1226344 w 2143125"/>
                    <a:gd name="connsiteY20" fmla="*/ 600075 h 1916906"/>
                    <a:gd name="connsiteX21" fmla="*/ 1307306 w 2143125"/>
                    <a:gd name="connsiteY21" fmla="*/ 411956 h 1916906"/>
                    <a:gd name="connsiteX22" fmla="*/ 1212056 w 2143125"/>
                    <a:gd name="connsiteY22" fmla="*/ 361950 h 1916906"/>
                    <a:gd name="connsiteX23" fmla="*/ 1195388 w 2143125"/>
                    <a:gd name="connsiteY23" fmla="*/ 273844 h 1916906"/>
                    <a:gd name="connsiteX24" fmla="*/ 1147763 w 2143125"/>
                    <a:gd name="connsiteY24" fmla="*/ 273844 h 1916906"/>
                    <a:gd name="connsiteX25" fmla="*/ 1097756 w 2143125"/>
                    <a:gd name="connsiteY25" fmla="*/ 190499 h 1916906"/>
                    <a:gd name="connsiteX26" fmla="*/ 1050131 w 2143125"/>
                    <a:gd name="connsiteY26" fmla="*/ 176213 h 1916906"/>
                    <a:gd name="connsiteX27" fmla="*/ 1047750 w 2143125"/>
                    <a:gd name="connsiteY27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993106 w 2143125"/>
                    <a:gd name="connsiteY18" fmla="*/ 728662 h 1916906"/>
                    <a:gd name="connsiteX19" fmla="*/ 1828800 w 2143125"/>
                    <a:gd name="connsiteY19" fmla="*/ 678656 h 1916906"/>
                    <a:gd name="connsiteX20" fmla="*/ 1585913 w 2143125"/>
                    <a:gd name="connsiteY20" fmla="*/ 597694 h 1916906"/>
                    <a:gd name="connsiteX21" fmla="*/ 1226344 w 2143125"/>
                    <a:gd name="connsiteY21" fmla="*/ 600075 h 1916906"/>
                    <a:gd name="connsiteX22" fmla="*/ 1307306 w 2143125"/>
                    <a:gd name="connsiteY22" fmla="*/ 411956 h 1916906"/>
                    <a:gd name="connsiteX23" fmla="*/ 1212056 w 2143125"/>
                    <a:gd name="connsiteY23" fmla="*/ 361950 h 1916906"/>
                    <a:gd name="connsiteX24" fmla="*/ 1195388 w 2143125"/>
                    <a:gd name="connsiteY24" fmla="*/ 273844 h 1916906"/>
                    <a:gd name="connsiteX25" fmla="*/ 1147763 w 2143125"/>
                    <a:gd name="connsiteY25" fmla="*/ 273844 h 1916906"/>
                    <a:gd name="connsiteX26" fmla="*/ 1097756 w 2143125"/>
                    <a:gd name="connsiteY26" fmla="*/ 190499 h 1916906"/>
                    <a:gd name="connsiteX27" fmla="*/ 1050131 w 2143125"/>
                    <a:gd name="connsiteY27" fmla="*/ 176213 h 1916906"/>
                    <a:gd name="connsiteX28" fmla="*/ 1047750 w 2143125"/>
                    <a:gd name="connsiteY28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993106 w 2143125"/>
                    <a:gd name="connsiteY18" fmla="*/ 728662 h 1916906"/>
                    <a:gd name="connsiteX19" fmla="*/ 1897857 w 2143125"/>
                    <a:gd name="connsiteY19" fmla="*/ 711993 h 1916906"/>
                    <a:gd name="connsiteX20" fmla="*/ 1585913 w 2143125"/>
                    <a:gd name="connsiteY20" fmla="*/ 597694 h 1916906"/>
                    <a:gd name="connsiteX21" fmla="*/ 1226344 w 2143125"/>
                    <a:gd name="connsiteY21" fmla="*/ 600075 h 1916906"/>
                    <a:gd name="connsiteX22" fmla="*/ 1307306 w 2143125"/>
                    <a:gd name="connsiteY22" fmla="*/ 411956 h 1916906"/>
                    <a:gd name="connsiteX23" fmla="*/ 1212056 w 2143125"/>
                    <a:gd name="connsiteY23" fmla="*/ 361950 h 1916906"/>
                    <a:gd name="connsiteX24" fmla="*/ 1195388 w 2143125"/>
                    <a:gd name="connsiteY24" fmla="*/ 273844 h 1916906"/>
                    <a:gd name="connsiteX25" fmla="*/ 1147763 w 2143125"/>
                    <a:gd name="connsiteY25" fmla="*/ 273844 h 1916906"/>
                    <a:gd name="connsiteX26" fmla="*/ 1097756 w 2143125"/>
                    <a:gd name="connsiteY26" fmla="*/ 190499 h 1916906"/>
                    <a:gd name="connsiteX27" fmla="*/ 1050131 w 2143125"/>
                    <a:gd name="connsiteY27" fmla="*/ 176213 h 1916906"/>
                    <a:gd name="connsiteX28" fmla="*/ 1047750 w 2143125"/>
                    <a:gd name="connsiteY28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993106 w 2143125"/>
                    <a:gd name="connsiteY18" fmla="*/ 728662 h 1916906"/>
                    <a:gd name="connsiteX19" fmla="*/ 1897857 w 2143125"/>
                    <a:gd name="connsiteY19" fmla="*/ 711993 h 1916906"/>
                    <a:gd name="connsiteX20" fmla="*/ 1833563 w 2143125"/>
                    <a:gd name="connsiteY20" fmla="*/ 690562 h 1916906"/>
                    <a:gd name="connsiteX21" fmla="*/ 1585913 w 2143125"/>
                    <a:gd name="connsiteY21" fmla="*/ 597694 h 1916906"/>
                    <a:gd name="connsiteX22" fmla="*/ 1226344 w 2143125"/>
                    <a:gd name="connsiteY22" fmla="*/ 600075 h 1916906"/>
                    <a:gd name="connsiteX23" fmla="*/ 1307306 w 2143125"/>
                    <a:gd name="connsiteY23" fmla="*/ 411956 h 1916906"/>
                    <a:gd name="connsiteX24" fmla="*/ 1212056 w 2143125"/>
                    <a:gd name="connsiteY24" fmla="*/ 361950 h 1916906"/>
                    <a:gd name="connsiteX25" fmla="*/ 1195388 w 2143125"/>
                    <a:gd name="connsiteY25" fmla="*/ 273844 h 1916906"/>
                    <a:gd name="connsiteX26" fmla="*/ 1147763 w 2143125"/>
                    <a:gd name="connsiteY26" fmla="*/ 273844 h 1916906"/>
                    <a:gd name="connsiteX27" fmla="*/ 1097756 w 2143125"/>
                    <a:gd name="connsiteY27" fmla="*/ 190499 h 1916906"/>
                    <a:gd name="connsiteX28" fmla="*/ 1050131 w 2143125"/>
                    <a:gd name="connsiteY28" fmla="*/ 176213 h 1916906"/>
                    <a:gd name="connsiteX29" fmla="*/ 1047750 w 2143125"/>
                    <a:gd name="connsiteY29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993106 w 2143125"/>
                    <a:gd name="connsiteY18" fmla="*/ 728662 h 1916906"/>
                    <a:gd name="connsiteX19" fmla="*/ 1897857 w 2143125"/>
                    <a:gd name="connsiteY19" fmla="*/ 711993 h 1916906"/>
                    <a:gd name="connsiteX20" fmla="*/ 1897857 w 2143125"/>
                    <a:gd name="connsiteY20" fmla="*/ 664369 h 1916906"/>
                    <a:gd name="connsiteX21" fmla="*/ 1585913 w 2143125"/>
                    <a:gd name="connsiteY21" fmla="*/ 597694 h 1916906"/>
                    <a:gd name="connsiteX22" fmla="*/ 1226344 w 2143125"/>
                    <a:gd name="connsiteY22" fmla="*/ 600075 h 1916906"/>
                    <a:gd name="connsiteX23" fmla="*/ 1307306 w 2143125"/>
                    <a:gd name="connsiteY23" fmla="*/ 411956 h 1916906"/>
                    <a:gd name="connsiteX24" fmla="*/ 1212056 w 2143125"/>
                    <a:gd name="connsiteY24" fmla="*/ 361950 h 1916906"/>
                    <a:gd name="connsiteX25" fmla="*/ 1195388 w 2143125"/>
                    <a:gd name="connsiteY25" fmla="*/ 273844 h 1916906"/>
                    <a:gd name="connsiteX26" fmla="*/ 1147763 w 2143125"/>
                    <a:gd name="connsiteY26" fmla="*/ 273844 h 1916906"/>
                    <a:gd name="connsiteX27" fmla="*/ 1097756 w 2143125"/>
                    <a:gd name="connsiteY27" fmla="*/ 190499 h 1916906"/>
                    <a:gd name="connsiteX28" fmla="*/ 1050131 w 2143125"/>
                    <a:gd name="connsiteY28" fmla="*/ 176213 h 1916906"/>
                    <a:gd name="connsiteX29" fmla="*/ 1047750 w 2143125"/>
                    <a:gd name="connsiteY29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993106 w 2143125"/>
                    <a:gd name="connsiteY18" fmla="*/ 728662 h 1916906"/>
                    <a:gd name="connsiteX19" fmla="*/ 1897857 w 2143125"/>
                    <a:gd name="connsiteY19" fmla="*/ 711993 h 1916906"/>
                    <a:gd name="connsiteX20" fmla="*/ 1897857 w 2143125"/>
                    <a:gd name="connsiteY20" fmla="*/ 664369 h 1916906"/>
                    <a:gd name="connsiteX21" fmla="*/ 1838325 w 2143125"/>
                    <a:gd name="connsiteY21" fmla="*/ 650081 h 1916906"/>
                    <a:gd name="connsiteX22" fmla="*/ 1585913 w 2143125"/>
                    <a:gd name="connsiteY22" fmla="*/ 597694 h 1916906"/>
                    <a:gd name="connsiteX23" fmla="*/ 1226344 w 2143125"/>
                    <a:gd name="connsiteY23" fmla="*/ 600075 h 1916906"/>
                    <a:gd name="connsiteX24" fmla="*/ 1307306 w 2143125"/>
                    <a:gd name="connsiteY24" fmla="*/ 411956 h 1916906"/>
                    <a:gd name="connsiteX25" fmla="*/ 1212056 w 2143125"/>
                    <a:gd name="connsiteY25" fmla="*/ 361950 h 1916906"/>
                    <a:gd name="connsiteX26" fmla="*/ 1195388 w 2143125"/>
                    <a:gd name="connsiteY26" fmla="*/ 273844 h 1916906"/>
                    <a:gd name="connsiteX27" fmla="*/ 1147763 w 2143125"/>
                    <a:gd name="connsiteY27" fmla="*/ 273844 h 1916906"/>
                    <a:gd name="connsiteX28" fmla="*/ 1097756 w 2143125"/>
                    <a:gd name="connsiteY28" fmla="*/ 190499 h 1916906"/>
                    <a:gd name="connsiteX29" fmla="*/ 1050131 w 2143125"/>
                    <a:gd name="connsiteY29" fmla="*/ 176213 h 1916906"/>
                    <a:gd name="connsiteX30" fmla="*/ 1047750 w 2143125"/>
                    <a:gd name="connsiteY30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993106 w 2143125"/>
                    <a:gd name="connsiteY18" fmla="*/ 728662 h 1916906"/>
                    <a:gd name="connsiteX19" fmla="*/ 1897857 w 2143125"/>
                    <a:gd name="connsiteY19" fmla="*/ 711993 h 1916906"/>
                    <a:gd name="connsiteX20" fmla="*/ 1897857 w 2143125"/>
                    <a:gd name="connsiteY20" fmla="*/ 664369 h 1916906"/>
                    <a:gd name="connsiteX21" fmla="*/ 1776413 w 2143125"/>
                    <a:gd name="connsiteY21" fmla="*/ 654844 h 1916906"/>
                    <a:gd name="connsiteX22" fmla="*/ 1585913 w 2143125"/>
                    <a:gd name="connsiteY22" fmla="*/ 597694 h 1916906"/>
                    <a:gd name="connsiteX23" fmla="*/ 1226344 w 2143125"/>
                    <a:gd name="connsiteY23" fmla="*/ 600075 h 1916906"/>
                    <a:gd name="connsiteX24" fmla="*/ 1307306 w 2143125"/>
                    <a:gd name="connsiteY24" fmla="*/ 411956 h 1916906"/>
                    <a:gd name="connsiteX25" fmla="*/ 1212056 w 2143125"/>
                    <a:gd name="connsiteY25" fmla="*/ 361950 h 1916906"/>
                    <a:gd name="connsiteX26" fmla="*/ 1195388 w 2143125"/>
                    <a:gd name="connsiteY26" fmla="*/ 273844 h 1916906"/>
                    <a:gd name="connsiteX27" fmla="*/ 1147763 w 2143125"/>
                    <a:gd name="connsiteY27" fmla="*/ 273844 h 1916906"/>
                    <a:gd name="connsiteX28" fmla="*/ 1097756 w 2143125"/>
                    <a:gd name="connsiteY28" fmla="*/ 190499 h 1916906"/>
                    <a:gd name="connsiteX29" fmla="*/ 1050131 w 2143125"/>
                    <a:gd name="connsiteY29" fmla="*/ 176213 h 1916906"/>
                    <a:gd name="connsiteX30" fmla="*/ 1047750 w 2143125"/>
                    <a:gd name="connsiteY30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993106 w 2143125"/>
                    <a:gd name="connsiteY18" fmla="*/ 728662 h 1916906"/>
                    <a:gd name="connsiteX19" fmla="*/ 1952625 w 2143125"/>
                    <a:gd name="connsiteY19" fmla="*/ 721519 h 1916906"/>
                    <a:gd name="connsiteX20" fmla="*/ 1897857 w 2143125"/>
                    <a:gd name="connsiteY20" fmla="*/ 711993 h 1916906"/>
                    <a:gd name="connsiteX21" fmla="*/ 1897857 w 2143125"/>
                    <a:gd name="connsiteY21" fmla="*/ 664369 h 1916906"/>
                    <a:gd name="connsiteX22" fmla="*/ 1776413 w 2143125"/>
                    <a:gd name="connsiteY22" fmla="*/ 654844 h 1916906"/>
                    <a:gd name="connsiteX23" fmla="*/ 1585913 w 2143125"/>
                    <a:gd name="connsiteY23" fmla="*/ 597694 h 1916906"/>
                    <a:gd name="connsiteX24" fmla="*/ 1226344 w 2143125"/>
                    <a:gd name="connsiteY24" fmla="*/ 600075 h 1916906"/>
                    <a:gd name="connsiteX25" fmla="*/ 1307306 w 2143125"/>
                    <a:gd name="connsiteY25" fmla="*/ 411956 h 1916906"/>
                    <a:gd name="connsiteX26" fmla="*/ 1212056 w 2143125"/>
                    <a:gd name="connsiteY26" fmla="*/ 361950 h 1916906"/>
                    <a:gd name="connsiteX27" fmla="*/ 1195388 w 2143125"/>
                    <a:gd name="connsiteY27" fmla="*/ 273844 h 1916906"/>
                    <a:gd name="connsiteX28" fmla="*/ 1147763 w 2143125"/>
                    <a:gd name="connsiteY28" fmla="*/ 273844 h 1916906"/>
                    <a:gd name="connsiteX29" fmla="*/ 1097756 w 2143125"/>
                    <a:gd name="connsiteY29" fmla="*/ 190499 h 1916906"/>
                    <a:gd name="connsiteX30" fmla="*/ 1050131 w 2143125"/>
                    <a:gd name="connsiteY30" fmla="*/ 176213 h 1916906"/>
                    <a:gd name="connsiteX31" fmla="*/ 1047750 w 2143125"/>
                    <a:gd name="connsiteY31" fmla="*/ 88106 h 1916906"/>
                    <a:gd name="connsiteX0" fmla="*/ 1047750 w 2143125"/>
                    <a:gd name="connsiteY0" fmla="*/ 88106 h 1916906"/>
                    <a:gd name="connsiteX1" fmla="*/ 997744 w 2143125"/>
                    <a:gd name="connsiteY1" fmla="*/ 52387 h 1916906"/>
                    <a:gd name="connsiteX2" fmla="*/ 826294 w 2143125"/>
                    <a:gd name="connsiteY2" fmla="*/ 59531 h 1916906"/>
                    <a:gd name="connsiteX3" fmla="*/ 735806 w 2143125"/>
                    <a:gd name="connsiteY3" fmla="*/ 0 h 1916906"/>
                    <a:gd name="connsiteX4" fmla="*/ 623888 w 2143125"/>
                    <a:gd name="connsiteY4" fmla="*/ 50006 h 1916906"/>
                    <a:gd name="connsiteX5" fmla="*/ 569119 w 2143125"/>
                    <a:gd name="connsiteY5" fmla="*/ 45244 h 1916906"/>
                    <a:gd name="connsiteX6" fmla="*/ 497681 w 2143125"/>
                    <a:gd name="connsiteY6" fmla="*/ 145256 h 1916906"/>
                    <a:gd name="connsiteX7" fmla="*/ 422275 w 2143125"/>
                    <a:gd name="connsiteY7" fmla="*/ 148431 h 1916906"/>
                    <a:gd name="connsiteX8" fmla="*/ 333375 w 2143125"/>
                    <a:gd name="connsiteY8" fmla="*/ 75406 h 1916906"/>
                    <a:gd name="connsiteX9" fmla="*/ 0 w 2143125"/>
                    <a:gd name="connsiteY9" fmla="*/ 364331 h 1916906"/>
                    <a:gd name="connsiteX10" fmla="*/ 47625 w 2143125"/>
                    <a:gd name="connsiteY10" fmla="*/ 1231106 h 1916906"/>
                    <a:gd name="connsiteX11" fmla="*/ 114300 w 2143125"/>
                    <a:gd name="connsiteY11" fmla="*/ 1469231 h 1916906"/>
                    <a:gd name="connsiteX12" fmla="*/ 1343025 w 2143125"/>
                    <a:gd name="connsiteY12" fmla="*/ 1916906 h 1916906"/>
                    <a:gd name="connsiteX13" fmla="*/ 1619250 w 2143125"/>
                    <a:gd name="connsiteY13" fmla="*/ 1754981 h 1916906"/>
                    <a:gd name="connsiteX14" fmla="*/ 1485900 w 2143125"/>
                    <a:gd name="connsiteY14" fmla="*/ 1440656 h 1916906"/>
                    <a:gd name="connsiteX15" fmla="*/ 1790700 w 2143125"/>
                    <a:gd name="connsiteY15" fmla="*/ 1297781 h 1916906"/>
                    <a:gd name="connsiteX16" fmla="*/ 2038350 w 2143125"/>
                    <a:gd name="connsiteY16" fmla="*/ 1021556 h 1916906"/>
                    <a:gd name="connsiteX17" fmla="*/ 2143125 w 2143125"/>
                    <a:gd name="connsiteY17" fmla="*/ 688181 h 1916906"/>
                    <a:gd name="connsiteX18" fmla="*/ 1993106 w 2143125"/>
                    <a:gd name="connsiteY18" fmla="*/ 728662 h 1916906"/>
                    <a:gd name="connsiteX19" fmla="*/ 1947862 w 2143125"/>
                    <a:gd name="connsiteY19" fmla="*/ 702469 h 1916906"/>
                    <a:gd name="connsiteX20" fmla="*/ 1897857 w 2143125"/>
                    <a:gd name="connsiteY20" fmla="*/ 711993 h 1916906"/>
                    <a:gd name="connsiteX21" fmla="*/ 1897857 w 2143125"/>
                    <a:gd name="connsiteY21" fmla="*/ 664369 h 1916906"/>
                    <a:gd name="connsiteX22" fmla="*/ 1776413 w 2143125"/>
                    <a:gd name="connsiteY22" fmla="*/ 654844 h 1916906"/>
                    <a:gd name="connsiteX23" fmla="*/ 1585913 w 2143125"/>
                    <a:gd name="connsiteY23" fmla="*/ 597694 h 1916906"/>
                    <a:gd name="connsiteX24" fmla="*/ 1226344 w 2143125"/>
                    <a:gd name="connsiteY24" fmla="*/ 600075 h 1916906"/>
                    <a:gd name="connsiteX25" fmla="*/ 1307306 w 2143125"/>
                    <a:gd name="connsiteY25" fmla="*/ 411956 h 1916906"/>
                    <a:gd name="connsiteX26" fmla="*/ 1212056 w 2143125"/>
                    <a:gd name="connsiteY26" fmla="*/ 361950 h 1916906"/>
                    <a:gd name="connsiteX27" fmla="*/ 1195388 w 2143125"/>
                    <a:gd name="connsiteY27" fmla="*/ 273844 h 1916906"/>
                    <a:gd name="connsiteX28" fmla="*/ 1147763 w 2143125"/>
                    <a:gd name="connsiteY28" fmla="*/ 273844 h 1916906"/>
                    <a:gd name="connsiteX29" fmla="*/ 1097756 w 2143125"/>
                    <a:gd name="connsiteY29" fmla="*/ 190499 h 1916906"/>
                    <a:gd name="connsiteX30" fmla="*/ 1050131 w 2143125"/>
                    <a:gd name="connsiteY30" fmla="*/ 176213 h 1916906"/>
                    <a:gd name="connsiteX31" fmla="*/ 1047750 w 2143125"/>
                    <a:gd name="connsiteY31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993106 w 2038350"/>
                    <a:gd name="connsiteY18" fmla="*/ 728662 h 1916906"/>
                    <a:gd name="connsiteX19" fmla="*/ 1947862 w 2038350"/>
                    <a:gd name="connsiteY19" fmla="*/ 702469 h 1916906"/>
                    <a:gd name="connsiteX20" fmla="*/ 1897857 w 2038350"/>
                    <a:gd name="connsiteY20" fmla="*/ 711993 h 1916906"/>
                    <a:gd name="connsiteX21" fmla="*/ 1897857 w 2038350"/>
                    <a:gd name="connsiteY21" fmla="*/ 664369 h 1916906"/>
                    <a:gd name="connsiteX22" fmla="*/ 1776413 w 2038350"/>
                    <a:gd name="connsiteY22" fmla="*/ 654844 h 1916906"/>
                    <a:gd name="connsiteX23" fmla="*/ 1585913 w 2038350"/>
                    <a:gd name="connsiteY23" fmla="*/ 597694 h 1916906"/>
                    <a:gd name="connsiteX24" fmla="*/ 1226344 w 2038350"/>
                    <a:gd name="connsiteY24" fmla="*/ 600075 h 1916906"/>
                    <a:gd name="connsiteX25" fmla="*/ 1307306 w 2038350"/>
                    <a:gd name="connsiteY25" fmla="*/ 411956 h 1916906"/>
                    <a:gd name="connsiteX26" fmla="*/ 1212056 w 2038350"/>
                    <a:gd name="connsiteY26" fmla="*/ 361950 h 1916906"/>
                    <a:gd name="connsiteX27" fmla="*/ 1195388 w 2038350"/>
                    <a:gd name="connsiteY27" fmla="*/ 273844 h 1916906"/>
                    <a:gd name="connsiteX28" fmla="*/ 1147763 w 2038350"/>
                    <a:gd name="connsiteY28" fmla="*/ 273844 h 1916906"/>
                    <a:gd name="connsiteX29" fmla="*/ 1097756 w 2038350"/>
                    <a:gd name="connsiteY29" fmla="*/ 190499 h 1916906"/>
                    <a:gd name="connsiteX30" fmla="*/ 1050131 w 2038350"/>
                    <a:gd name="connsiteY30" fmla="*/ 176213 h 1916906"/>
                    <a:gd name="connsiteX31" fmla="*/ 1047750 w 2038350"/>
                    <a:gd name="connsiteY31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945481 w 2038350"/>
                    <a:gd name="connsiteY18" fmla="*/ 804862 h 1916906"/>
                    <a:gd name="connsiteX19" fmla="*/ 1993106 w 2038350"/>
                    <a:gd name="connsiteY19" fmla="*/ 728662 h 1916906"/>
                    <a:gd name="connsiteX20" fmla="*/ 1947862 w 2038350"/>
                    <a:gd name="connsiteY20" fmla="*/ 702469 h 1916906"/>
                    <a:gd name="connsiteX21" fmla="*/ 1897857 w 2038350"/>
                    <a:gd name="connsiteY21" fmla="*/ 711993 h 1916906"/>
                    <a:gd name="connsiteX22" fmla="*/ 1897857 w 2038350"/>
                    <a:gd name="connsiteY22" fmla="*/ 664369 h 1916906"/>
                    <a:gd name="connsiteX23" fmla="*/ 1776413 w 2038350"/>
                    <a:gd name="connsiteY23" fmla="*/ 654844 h 1916906"/>
                    <a:gd name="connsiteX24" fmla="*/ 1585913 w 2038350"/>
                    <a:gd name="connsiteY24" fmla="*/ 597694 h 1916906"/>
                    <a:gd name="connsiteX25" fmla="*/ 1226344 w 2038350"/>
                    <a:gd name="connsiteY25" fmla="*/ 600075 h 1916906"/>
                    <a:gd name="connsiteX26" fmla="*/ 1307306 w 2038350"/>
                    <a:gd name="connsiteY26" fmla="*/ 411956 h 1916906"/>
                    <a:gd name="connsiteX27" fmla="*/ 1212056 w 2038350"/>
                    <a:gd name="connsiteY27" fmla="*/ 361950 h 1916906"/>
                    <a:gd name="connsiteX28" fmla="*/ 1195388 w 2038350"/>
                    <a:gd name="connsiteY28" fmla="*/ 273844 h 1916906"/>
                    <a:gd name="connsiteX29" fmla="*/ 1147763 w 2038350"/>
                    <a:gd name="connsiteY29" fmla="*/ 273844 h 1916906"/>
                    <a:gd name="connsiteX30" fmla="*/ 1097756 w 2038350"/>
                    <a:gd name="connsiteY30" fmla="*/ 190499 h 1916906"/>
                    <a:gd name="connsiteX31" fmla="*/ 1050131 w 2038350"/>
                    <a:gd name="connsiteY31" fmla="*/ 176213 h 1916906"/>
                    <a:gd name="connsiteX32" fmla="*/ 1047750 w 2038350"/>
                    <a:gd name="connsiteY32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938337 w 2038350"/>
                    <a:gd name="connsiteY18" fmla="*/ 778669 h 1916906"/>
                    <a:gd name="connsiteX19" fmla="*/ 1993106 w 2038350"/>
                    <a:gd name="connsiteY19" fmla="*/ 728662 h 1916906"/>
                    <a:gd name="connsiteX20" fmla="*/ 1947862 w 2038350"/>
                    <a:gd name="connsiteY20" fmla="*/ 702469 h 1916906"/>
                    <a:gd name="connsiteX21" fmla="*/ 1897857 w 2038350"/>
                    <a:gd name="connsiteY21" fmla="*/ 711993 h 1916906"/>
                    <a:gd name="connsiteX22" fmla="*/ 1897857 w 2038350"/>
                    <a:gd name="connsiteY22" fmla="*/ 664369 h 1916906"/>
                    <a:gd name="connsiteX23" fmla="*/ 1776413 w 2038350"/>
                    <a:gd name="connsiteY23" fmla="*/ 654844 h 1916906"/>
                    <a:gd name="connsiteX24" fmla="*/ 1585913 w 2038350"/>
                    <a:gd name="connsiteY24" fmla="*/ 597694 h 1916906"/>
                    <a:gd name="connsiteX25" fmla="*/ 1226344 w 2038350"/>
                    <a:gd name="connsiteY25" fmla="*/ 600075 h 1916906"/>
                    <a:gd name="connsiteX26" fmla="*/ 1307306 w 2038350"/>
                    <a:gd name="connsiteY26" fmla="*/ 411956 h 1916906"/>
                    <a:gd name="connsiteX27" fmla="*/ 1212056 w 2038350"/>
                    <a:gd name="connsiteY27" fmla="*/ 361950 h 1916906"/>
                    <a:gd name="connsiteX28" fmla="*/ 1195388 w 2038350"/>
                    <a:gd name="connsiteY28" fmla="*/ 273844 h 1916906"/>
                    <a:gd name="connsiteX29" fmla="*/ 1147763 w 2038350"/>
                    <a:gd name="connsiteY29" fmla="*/ 273844 h 1916906"/>
                    <a:gd name="connsiteX30" fmla="*/ 1097756 w 2038350"/>
                    <a:gd name="connsiteY30" fmla="*/ 190499 h 1916906"/>
                    <a:gd name="connsiteX31" fmla="*/ 1050131 w 2038350"/>
                    <a:gd name="connsiteY31" fmla="*/ 176213 h 1916906"/>
                    <a:gd name="connsiteX32" fmla="*/ 1047750 w 2038350"/>
                    <a:gd name="connsiteY32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912144 w 2038350"/>
                    <a:gd name="connsiteY18" fmla="*/ 835819 h 1916906"/>
                    <a:gd name="connsiteX19" fmla="*/ 1938337 w 2038350"/>
                    <a:gd name="connsiteY19" fmla="*/ 778669 h 1916906"/>
                    <a:gd name="connsiteX20" fmla="*/ 1993106 w 2038350"/>
                    <a:gd name="connsiteY20" fmla="*/ 728662 h 1916906"/>
                    <a:gd name="connsiteX21" fmla="*/ 1947862 w 2038350"/>
                    <a:gd name="connsiteY21" fmla="*/ 702469 h 1916906"/>
                    <a:gd name="connsiteX22" fmla="*/ 1897857 w 2038350"/>
                    <a:gd name="connsiteY22" fmla="*/ 711993 h 1916906"/>
                    <a:gd name="connsiteX23" fmla="*/ 1897857 w 2038350"/>
                    <a:gd name="connsiteY23" fmla="*/ 664369 h 1916906"/>
                    <a:gd name="connsiteX24" fmla="*/ 1776413 w 2038350"/>
                    <a:gd name="connsiteY24" fmla="*/ 654844 h 1916906"/>
                    <a:gd name="connsiteX25" fmla="*/ 1585913 w 2038350"/>
                    <a:gd name="connsiteY25" fmla="*/ 597694 h 1916906"/>
                    <a:gd name="connsiteX26" fmla="*/ 1226344 w 2038350"/>
                    <a:gd name="connsiteY26" fmla="*/ 600075 h 1916906"/>
                    <a:gd name="connsiteX27" fmla="*/ 1307306 w 2038350"/>
                    <a:gd name="connsiteY27" fmla="*/ 411956 h 1916906"/>
                    <a:gd name="connsiteX28" fmla="*/ 1212056 w 2038350"/>
                    <a:gd name="connsiteY28" fmla="*/ 361950 h 1916906"/>
                    <a:gd name="connsiteX29" fmla="*/ 1195388 w 2038350"/>
                    <a:gd name="connsiteY29" fmla="*/ 273844 h 1916906"/>
                    <a:gd name="connsiteX30" fmla="*/ 1147763 w 2038350"/>
                    <a:gd name="connsiteY30" fmla="*/ 273844 h 1916906"/>
                    <a:gd name="connsiteX31" fmla="*/ 1097756 w 2038350"/>
                    <a:gd name="connsiteY31" fmla="*/ 190499 h 1916906"/>
                    <a:gd name="connsiteX32" fmla="*/ 1050131 w 2038350"/>
                    <a:gd name="connsiteY32" fmla="*/ 176213 h 1916906"/>
                    <a:gd name="connsiteX33" fmla="*/ 1047750 w 2038350"/>
                    <a:gd name="connsiteY33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895475 w 2038350"/>
                    <a:gd name="connsiteY18" fmla="*/ 781050 h 1916906"/>
                    <a:gd name="connsiteX19" fmla="*/ 1938337 w 2038350"/>
                    <a:gd name="connsiteY19" fmla="*/ 778669 h 1916906"/>
                    <a:gd name="connsiteX20" fmla="*/ 1993106 w 2038350"/>
                    <a:gd name="connsiteY20" fmla="*/ 728662 h 1916906"/>
                    <a:gd name="connsiteX21" fmla="*/ 1947862 w 2038350"/>
                    <a:gd name="connsiteY21" fmla="*/ 702469 h 1916906"/>
                    <a:gd name="connsiteX22" fmla="*/ 1897857 w 2038350"/>
                    <a:gd name="connsiteY22" fmla="*/ 711993 h 1916906"/>
                    <a:gd name="connsiteX23" fmla="*/ 1897857 w 2038350"/>
                    <a:gd name="connsiteY23" fmla="*/ 664369 h 1916906"/>
                    <a:gd name="connsiteX24" fmla="*/ 1776413 w 2038350"/>
                    <a:gd name="connsiteY24" fmla="*/ 654844 h 1916906"/>
                    <a:gd name="connsiteX25" fmla="*/ 1585913 w 2038350"/>
                    <a:gd name="connsiteY25" fmla="*/ 597694 h 1916906"/>
                    <a:gd name="connsiteX26" fmla="*/ 1226344 w 2038350"/>
                    <a:gd name="connsiteY26" fmla="*/ 600075 h 1916906"/>
                    <a:gd name="connsiteX27" fmla="*/ 1307306 w 2038350"/>
                    <a:gd name="connsiteY27" fmla="*/ 411956 h 1916906"/>
                    <a:gd name="connsiteX28" fmla="*/ 1212056 w 2038350"/>
                    <a:gd name="connsiteY28" fmla="*/ 361950 h 1916906"/>
                    <a:gd name="connsiteX29" fmla="*/ 1195388 w 2038350"/>
                    <a:gd name="connsiteY29" fmla="*/ 273844 h 1916906"/>
                    <a:gd name="connsiteX30" fmla="*/ 1147763 w 2038350"/>
                    <a:gd name="connsiteY30" fmla="*/ 273844 h 1916906"/>
                    <a:gd name="connsiteX31" fmla="*/ 1097756 w 2038350"/>
                    <a:gd name="connsiteY31" fmla="*/ 190499 h 1916906"/>
                    <a:gd name="connsiteX32" fmla="*/ 1050131 w 2038350"/>
                    <a:gd name="connsiteY32" fmla="*/ 176213 h 1916906"/>
                    <a:gd name="connsiteX33" fmla="*/ 1047750 w 2038350"/>
                    <a:gd name="connsiteY33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833563 w 2038350"/>
                    <a:gd name="connsiteY18" fmla="*/ 950119 h 1916906"/>
                    <a:gd name="connsiteX19" fmla="*/ 1895475 w 2038350"/>
                    <a:gd name="connsiteY19" fmla="*/ 781050 h 1916906"/>
                    <a:gd name="connsiteX20" fmla="*/ 1938337 w 2038350"/>
                    <a:gd name="connsiteY20" fmla="*/ 778669 h 1916906"/>
                    <a:gd name="connsiteX21" fmla="*/ 1993106 w 2038350"/>
                    <a:gd name="connsiteY21" fmla="*/ 728662 h 1916906"/>
                    <a:gd name="connsiteX22" fmla="*/ 1947862 w 2038350"/>
                    <a:gd name="connsiteY22" fmla="*/ 702469 h 1916906"/>
                    <a:gd name="connsiteX23" fmla="*/ 1897857 w 2038350"/>
                    <a:gd name="connsiteY23" fmla="*/ 711993 h 1916906"/>
                    <a:gd name="connsiteX24" fmla="*/ 1897857 w 2038350"/>
                    <a:gd name="connsiteY24" fmla="*/ 664369 h 1916906"/>
                    <a:gd name="connsiteX25" fmla="*/ 1776413 w 2038350"/>
                    <a:gd name="connsiteY25" fmla="*/ 654844 h 1916906"/>
                    <a:gd name="connsiteX26" fmla="*/ 1585913 w 2038350"/>
                    <a:gd name="connsiteY26" fmla="*/ 597694 h 1916906"/>
                    <a:gd name="connsiteX27" fmla="*/ 1226344 w 2038350"/>
                    <a:gd name="connsiteY27" fmla="*/ 600075 h 1916906"/>
                    <a:gd name="connsiteX28" fmla="*/ 1307306 w 2038350"/>
                    <a:gd name="connsiteY28" fmla="*/ 411956 h 1916906"/>
                    <a:gd name="connsiteX29" fmla="*/ 1212056 w 2038350"/>
                    <a:gd name="connsiteY29" fmla="*/ 361950 h 1916906"/>
                    <a:gd name="connsiteX30" fmla="*/ 1195388 w 2038350"/>
                    <a:gd name="connsiteY30" fmla="*/ 273844 h 1916906"/>
                    <a:gd name="connsiteX31" fmla="*/ 1147763 w 2038350"/>
                    <a:gd name="connsiteY31" fmla="*/ 273844 h 1916906"/>
                    <a:gd name="connsiteX32" fmla="*/ 1097756 w 2038350"/>
                    <a:gd name="connsiteY32" fmla="*/ 190499 h 1916906"/>
                    <a:gd name="connsiteX33" fmla="*/ 1050131 w 2038350"/>
                    <a:gd name="connsiteY33" fmla="*/ 176213 h 1916906"/>
                    <a:gd name="connsiteX34" fmla="*/ 1047750 w 2038350"/>
                    <a:gd name="connsiteY34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859756 w 2038350"/>
                    <a:gd name="connsiteY18" fmla="*/ 885826 h 1916906"/>
                    <a:gd name="connsiteX19" fmla="*/ 1895475 w 2038350"/>
                    <a:gd name="connsiteY19" fmla="*/ 781050 h 1916906"/>
                    <a:gd name="connsiteX20" fmla="*/ 1938337 w 2038350"/>
                    <a:gd name="connsiteY20" fmla="*/ 778669 h 1916906"/>
                    <a:gd name="connsiteX21" fmla="*/ 1993106 w 2038350"/>
                    <a:gd name="connsiteY21" fmla="*/ 728662 h 1916906"/>
                    <a:gd name="connsiteX22" fmla="*/ 1947862 w 2038350"/>
                    <a:gd name="connsiteY22" fmla="*/ 702469 h 1916906"/>
                    <a:gd name="connsiteX23" fmla="*/ 1897857 w 2038350"/>
                    <a:gd name="connsiteY23" fmla="*/ 711993 h 1916906"/>
                    <a:gd name="connsiteX24" fmla="*/ 1897857 w 2038350"/>
                    <a:gd name="connsiteY24" fmla="*/ 664369 h 1916906"/>
                    <a:gd name="connsiteX25" fmla="*/ 1776413 w 2038350"/>
                    <a:gd name="connsiteY25" fmla="*/ 654844 h 1916906"/>
                    <a:gd name="connsiteX26" fmla="*/ 1585913 w 2038350"/>
                    <a:gd name="connsiteY26" fmla="*/ 597694 h 1916906"/>
                    <a:gd name="connsiteX27" fmla="*/ 1226344 w 2038350"/>
                    <a:gd name="connsiteY27" fmla="*/ 600075 h 1916906"/>
                    <a:gd name="connsiteX28" fmla="*/ 1307306 w 2038350"/>
                    <a:gd name="connsiteY28" fmla="*/ 411956 h 1916906"/>
                    <a:gd name="connsiteX29" fmla="*/ 1212056 w 2038350"/>
                    <a:gd name="connsiteY29" fmla="*/ 361950 h 1916906"/>
                    <a:gd name="connsiteX30" fmla="*/ 1195388 w 2038350"/>
                    <a:gd name="connsiteY30" fmla="*/ 273844 h 1916906"/>
                    <a:gd name="connsiteX31" fmla="*/ 1147763 w 2038350"/>
                    <a:gd name="connsiteY31" fmla="*/ 273844 h 1916906"/>
                    <a:gd name="connsiteX32" fmla="*/ 1097756 w 2038350"/>
                    <a:gd name="connsiteY32" fmla="*/ 190499 h 1916906"/>
                    <a:gd name="connsiteX33" fmla="*/ 1050131 w 2038350"/>
                    <a:gd name="connsiteY33" fmla="*/ 176213 h 1916906"/>
                    <a:gd name="connsiteX34" fmla="*/ 1047750 w 2038350"/>
                    <a:gd name="connsiteY34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804988 w 2038350"/>
                    <a:gd name="connsiteY18" fmla="*/ 1004887 h 1916906"/>
                    <a:gd name="connsiteX19" fmla="*/ 1859756 w 2038350"/>
                    <a:gd name="connsiteY19" fmla="*/ 885826 h 1916906"/>
                    <a:gd name="connsiteX20" fmla="*/ 1895475 w 2038350"/>
                    <a:gd name="connsiteY20" fmla="*/ 781050 h 1916906"/>
                    <a:gd name="connsiteX21" fmla="*/ 1938337 w 2038350"/>
                    <a:gd name="connsiteY21" fmla="*/ 778669 h 1916906"/>
                    <a:gd name="connsiteX22" fmla="*/ 1993106 w 2038350"/>
                    <a:gd name="connsiteY22" fmla="*/ 728662 h 1916906"/>
                    <a:gd name="connsiteX23" fmla="*/ 1947862 w 2038350"/>
                    <a:gd name="connsiteY23" fmla="*/ 702469 h 1916906"/>
                    <a:gd name="connsiteX24" fmla="*/ 1897857 w 2038350"/>
                    <a:gd name="connsiteY24" fmla="*/ 711993 h 1916906"/>
                    <a:gd name="connsiteX25" fmla="*/ 1897857 w 2038350"/>
                    <a:gd name="connsiteY25" fmla="*/ 664369 h 1916906"/>
                    <a:gd name="connsiteX26" fmla="*/ 1776413 w 2038350"/>
                    <a:gd name="connsiteY26" fmla="*/ 654844 h 1916906"/>
                    <a:gd name="connsiteX27" fmla="*/ 1585913 w 2038350"/>
                    <a:gd name="connsiteY27" fmla="*/ 597694 h 1916906"/>
                    <a:gd name="connsiteX28" fmla="*/ 1226344 w 2038350"/>
                    <a:gd name="connsiteY28" fmla="*/ 600075 h 1916906"/>
                    <a:gd name="connsiteX29" fmla="*/ 1307306 w 2038350"/>
                    <a:gd name="connsiteY29" fmla="*/ 411956 h 1916906"/>
                    <a:gd name="connsiteX30" fmla="*/ 1212056 w 2038350"/>
                    <a:gd name="connsiteY30" fmla="*/ 361950 h 1916906"/>
                    <a:gd name="connsiteX31" fmla="*/ 1195388 w 2038350"/>
                    <a:gd name="connsiteY31" fmla="*/ 273844 h 1916906"/>
                    <a:gd name="connsiteX32" fmla="*/ 1147763 w 2038350"/>
                    <a:gd name="connsiteY32" fmla="*/ 273844 h 1916906"/>
                    <a:gd name="connsiteX33" fmla="*/ 1097756 w 2038350"/>
                    <a:gd name="connsiteY33" fmla="*/ 190499 h 1916906"/>
                    <a:gd name="connsiteX34" fmla="*/ 1050131 w 2038350"/>
                    <a:gd name="connsiteY34" fmla="*/ 176213 h 1916906"/>
                    <a:gd name="connsiteX35" fmla="*/ 1047750 w 2038350"/>
                    <a:gd name="connsiteY35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743075 w 2038350"/>
                    <a:gd name="connsiteY18" fmla="*/ 976312 h 1916906"/>
                    <a:gd name="connsiteX19" fmla="*/ 1859756 w 2038350"/>
                    <a:gd name="connsiteY19" fmla="*/ 885826 h 1916906"/>
                    <a:gd name="connsiteX20" fmla="*/ 1895475 w 2038350"/>
                    <a:gd name="connsiteY20" fmla="*/ 781050 h 1916906"/>
                    <a:gd name="connsiteX21" fmla="*/ 1938337 w 2038350"/>
                    <a:gd name="connsiteY21" fmla="*/ 778669 h 1916906"/>
                    <a:gd name="connsiteX22" fmla="*/ 1993106 w 2038350"/>
                    <a:gd name="connsiteY22" fmla="*/ 728662 h 1916906"/>
                    <a:gd name="connsiteX23" fmla="*/ 1947862 w 2038350"/>
                    <a:gd name="connsiteY23" fmla="*/ 702469 h 1916906"/>
                    <a:gd name="connsiteX24" fmla="*/ 1897857 w 2038350"/>
                    <a:gd name="connsiteY24" fmla="*/ 711993 h 1916906"/>
                    <a:gd name="connsiteX25" fmla="*/ 1897857 w 2038350"/>
                    <a:gd name="connsiteY25" fmla="*/ 664369 h 1916906"/>
                    <a:gd name="connsiteX26" fmla="*/ 1776413 w 2038350"/>
                    <a:gd name="connsiteY26" fmla="*/ 654844 h 1916906"/>
                    <a:gd name="connsiteX27" fmla="*/ 1585913 w 2038350"/>
                    <a:gd name="connsiteY27" fmla="*/ 597694 h 1916906"/>
                    <a:gd name="connsiteX28" fmla="*/ 1226344 w 2038350"/>
                    <a:gd name="connsiteY28" fmla="*/ 600075 h 1916906"/>
                    <a:gd name="connsiteX29" fmla="*/ 1307306 w 2038350"/>
                    <a:gd name="connsiteY29" fmla="*/ 411956 h 1916906"/>
                    <a:gd name="connsiteX30" fmla="*/ 1212056 w 2038350"/>
                    <a:gd name="connsiteY30" fmla="*/ 361950 h 1916906"/>
                    <a:gd name="connsiteX31" fmla="*/ 1195388 w 2038350"/>
                    <a:gd name="connsiteY31" fmla="*/ 273844 h 1916906"/>
                    <a:gd name="connsiteX32" fmla="*/ 1147763 w 2038350"/>
                    <a:gd name="connsiteY32" fmla="*/ 273844 h 1916906"/>
                    <a:gd name="connsiteX33" fmla="*/ 1097756 w 2038350"/>
                    <a:gd name="connsiteY33" fmla="*/ 190499 h 1916906"/>
                    <a:gd name="connsiteX34" fmla="*/ 1050131 w 2038350"/>
                    <a:gd name="connsiteY34" fmla="*/ 176213 h 1916906"/>
                    <a:gd name="connsiteX35" fmla="*/ 1047750 w 2038350"/>
                    <a:gd name="connsiteY35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743075 w 2038350"/>
                    <a:gd name="connsiteY18" fmla="*/ 976312 h 1916906"/>
                    <a:gd name="connsiteX19" fmla="*/ 1807369 w 2038350"/>
                    <a:gd name="connsiteY19" fmla="*/ 926306 h 1916906"/>
                    <a:gd name="connsiteX20" fmla="*/ 1859756 w 2038350"/>
                    <a:gd name="connsiteY20" fmla="*/ 885826 h 1916906"/>
                    <a:gd name="connsiteX21" fmla="*/ 1895475 w 2038350"/>
                    <a:gd name="connsiteY21" fmla="*/ 781050 h 1916906"/>
                    <a:gd name="connsiteX22" fmla="*/ 1938337 w 2038350"/>
                    <a:gd name="connsiteY22" fmla="*/ 778669 h 1916906"/>
                    <a:gd name="connsiteX23" fmla="*/ 1993106 w 2038350"/>
                    <a:gd name="connsiteY23" fmla="*/ 728662 h 1916906"/>
                    <a:gd name="connsiteX24" fmla="*/ 1947862 w 2038350"/>
                    <a:gd name="connsiteY24" fmla="*/ 702469 h 1916906"/>
                    <a:gd name="connsiteX25" fmla="*/ 1897857 w 2038350"/>
                    <a:gd name="connsiteY25" fmla="*/ 711993 h 1916906"/>
                    <a:gd name="connsiteX26" fmla="*/ 1897857 w 2038350"/>
                    <a:gd name="connsiteY26" fmla="*/ 664369 h 1916906"/>
                    <a:gd name="connsiteX27" fmla="*/ 1776413 w 2038350"/>
                    <a:gd name="connsiteY27" fmla="*/ 654844 h 1916906"/>
                    <a:gd name="connsiteX28" fmla="*/ 1585913 w 2038350"/>
                    <a:gd name="connsiteY28" fmla="*/ 597694 h 1916906"/>
                    <a:gd name="connsiteX29" fmla="*/ 1226344 w 2038350"/>
                    <a:gd name="connsiteY29" fmla="*/ 600075 h 1916906"/>
                    <a:gd name="connsiteX30" fmla="*/ 1307306 w 2038350"/>
                    <a:gd name="connsiteY30" fmla="*/ 411956 h 1916906"/>
                    <a:gd name="connsiteX31" fmla="*/ 1212056 w 2038350"/>
                    <a:gd name="connsiteY31" fmla="*/ 361950 h 1916906"/>
                    <a:gd name="connsiteX32" fmla="*/ 1195388 w 2038350"/>
                    <a:gd name="connsiteY32" fmla="*/ 273844 h 1916906"/>
                    <a:gd name="connsiteX33" fmla="*/ 1147763 w 2038350"/>
                    <a:gd name="connsiteY33" fmla="*/ 273844 h 1916906"/>
                    <a:gd name="connsiteX34" fmla="*/ 1097756 w 2038350"/>
                    <a:gd name="connsiteY34" fmla="*/ 190499 h 1916906"/>
                    <a:gd name="connsiteX35" fmla="*/ 1050131 w 2038350"/>
                    <a:gd name="connsiteY35" fmla="*/ 176213 h 1916906"/>
                    <a:gd name="connsiteX36" fmla="*/ 1047750 w 2038350"/>
                    <a:gd name="connsiteY36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743075 w 2038350"/>
                    <a:gd name="connsiteY18" fmla="*/ 976312 h 1916906"/>
                    <a:gd name="connsiteX19" fmla="*/ 1797844 w 2038350"/>
                    <a:gd name="connsiteY19" fmla="*/ 912019 h 1916906"/>
                    <a:gd name="connsiteX20" fmla="*/ 1859756 w 2038350"/>
                    <a:gd name="connsiteY20" fmla="*/ 885826 h 1916906"/>
                    <a:gd name="connsiteX21" fmla="*/ 1895475 w 2038350"/>
                    <a:gd name="connsiteY21" fmla="*/ 781050 h 1916906"/>
                    <a:gd name="connsiteX22" fmla="*/ 1938337 w 2038350"/>
                    <a:gd name="connsiteY22" fmla="*/ 778669 h 1916906"/>
                    <a:gd name="connsiteX23" fmla="*/ 1993106 w 2038350"/>
                    <a:gd name="connsiteY23" fmla="*/ 728662 h 1916906"/>
                    <a:gd name="connsiteX24" fmla="*/ 1947862 w 2038350"/>
                    <a:gd name="connsiteY24" fmla="*/ 702469 h 1916906"/>
                    <a:gd name="connsiteX25" fmla="*/ 1897857 w 2038350"/>
                    <a:gd name="connsiteY25" fmla="*/ 711993 h 1916906"/>
                    <a:gd name="connsiteX26" fmla="*/ 1897857 w 2038350"/>
                    <a:gd name="connsiteY26" fmla="*/ 664369 h 1916906"/>
                    <a:gd name="connsiteX27" fmla="*/ 1776413 w 2038350"/>
                    <a:gd name="connsiteY27" fmla="*/ 654844 h 1916906"/>
                    <a:gd name="connsiteX28" fmla="*/ 1585913 w 2038350"/>
                    <a:gd name="connsiteY28" fmla="*/ 597694 h 1916906"/>
                    <a:gd name="connsiteX29" fmla="*/ 1226344 w 2038350"/>
                    <a:gd name="connsiteY29" fmla="*/ 600075 h 1916906"/>
                    <a:gd name="connsiteX30" fmla="*/ 1307306 w 2038350"/>
                    <a:gd name="connsiteY30" fmla="*/ 411956 h 1916906"/>
                    <a:gd name="connsiteX31" fmla="*/ 1212056 w 2038350"/>
                    <a:gd name="connsiteY31" fmla="*/ 361950 h 1916906"/>
                    <a:gd name="connsiteX32" fmla="*/ 1195388 w 2038350"/>
                    <a:gd name="connsiteY32" fmla="*/ 273844 h 1916906"/>
                    <a:gd name="connsiteX33" fmla="*/ 1147763 w 2038350"/>
                    <a:gd name="connsiteY33" fmla="*/ 273844 h 1916906"/>
                    <a:gd name="connsiteX34" fmla="*/ 1097756 w 2038350"/>
                    <a:gd name="connsiteY34" fmla="*/ 190499 h 1916906"/>
                    <a:gd name="connsiteX35" fmla="*/ 1050131 w 2038350"/>
                    <a:gd name="connsiteY35" fmla="*/ 176213 h 1916906"/>
                    <a:gd name="connsiteX36" fmla="*/ 1047750 w 2038350"/>
                    <a:gd name="connsiteY36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750219 w 2038350"/>
                    <a:gd name="connsiteY18" fmla="*/ 1028700 h 1916906"/>
                    <a:gd name="connsiteX19" fmla="*/ 1743075 w 2038350"/>
                    <a:gd name="connsiteY19" fmla="*/ 976312 h 1916906"/>
                    <a:gd name="connsiteX20" fmla="*/ 1797844 w 2038350"/>
                    <a:gd name="connsiteY20" fmla="*/ 912019 h 1916906"/>
                    <a:gd name="connsiteX21" fmla="*/ 1859756 w 2038350"/>
                    <a:gd name="connsiteY21" fmla="*/ 885826 h 1916906"/>
                    <a:gd name="connsiteX22" fmla="*/ 1895475 w 2038350"/>
                    <a:gd name="connsiteY22" fmla="*/ 781050 h 1916906"/>
                    <a:gd name="connsiteX23" fmla="*/ 1938337 w 2038350"/>
                    <a:gd name="connsiteY23" fmla="*/ 778669 h 1916906"/>
                    <a:gd name="connsiteX24" fmla="*/ 1993106 w 2038350"/>
                    <a:gd name="connsiteY24" fmla="*/ 728662 h 1916906"/>
                    <a:gd name="connsiteX25" fmla="*/ 1947862 w 2038350"/>
                    <a:gd name="connsiteY25" fmla="*/ 702469 h 1916906"/>
                    <a:gd name="connsiteX26" fmla="*/ 1897857 w 2038350"/>
                    <a:gd name="connsiteY26" fmla="*/ 711993 h 1916906"/>
                    <a:gd name="connsiteX27" fmla="*/ 1897857 w 2038350"/>
                    <a:gd name="connsiteY27" fmla="*/ 664369 h 1916906"/>
                    <a:gd name="connsiteX28" fmla="*/ 1776413 w 2038350"/>
                    <a:gd name="connsiteY28" fmla="*/ 654844 h 1916906"/>
                    <a:gd name="connsiteX29" fmla="*/ 1585913 w 2038350"/>
                    <a:gd name="connsiteY29" fmla="*/ 597694 h 1916906"/>
                    <a:gd name="connsiteX30" fmla="*/ 1226344 w 2038350"/>
                    <a:gd name="connsiteY30" fmla="*/ 600075 h 1916906"/>
                    <a:gd name="connsiteX31" fmla="*/ 1307306 w 2038350"/>
                    <a:gd name="connsiteY31" fmla="*/ 411956 h 1916906"/>
                    <a:gd name="connsiteX32" fmla="*/ 1212056 w 2038350"/>
                    <a:gd name="connsiteY32" fmla="*/ 361950 h 1916906"/>
                    <a:gd name="connsiteX33" fmla="*/ 1195388 w 2038350"/>
                    <a:gd name="connsiteY33" fmla="*/ 273844 h 1916906"/>
                    <a:gd name="connsiteX34" fmla="*/ 1147763 w 2038350"/>
                    <a:gd name="connsiteY34" fmla="*/ 273844 h 1916906"/>
                    <a:gd name="connsiteX35" fmla="*/ 1097756 w 2038350"/>
                    <a:gd name="connsiteY35" fmla="*/ 190499 h 1916906"/>
                    <a:gd name="connsiteX36" fmla="*/ 1050131 w 2038350"/>
                    <a:gd name="connsiteY36" fmla="*/ 176213 h 1916906"/>
                    <a:gd name="connsiteX37" fmla="*/ 1047750 w 2038350"/>
                    <a:gd name="connsiteY37" fmla="*/ 88106 h 1916906"/>
                    <a:gd name="connsiteX0" fmla="*/ 1047750 w 2038350"/>
                    <a:gd name="connsiteY0" fmla="*/ 88106 h 1916906"/>
                    <a:gd name="connsiteX1" fmla="*/ 997744 w 2038350"/>
                    <a:gd name="connsiteY1" fmla="*/ 52387 h 1916906"/>
                    <a:gd name="connsiteX2" fmla="*/ 826294 w 2038350"/>
                    <a:gd name="connsiteY2" fmla="*/ 59531 h 1916906"/>
                    <a:gd name="connsiteX3" fmla="*/ 735806 w 2038350"/>
                    <a:gd name="connsiteY3" fmla="*/ 0 h 1916906"/>
                    <a:gd name="connsiteX4" fmla="*/ 623888 w 2038350"/>
                    <a:gd name="connsiteY4" fmla="*/ 50006 h 1916906"/>
                    <a:gd name="connsiteX5" fmla="*/ 569119 w 2038350"/>
                    <a:gd name="connsiteY5" fmla="*/ 45244 h 1916906"/>
                    <a:gd name="connsiteX6" fmla="*/ 497681 w 2038350"/>
                    <a:gd name="connsiteY6" fmla="*/ 145256 h 1916906"/>
                    <a:gd name="connsiteX7" fmla="*/ 422275 w 2038350"/>
                    <a:gd name="connsiteY7" fmla="*/ 148431 h 1916906"/>
                    <a:gd name="connsiteX8" fmla="*/ 333375 w 2038350"/>
                    <a:gd name="connsiteY8" fmla="*/ 75406 h 1916906"/>
                    <a:gd name="connsiteX9" fmla="*/ 0 w 2038350"/>
                    <a:gd name="connsiteY9" fmla="*/ 364331 h 1916906"/>
                    <a:gd name="connsiteX10" fmla="*/ 47625 w 2038350"/>
                    <a:gd name="connsiteY10" fmla="*/ 1231106 h 1916906"/>
                    <a:gd name="connsiteX11" fmla="*/ 114300 w 2038350"/>
                    <a:gd name="connsiteY11" fmla="*/ 1469231 h 1916906"/>
                    <a:gd name="connsiteX12" fmla="*/ 1343025 w 2038350"/>
                    <a:gd name="connsiteY12" fmla="*/ 1916906 h 1916906"/>
                    <a:gd name="connsiteX13" fmla="*/ 1619250 w 2038350"/>
                    <a:gd name="connsiteY13" fmla="*/ 1754981 h 1916906"/>
                    <a:gd name="connsiteX14" fmla="*/ 1485900 w 2038350"/>
                    <a:gd name="connsiteY14" fmla="*/ 1440656 h 1916906"/>
                    <a:gd name="connsiteX15" fmla="*/ 1790700 w 2038350"/>
                    <a:gd name="connsiteY15" fmla="*/ 1297781 h 1916906"/>
                    <a:gd name="connsiteX16" fmla="*/ 2038350 w 2038350"/>
                    <a:gd name="connsiteY16" fmla="*/ 1021556 h 1916906"/>
                    <a:gd name="connsiteX17" fmla="*/ 1764506 w 2038350"/>
                    <a:gd name="connsiteY17" fmla="*/ 1126331 h 1916906"/>
                    <a:gd name="connsiteX18" fmla="*/ 1793082 w 2038350"/>
                    <a:gd name="connsiteY18" fmla="*/ 1052513 h 1916906"/>
                    <a:gd name="connsiteX19" fmla="*/ 1743075 w 2038350"/>
                    <a:gd name="connsiteY19" fmla="*/ 976312 h 1916906"/>
                    <a:gd name="connsiteX20" fmla="*/ 1797844 w 2038350"/>
                    <a:gd name="connsiteY20" fmla="*/ 912019 h 1916906"/>
                    <a:gd name="connsiteX21" fmla="*/ 1859756 w 2038350"/>
                    <a:gd name="connsiteY21" fmla="*/ 885826 h 1916906"/>
                    <a:gd name="connsiteX22" fmla="*/ 1895475 w 2038350"/>
                    <a:gd name="connsiteY22" fmla="*/ 781050 h 1916906"/>
                    <a:gd name="connsiteX23" fmla="*/ 1938337 w 2038350"/>
                    <a:gd name="connsiteY23" fmla="*/ 778669 h 1916906"/>
                    <a:gd name="connsiteX24" fmla="*/ 1993106 w 2038350"/>
                    <a:gd name="connsiteY24" fmla="*/ 728662 h 1916906"/>
                    <a:gd name="connsiteX25" fmla="*/ 1947862 w 2038350"/>
                    <a:gd name="connsiteY25" fmla="*/ 702469 h 1916906"/>
                    <a:gd name="connsiteX26" fmla="*/ 1897857 w 2038350"/>
                    <a:gd name="connsiteY26" fmla="*/ 711993 h 1916906"/>
                    <a:gd name="connsiteX27" fmla="*/ 1897857 w 2038350"/>
                    <a:gd name="connsiteY27" fmla="*/ 664369 h 1916906"/>
                    <a:gd name="connsiteX28" fmla="*/ 1776413 w 2038350"/>
                    <a:gd name="connsiteY28" fmla="*/ 654844 h 1916906"/>
                    <a:gd name="connsiteX29" fmla="*/ 1585913 w 2038350"/>
                    <a:gd name="connsiteY29" fmla="*/ 597694 h 1916906"/>
                    <a:gd name="connsiteX30" fmla="*/ 1226344 w 2038350"/>
                    <a:gd name="connsiteY30" fmla="*/ 600075 h 1916906"/>
                    <a:gd name="connsiteX31" fmla="*/ 1307306 w 2038350"/>
                    <a:gd name="connsiteY31" fmla="*/ 411956 h 1916906"/>
                    <a:gd name="connsiteX32" fmla="*/ 1212056 w 2038350"/>
                    <a:gd name="connsiteY32" fmla="*/ 361950 h 1916906"/>
                    <a:gd name="connsiteX33" fmla="*/ 1195388 w 2038350"/>
                    <a:gd name="connsiteY33" fmla="*/ 273844 h 1916906"/>
                    <a:gd name="connsiteX34" fmla="*/ 1147763 w 2038350"/>
                    <a:gd name="connsiteY34" fmla="*/ 273844 h 1916906"/>
                    <a:gd name="connsiteX35" fmla="*/ 1097756 w 2038350"/>
                    <a:gd name="connsiteY35" fmla="*/ 190499 h 1916906"/>
                    <a:gd name="connsiteX36" fmla="*/ 1050131 w 2038350"/>
                    <a:gd name="connsiteY36" fmla="*/ 176213 h 1916906"/>
                    <a:gd name="connsiteX37" fmla="*/ 1047750 w 2038350"/>
                    <a:gd name="connsiteY37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619250 w 1993106"/>
                    <a:gd name="connsiteY13" fmla="*/ 1754981 h 1916906"/>
                    <a:gd name="connsiteX14" fmla="*/ 1485900 w 1993106"/>
                    <a:gd name="connsiteY14" fmla="*/ 1440656 h 1916906"/>
                    <a:gd name="connsiteX15" fmla="*/ 1790700 w 1993106"/>
                    <a:gd name="connsiteY15" fmla="*/ 1297781 h 1916906"/>
                    <a:gd name="connsiteX16" fmla="*/ 1597819 w 1993106"/>
                    <a:gd name="connsiteY16" fmla="*/ 1233487 h 1916906"/>
                    <a:gd name="connsiteX17" fmla="*/ 1764506 w 1993106"/>
                    <a:gd name="connsiteY17" fmla="*/ 1126331 h 1916906"/>
                    <a:gd name="connsiteX18" fmla="*/ 1793082 w 1993106"/>
                    <a:gd name="connsiteY18" fmla="*/ 1052513 h 1916906"/>
                    <a:gd name="connsiteX19" fmla="*/ 1743075 w 1993106"/>
                    <a:gd name="connsiteY19" fmla="*/ 976312 h 1916906"/>
                    <a:gd name="connsiteX20" fmla="*/ 1797844 w 1993106"/>
                    <a:gd name="connsiteY20" fmla="*/ 912019 h 1916906"/>
                    <a:gd name="connsiteX21" fmla="*/ 1859756 w 1993106"/>
                    <a:gd name="connsiteY21" fmla="*/ 885826 h 1916906"/>
                    <a:gd name="connsiteX22" fmla="*/ 1895475 w 1993106"/>
                    <a:gd name="connsiteY22" fmla="*/ 781050 h 1916906"/>
                    <a:gd name="connsiteX23" fmla="*/ 1938337 w 1993106"/>
                    <a:gd name="connsiteY23" fmla="*/ 778669 h 1916906"/>
                    <a:gd name="connsiteX24" fmla="*/ 1993106 w 1993106"/>
                    <a:gd name="connsiteY24" fmla="*/ 728662 h 1916906"/>
                    <a:gd name="connsiteX25" fmla="*/ 1947862 w 1993106"/>
                    <a:gd name="connsiteY25" fmla="*/ 702469 h 1916906"/>
                    <a:gd name="connsiteX26" fmla="*/ 1897857 w 1993106"/>
                    <a:gd name="connsiteY26" fmla="*/ 711993 h 1916906"/>
                    <a:gd name="connsiteX27" fmla="*/ 1897857 w 1993106"/>
                    <a:gd name="connsiteY27" fmla="*/ 664369 h 1916906"/>
                    <a:gd name="connsiteX28" fmla="*/ 1776413 w 1993106"/>
                    <a:gd name="connsiteY28" fmla="*/ 654844 h 1916906"/>
                    <a:gd name="connsiteX29" fmla="*/ 1585913 w 1993106"/>
                    <a:gd name="connsiteY29" fmla="*/ 597694 h 1916906"/>
                    <a:gd name="connsiteX30" fmla="*/ 1226344 w 1993106"/>
                    <a:gd name="connsiteY30" fmla="*/ 600075 h 1916906"/>
                    <a:gd name="connsiteX31" fmla="*/ 1307306 w 1993106"/>
                    <a:gd name="connsiteY31" fmla="*/ 411956 h 1916906"/>
                    <a:gd name="connsiteX32" fmla="*/ 1212056 w 1993106"/>
                    <a:gd name="connsiteY32" fmla="*/ 361950 h 1916906"/>
                    <a:gd name="connsiteX33" fmla="*/ 1195388 w 1993106"/>
                    <a:gd name="connsiteY33" fmla="*/ 273844 h 1916906"/>
                    <a:gd name="connsiteX34" fmla="*/ 1147763 w 1993106"/>
                    <a:gd name="connsiteY34" fmla="*/ 273844 h 1916906"/>
                    <a:gd name="connsiteX35" fmla="*/ 1097756 w 1993106"/>
                    <a:gd name="connsiteY35" fmla="*/ 190499 h 1916906"/>
                    <a:gd name="connsiteX36" fmla="*/ 1050131 w 1993106"/>
                    <a:gd name="connsiteY36" fmla="*/ 176213 h 1916906"/>
                    <a:gd name="connsiteX37" fmla="*/ 1047750 w 1993106"/>
                    <a:gd name="connsiteY37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619250 w 1993106"/>
                    <a:gd name="connsiteY13" fmla="*/ 1754981 h 1916906"/>
                    <a:gd name="connsiteX14" fmla="*/ 1485900 w 1993106"/>
                    <a:gd name="connsiteY14" fmla="*/ 1440656 h 1916906"/>
                    <a:gd name="connsiteX15" fmla="*/ 1790700 w 1993106"/>
                    <a:gd name="connsiteY15" fmla="*/ 1297781 h 1916906"/>
                    <a:gd name="connsiteX16" fmla="*/ 1597819 w 1993106"/>
                    <a:gd name="connsiteY16" fmla="*/ 1233487 h 1916906"/>
                    <a:gd name="connsiteX17" fmla="*/ 1690688 w 1993106"/>
                    <a:gd name="connsiteY17" fmla="*/ 1169194 h 1916906"/>
                    <a:gd name="connsiteX18" fmla="*/ 1764506 w 1993106"/>
                    <a:gd name="connsiteY18" fmla="*/ 1126331 h 1916906"/>
                    <a:gd name="connsiteX19" fmla="*/ 1793082 w 1993106"/>
                    <a:gd name="connsiteY19" fmla="*/ 1052513 h 1916906"/>
                    <a:gd name="connsiteX20" fmla="*/ 1743075 w 1993106"/>
                    <a:gd name="connsiteY20" fmla="*/ 976312 h 1916906"/>
                    <a:gd name="connsiteX21" fmla="*/ 1797844 w 1993106"/>
                    <a:gd name="connsiteY21" fmla="*/ 912019 h 1916906"/>
                    <a:gd name="connsiteX22" fmla="*/ 1859756 w 1993106"/>
                    <a:gd name="connsiteY22" fmla="*/ 885826 h 1916906"/>
                    <a:gd name="connsiteX23" fmla="*/ 1895475 w 1993106"/>
                    <a:gd name="connsiteY23" fmla="*/ 781050 h 1916906"/>
                    <a:gd name="connsiteX24" fmla="*/ 1938337 w 1993106"/>
                    <a:gd name="connsiteY24" fmla="*/ 778669 h 1916906"/>
                    <a:gd name="connsiteX25" fmla="*/ 1993106 w 1993106"/>
                    <a:gd name="connsiteY25" fmla="*/ 728662 h 1916906"/>
                    <a:gd name="connsiteX26" fmla="*/ 1947862 w 1993106"/>
                    <a:gd name="connsiteY26" fmla="*/ 702469 h 1916906"/>
                    <a:gd name="connsiteX27" fmla="*/ 1897857 w 1993106"/>
                    <a:gd name="connsiteY27" fmla="*/ 711993 h 1916906"/>
                    <a:gd name="connsiteX28" fmla="*/ 1897857 w 1993106"/>
                    <a:gd name="connsiteY28" fmla="*/ 664369 h 1916906"/>
                    <a:gd name="connsiteX29" fmla="*/ 1776413 w 1993106"/>
                    <a:gd name="connsiteY29" fmla="*/ 654844 h 1916906"/>
                    <a:gd name="connsiteX30" fmla="*/ 1585913 w 1993106"/>
                    <a:gd name="connsiteY30" fmla="*/ 597694 h 1916906"/>
                    <a:gd name="connsiteX31" fmla="*/ 1226344 w 1993106"/>
                    <a:gd name="connsiteY31" fmla="*/ 600075 h 1916906"/>
                    <a:gd name="connsiteX32" fmla="*/ 1307306 w 1993106"/>
                    <a:gd name="connsiteY32" fmla="*/ 411956 h 1916906"/>
                    <a:gd name="connsiteX33" fmla="*/ 1212056 w 1993106"/>
                    <a:gd name="connsiteY33" fmla="*/ 361950 h 1916906"/>
                    <a:gd name="connsiteX34" fmla="*/ 1195388 w 1993106"/>
                    <a:gd name="connsiteY34" fmla="*/ 273844 h 1916906"/>
                    <a:gd name="connsiteX35" fmla="*/ 1147763 w 1993106"/>
                    <a:gd name="connsiteY35" fmla="*/ 273844 h 1916906"/>
                    <a:gd name="connsiteX36" fmla="*/ 1097756 w 1993106"/>
                    <a:gd name="connsiteY36" fmla="*/ 190499 h 1916906"/>
                    <a:gd name="connsiteX37" fmla="*/ 1050131 w 1993106"/>
                    <a:gd name="connsiteY37" fmla="*/ 176213 h 1916906"/>
                    <a:gd name="connsiteX38" fmla="*/ 1047750 w 1993106"/>
                    <a:gd name="connsiteY38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619250 w 1993106"/>
                    <a:gd name="connsiteY13" fmla="*/ 1754981 h 1916906"/>
                    <a:gd name="connsiteX14" fmla="*/ 1485900 w 1993106"/>
                    <a:gd name="connsiteY14" fmla="*/ 1440656 h 1916906"/>
                    <a:gd name="connsiteX15" fmla="*/ 1790700 w 1993106"/>
                    <a:gd name="connsiteY15" fmla="*/ 1297781 h 1916906"/>
                    <a:gd name="connsiteX16" fmla="*/ 1597819 w 1993106"/>
                    <a:gd name="connsiteY16" fmla="*/ 1233487 h 1916906"/>
                    <a:gd name="connsiteX17" fmla="*/ 1683544 w 1993106"/>
                    <a:gd name="connsiteY17" fmla="*/ 1152525 h 1916906"/>
                    <a:gd name="connsiteX18" fmla="*/ 1764506 w 1993106"/>
                    <a:gd name="connsiteY18" fmla="*/ 1126331 h 1916906"/>
                    <a:gd name="connsiteX19" fmla="*/ 1793082 w 1993106"/>
                    <a:gd name="connsiteY19" fmla="*/ 1052513 h 1916906"/>
                    <a:gd name="connsiteX20" fmla="*/ 1743075 w 1993106"/>
                    <a:gd name="connsiteY20" fmla="*/ 976312 h 1916906"/>
                    <a:gd name="connsiteX21" fmla="*/ 1797844 w 1993106"/>
                    <a:gd name="connsiteY21" fmla="*/ 912019 h 1916906"/>
                    <a:gd name="connsiteX22" fmla="*/ 1859756 w 1993106"/>
                    <a:gd name="connsiteY22" fmla="*/ 885826 h 1916906"/>
                    <a:gd name="connsiteX23" fmla="*/ 1895475 w 1993106"/>
                    <a:gd name="connsiteY23" fmla="*/ 781050 h 1916906"/>
                    <a:gd name="connsiteX24" fmla="*/ 1938337 w 1993106"/>
                    <a:gd name="connsiteY24" fmla="*/ 778669 h 1916906"/>
                    <a:gd name="connsiteX25" fmla="*/ 1993106 w 1993106"/>
                    <a:gd name="connsiteY25" fmla="*/ 728662 h 1916906"/>
                    <a:gd name="connsiteX26" fmla="*/ 1947862 w 1993106"/>
                    <a:gd name="connsiteY26" fmla="*/ 702469 h 1916906"/>
                    <a:gd name="connsiteX27" fmla="*/ 1897857 w 1993106"/>
                    <a:gd name="connsiteY27" fmla="*/ 711993 h 1916906"/>
                    <a:gd name="connsiteX28" fmla="*/ 1897857 w 1993106"/>
                    <a:gd name="connsiteY28" fmla="*/ 664369 h 1916906"/>
                    <a:gd name="connsiteX29" fmla="*/ 1776413 w 1993106"/>
                    <a:gd name="connsiteY29" fmla="*/ 654844 h 1916906"/>
                    <a:gd name="connsiteX30" fmla="*/ 1585913 w 1993106"/>
                    <a:gd name="connsiteY30" fmla="*/ 597694 h 1916906"/>
                    <a:gd name="connsiteX31" fmla="*/ 1226344 w 1993106"/>
                    <a:gd name="connsiteY31" fmla="*/ 600075 h 1916906"/>
                    <a:gd name="connsiteX32" fmla="*/ 1307306 w 1993106"/>
                    <a:gd name="connsiteY32" fmla="*/ 411956 h 1916906"/>
                    <a:gd name="connsiteX33" fmla="*/ 1212056 w 1993106"/>
                    <a:gd name="connsiteY33" fmla="*/ 361950 h 1916906"/>
                    <a:gd name="connsiteX34" fmla="*/ 1195388 w 1993106"/>
                    <a:gd name="connsiteY34" fmla="*/ 273844 h 1916906"/>
                    <a:gd name="connsiteX35" fmla="*/ 1147763 w 1993106"/>
                    <a:gd name="connsiteY35" fmla="*/ 273844 h 1916906"/>
                    <a:gd name="connsiteX36" fmla="*/ 1097756 w 1993106"/>
                    <a:gd name="connsiteY36" fmla="*/ 190499 h 1916906"/>
                    <a:gd name="connsiteX37" fmla="*/ 1050131 w 1993106"/>
                    <a:gd name="connsiteY37" fmla="*/ 176213 h 1916906"/>
                    <a:gd name="connsiteX38" fmla="*/ 1047750 w 1993106"/>
                    <a:gd name="connsiteY38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619250 w 1993106"/>
                    <a:gd name="connsiteY13" fmla="*/ 1754981 h 1916906"/>
                    <a:gd name="connsiteX14" fmla="*/ 1485900 w 1993106"/>
                    <a:gd name="connsiteY14" fmla="*/ 1440656 h 1916906"/>
                    <a:gd name="connsiteX15" fmla="*/ 1790700 w 1993106"/>
                    <a:gd name="connsiteY15" fmla="*/ 1297781 h 1916906"/>
                    <a:gd name="connsiteX16" fmla="*/ 1597819 w 1993106"/>
                    <a:gd name="connsiteY16" fmla="*/ 1233487 h 1916906"/>
                    <a:gd name="connsiteX17" fmla="*/ 1635919 w 1993106"/>
                    <a:gd name="connsiteY17" fmla="*/ 1197769 h 1916906"/>
                    <a:gd name="connsiteX18" fmla="*/ 1683544 w 1993106"/>
                    <a:gd name="connsiteY18" fmla="*/ 1152525 h 1916906"/>
                    <a:gd name="connsiteX19" fmla="*/ 1764506 w 1993106"/>
                    <a:gd name="connsiteY19" fmla="*/ 1126331 h 1916906"/>
                    <a:gd name="connsiteX20" fmla="*/ 1793082 w 1993106"/>
                    <a:gd name="connsiteY20" fmla="*/ 1052513 h 1916906"/>
                    <a:gd name="connsiteX21" fmla="*/ 1743075 w 1993106"/>
                    <a:gd name="connsiteY21" fmla="*/ 976312 h 1916906"/>
                    <a:gd name="connsiteX22" fmla="*/ 1797844 w 1993106"/>
                    <a:gd name="connsiteY22" fmla="*/ 912019 h 1916906"/>
                    <a:gd name="connsiteX23" fmla="*/ 1859756 w 1993106"/>
                    <a:gd name="connsiteY23" fmla="*/ 885826 h 1916906"/>
                    <a:gd name="connsiteX24" fmla="*/ 1895475 w 1993106"/>
                    <a:gd name="connsiteY24" fmla="*/ 781050 h 1916906"/>
                    <a:gd name="connsiteX25" fmla="*/ 1938337 w 1993106"/>
                    <a:gd name="connsiteY25" fmla="*/ 778669 h 1916906"/>
                    <a:gd name="connsiteX26" fmla="*/ 1993106 w 1993106"/>
                    <a:gd name="connsiteY26" fmla="*/ 728662 h 1916906"/>
                    <a:gd name="connsiteX27" fmla="*/ 1947862 w 1993106"/>
                    <a:gd name="connsiteY27" fmla="*/ 702469 h 1916906"/>
                    <a:gd name="connsiteX28" fmla="*/ 1897857 w 1993106"/>
                    <a:gd name="connsiteY28" fmla="*/ 711993 h 1916906"/>
                    <a:gd name="connsiteX29" fmla="*/ 1897857 w 1993106"/>
                    <a:gd name="connsiteY29" fmla="*/ 664369 h 1916906"/>
                    <a:gd name="connsiteX30" fmla="*/ 1776413 w 1993106"/>
                    <a:gd name="connsiteY30" fmla="*/ 654844 h 1916906"/>
                    <a:gd name="connsiteX31" fmla="*/ 1585913 w 1993106"/>
                    <a:gd name="connsiteY31" fmla="*/ 597694 h 1916906"/>
                    <a:gd name="connsiteX32" fmla="*/ 1226344 w 1993106"/>
                    <a:gd name="connsiteY32" fmla="*/ 600075 h 1916906"/>
                    <a:gd name="connsiteX33" fmla="*/ 1307306 w 1993106"/>
                    <a:gd name="connsiteY33" fmla="*/ 411956 h 1916906"/>
                    <a:gd name="connsiteX34" fmla="*/ 1212056 w 1993106"/>
                    <a:gd name="connsiteY34" fmla="*/ 361950 h 1916906"/>
                    <a:gd name="connsiteX35" fmla="*/ 1195388 w 1993106"/>
                    <a:gd name="connsiteY35" fmla="*/ 273844 h 1916906"/>
                    <a:gd name="connsiteX36" fmla="*/ 1147763 w 1993106"/>
                    <a:gd name="connsiteY36" fmla="*/ 273844 h 1916906"/>
                    <a:gd name="connsiteX37" fmla="*/ 1097756 w 1993106"/>
                    <a:gd name="connsiteY37" fmla="*/ 190499 h 1916906"/>
                    <a:gd name="connsiteX38" fmla="*/ 1050131 w 1993106"/>
                    <a:gd name="connsiteY38" fmla="*/ 176213 h 1916906"/>
                    <a:gd name="connsiteX39" fmla="*/ 1047750 w 1993106"/>
                    <a:gd name="connsiteY39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619250 w 1993106"/>
                    <a:gd name="connsiteY13" fmla="*/ 1754981 h 1916906"/>
                    <a:gd name="connsiteX14" fmla="*/ 1485900 w 1993106"/>
                    <a:gd name="connsiteY14" fmla="*/ 1440656 h 1916906"/>
                    <a:gd name="connsiteX15" fmla="*/ 1790700 w 1993106"/>
                    <a:gd name="connsiteY15" fmla="*/ 1297781 h 1916906"/>
                    <a:gd name="connsiteX16" fmla="*/ 1597819 w 1993106"/>
                    <a:gd name="connsiteY16" fmla="*/ 1233487 h 1916906"/>
                    <a:gd name="connsiteX17" fmla="*/ 1666875 w 1993106"/>
                    <a:gd name="connsiteY17" fmla="*/ 1202531 h 1916906"/>
                    <a:gd name="connsiteX18" fmla="*/ 1683544 w 1993106"/>
                    <a:gd name="connsiteY18" fmla="*/ 1152525 h 1916906"/>
                    <a:gd name="connsiteX19" fmla="*/ 1764506 w 1993106"/>
                    <a:gd name="connsiteY19" fmla="*/ 1126331 h 1916906"/>
                    <a:gd name="connsiteX20" fmla="*/ 1793082 w 1993106"/>
                    <a:gd name="connsiteY20" fmla="*/ 1052513 h 1916906"/>
                    <a:gd name="connsiteX21" fmla="*/ 1743075 w 1993106"/>
                    <a:gd name="connsiteY21" fmla="*/ 976312 h 1916906"/>
                    <a:gd name="connsiteX22" fmla="*/ 1797844 w 1993106"/>
                    <a:gd name="connsiteY22" fmla="*/ 912019 h 1916906"/>
                    <a:gd name="connsiteX23" fmla="*/ 1859756 w 1993106"/>
                    <a:gd name="connsiteY23" fmla="*/ 885826 h 1916906"/>
                    <a:gd name="connsiteX24" fmla="*/ 1895475 w 1993106"/>
                    <a:gd name="connsiteY24" fmla="*/ 781050 h 1916906"/>
                    <a:gd name="connsiteX25" fmla="*/ 1938337 w 1993106"/>
                    <a:gd name="connsiteY25" fmla="*/ 778669 h 1916906"/>
                    <a:gd name="connsiteX26" fmla="*/ 1993106 w 1993106"/>
                    <a:gd name="connsiteY26" fmla="*/ 728662 h 1916906"/>
                    <a:gd name="connsiteX27" fmla="*/ 1947862 w 1993106"/>
                    <a:gd name="connsiteY27" fmla="*/ 702469 h 1916906"/>
                    <a:gd name="connsiteX28" fmla="*/ 1897857 w 1993106"/>
                    <a:gd name="connsiteY28" fmla="*/ 711993 h 1916906"/>
                    <a:gd name="connsiteX29" fmla="*/ 1897857 w 1993106"/>
                    <a:gd name="connsiteY29" fmla="*/ 664369 h 1916906"/>
                    <a:gd name="connsiteX30" fmla="*/ 1776413 w 1993106"/>
                    <a:gd name="connsiteY30" fmla="*/ 654844 h 1916906"/>
                    <a:gd name="connsiteX31" fmla="*/ 1585913 w 1993106"/>
                    <a:gd name="connsiteY31" fmla="*/ 597694 h 1916906"/>
                    <a:gd name="connsiteX32" fmla="*/ 1226344 w 1993106"/>
                    <a:gd name="connsiteY32" fmla="*/ 600075 h 1916906"/>
                    <a:gd name="connsiteX33" fmla="*/ 1307306 w 1993106"/>
                    <a:gd name="connsiteY33" fmla="*/ 411956 h 1916906"/>
                    <a:gd name="connsiteX34" fmla="*/ 1212056 w 1993106"/>
                    <a:gd name="connsiteY34" fmla="*/ 361950 h 1916906"/>
                    <a:gd name="connsiteX35" fmla="*/ 1195388 w 1993106"/>
                    <a:gd name="connsiteY35" fmla="*/ 273844 h 1916906"/>
                    <a:gd name="connsiteX36" fmla="*/ 1147763 w 1993106"/>
                    <a:gd name="connsiteY36" fmla="*/ 273844 h 1916906"/>
                    <a:gd name="connsiteX37" fmla="*/ 1097756 w 1993106"/>
                    <a:gd name="connsiteY37" fmla="*/ 190499 h 1916906"/>
                    <a:gd name="connsiteX38" fmla="*/ 1050131 w 1993106"/>
                    <a:gd name="connsiteY38" fmla="*/ 176213 h 1916906"/>
                    <a:gd name="connsiteX39" fmla="*/ 1047750 w 1993106"/>
                    <a:gd name="connsiteY39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619250 w 1993106"/>
                    <a:gd name="connsiteY13" fmla="*/ 1754981 h 1916906"/>
                    <a:gd name="connsiteX14" fmla="*/ 1485900 w 1993106"/>
                    <a:gd name="connsiteY14" fmla="*/ 1440656 h 1916906"/>
                    <a:gd name="connsiteX15" fmla="*/ 1364456 w 1993106"/>
                    <a:gd name="connsiteY15" fmla="*/ 1228724 h 1916906"/>
                    <a:gd name="connsiteX16" fmla="*/ 1597819 w 1993106"/>
                    <a:gd name="connsiteY16" fmla="*/ 1233487 h 1916906"/>
                    <a:gd name="connsiteX17" fmla="*/ 1666875 w 1993106"/>
                    <a:gd name="connsiteY17" fmla="*/ 1202531 h 1916906"/>
                    <a:gd name="connsiteX18" fmla="*/ 1683544 w 1993106"/>
                    <a:gd name="connsiteY18" fmla="*/ 1152525 h 1916906"/>
                    <a:gd name="connsiteX19" fmla="*/ 1764506 w 1993106"/>
                    <a:gd name="connsiteY19" fmla="*/ 1126331 h 1916906"/>
                    <a:gd name="connsiteX20" fmla="*/ 1793082 w 1993106"/>
                    <a:gd name="connsiteY20" fmla="*/ 1052513 h 1916906"/>
                    <a:gd name="connsiteX21" fmla="*/ 1743075 w 1993106"/>
                    <a:gd name="connsiteY21" fmla="*/ 976312 h 1916906"/>
                    <a:gd name="connsiteX22" fmla="*/ 1797844 w 1993106"/>
                    <a:gd name="connsiteY22" fmla="*/ 912019 h 1916906"/>
                    <a:gd name="connsiteX23" fmla="*/ 1859756 w 1993106"/>
                    <a:gd name="connsiteY23" fmla="*/ 885826 h 1916906"/>
                    <a:gd name="connsiteX24" fmla="*/ 1895475 w 1993106"/>
                    <a:gd name="connsiteY24" fmla="*/ 781050 h 1916906"/>
                    <a:gd name="connsiteX25" fmla="*/ 1938337 w 1993106"/>
                    <a:gd name="connsiteY25" fmla="*/ 778669 h 1916906"/>
                    <a:gd name="connsiteX26" fmla="*/ 1993106 w 1993106"/>
                    <a:gd name="connsiteY26" fmla="*/ 728662 h 1916906"/>
                    <a:gd name="connsiteX27" fmla="*/ 1947862 w 1993106"/>
                    <a:gd name="connsiteY27" fmla="*/ 702469 h 1916906"/>
                    <a:gd name="connsiteX28" fmla="*/ 1897857 w 1993106"/>
                    <a:gd name="connsiteY28" fmla="*/ 711993 h 1916906"/>
                    <a:gd name="connsiteX29" fmla="*/ 1897857 w 1993106"/>
                    <a:gd name="connsiteY29" fmla="*/ 664369 h 1916906"/>
                    <a:gd name="connsiteX30" fmla="*/ 1776413 w 1993106"/>
                    <a:gd name="connsiteY30" fmla="*/ 654844 h 1916906"/>
                    <a:gd name="connsiteX31" fmla="*/ 1585913 w 1993106"/>
                    <a:gd name="connsiteY31" fmla="*/ 597694 h 1916906"/>
                    <a:gd name="connsiteX32" fmla="*/ 1226344 w 1993106"/>
                    <a:gd name="connsiteY32" fmla="*/ 600075 h 1916906"/>
                    <a:gd name="connsiteX33" fmla="*/ 1307306 w 1993106"/>
                    <a:gd name="connsiteY33" fmla="*/ 411956 h 1916906"/>
                    <a:gd name="connsiteX34" fmla="*/ 1212056 w 1993106"/>
                    <a:gd name="connsiteY34" fmla="*/ 361950 h 1916906"/>
                    <a:gd name="connsiteX35" fmla="*/ 1195388 w 1993106"/>
                    <a:gd name="connsiteY35" fmla="*/ 273844 h 1916906"/>
                    <a:gd name="connsiteX36" fmla="*/ 1147763 w 1993106"/>
                    <a:gd name="connsiteY36" fmla="*/ 273844 h 1916906"/>
                    <a:gd name="connsiteX37" fmla="*/ 1097756 w 1993106"/>
                    <a:gd name="connsiteY37" fmla="*/ 190499 h 1916906"/>
                    <a:gd name="connsiteX38" fmla="*/ 1050131 w 1993106"/>
                    <a:gd name="connsiteY38" fmla="*/ 176213 h 1916906"/>
                    <a:gd name="connsiteX39" fmla="*/ 1047750 w 1993106"/>
                    <a:gd name="connsiteY39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619250 w 1993106"/>
                    <a:gd name="connsiteY13" fmla="*/ 1754981 h 1916906"/>
                    <a:gd name="connsiteX14" fmla="*/ 1485900 w 1993106"/>
                    <a:gd name="connsiteY14" fmla="*/ 1440656 h 1916906"/>
                    <a:gd name="connsiteX15" fmla="*/ 1364456 w 1993106"/>
                    <a:gd name="connsiteY15" fmla="*/ 1228724 h 1916906"/>
                    <a:gd name="connsiteX16" fmla="*/ 1524000 w 1993106"/>
                    <a:gd name="connsiteY16" fmla="*/ 1228725 h 1916906"/>
                    <a:gd name="connsiteX17" fmla="*/ 1597819 w 1993106"/>
                    <a:gd name="connsiteY17" fmla="*/ 1233487 h 1916906"/>
                    <a:gd name="connsiteX18" fmla="*/ 1666875 w 1993106"/>
                    <a:gd name="connsiteY18" fmla="*/ 1202531 h 1916906"/>
                    <a:gd name="connsiteX19" fmla="*/ 1683544 w 1993106"/>
                    <a:gd name="connsiteY19" fmla="*/ 1152525 h 1916906"/>
                    <a:gd name="connsiteX20" fmla="*/ 1764506 w 1993106"/>
                    <a:gd name="connsiteY20" fmla="*/ 1126331 h 1916906"/>
                    <a:gd name="connsiteX21" fmla="*/ 1793082 w 1993106"/>
                    <a:gd name="connsiteY21" fmla="*/ 1052513 h 1916906"/>
                    <a:gd name="connsiteX22" fmla="*/ 1743075 w 1993106"/>
                    <a:gd name="connsiteY22" fmla="*/ 976312 h 1916906"/>
                    <a:gd name="connsiteX23" fmla="*/ 1797844 w 1993106"/>
                    <a:gd name="connsiteY23" fmla="*/ 912019 h 1916906"/>
                    <a:gd name="connsiteX24" fmla="*/ 1859756 w 1993106"/>
                    <a:gd name="connsiteY24" fmla="*/ 885826 h 1916906"/>
                    <a:gd name="connsiteX25" fmla="*/ 1895475 w 1993106"/>
                    <a:gd name="connsiteY25" fmla="*/ 781050 h 1916906"/>
                    <a:gd name="connsiteX26" fmla="*/ 1938337 w 1993106"/>
                    <a:gd name="connsiteY26" fmla="*/ 778669 h 1916906"/>
                    <a:gd name="connsiteX27" fmla="*/ 1993106 w 1993106"/>
                    <a:gd name="connsiteY27" fmla="*/ 728662 h 1916906"/>
                    <a:gd name="connsiteX28" fmla="*/ 1947862 w 1993106"/>
                    <a:gd name="connsiteY28" fmla="*/ 702469 h 1916906"/>
                    <a:gd name="connsiteX29" fmla="*/ 1897857 w 1993106"/>
                    <a:gd name="connsiteY29" fmla="*/ 711993 h 1916906"/>
                    <a:gd name="connsiteX30" fmla="*/ 1897857 w 1993106"/>
                    <a:gd name="connsiteY30" fmla="*/ 664369 h 1916906"/>
                    <a:gd name="connsiteX31" fmla="*/ 1776413 w 1993106"/>
                    <a:gd name="connsiteY31" fmla="*/ 654844 h 1916906"/>
                    <a:gd name="connsiteX32" fmla="*/ 1585913 w 1993106"/>
                    <a:gd name="connsiteY32" fmla="*/ 597694 h 1916906"/>
                    <a:gd name="connsiteX33" fmla="*/ 1226344 w 1993106"/>
                    <a:gd name="connsiteY33" fmla="*/ 600075 h 1916906"/>
                    <a:gd name="connsiteX34" fmla="*/ 1307306 w 1993106"/>
                    <a:gd name="connsiteY34" fmla="*/ 411956 h 1916906"/>
                    <a:gd name="connsiteX35" fmla="*/ 1212056 w 1993106"/>
                    <a:gd name="connsiteY35" fmla="*/ 361950 h 1916906"/>
                    <a:gd name="connsiteX36" fmla="*/ 1195388 w 1993106"/>
                    <a:gd name="connsiteY36" fmla="*/ 273844 h 1916906"/>
                    <a:gd name="connsiteX37" fmla="*/ 1147763 w 1993106"/>
                    <a:gd name="connsiteY37" fmla="*/ 273844 h 1916906"/>
                    <a:gd name="connsiteX38" fmla="*/ 1097756 w 1993106"/>
                    <a:gd name="connsiteY38" fmla="*/ 190499 h 1916906"/>
                    <a:gd name="connsiteX39" fmla="*/ 1050131 w 1993106"/>
                    <a:gd name="connsiteY39" fmla="*/ 176213 h 1916906"/>
                    <a:gd name="connsiteX40" fmla="*/ 1047750 w 1993106"/>
                    <a:gd name="connsiteY40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619250 w 1993106"/>
                    <a:gd name="connsiteY13" fmla="*/ 1754981 h 1916906"/>
                    <a:gd name="connsiteX14" fmla="*/ 1485900 w 1993106"/>
                    <a:gd name="connsiteY14" fmla="*/ 1440656 h 1916906"/>
                    <a:gd name="connsiteX15" fmla="*/ 1364456 w 1993106"/>
                    <a:gd name="connsiteY15" fmla="*/ 1228724 h 1916906"/>
                    <a:gd name="connsiteX16" fmla="*/ 1521618 w 1993106"/>
                    <a:gd name="connsiteY16" fmla="*/ 1219200 h 1916906"/>
                    <a:gd name="connsiteX17" fmla="*/ 1597819 w 1993106"/>
                    <a:gd name="connsiteY17" fmla="*/ 1233487 h 1916906"/>
                    <a:gd name="connsiteX18" fmla="*/ 1666875 w 1993106"/>
                    <a:gd name="connsiteY18" fmla="*/ 1202531 h 1916906"/>
                    <a:gd name="connsiteX19" fmla="*/ 1683544 w 1993106"/>
                    <a:gd name="connsiteY19" fmla="*/ 1152525 h 1916906"/>
                    <a:gd name="connsiteX20" fmla="*/ 1764506 w 1993106"/>
                    <a:gd name="connsiteY20" fmla="*/ 1126331 h 1916906"/>
                    <a:gd name="connsiteX21" fmla="*/ 1793082 w 1993106"/>
                    <a:gd name="connsiteY21" fmla="*/ 1052513 h 1916906"/>
                    <a:gd name="connsiteX22" fmla="*/ 1743075 w 1993106"/>
                    <a:gd name="connsiteY22" fmla="*/ 976312 h 1916906"/>
                    <a:gd name="connsiteX23" fmla="*/ 1797844 w 1993106"/>
                    <a:gd name="connsiteY23" fmla="*/ 912019 h 1916906"/>
                    <a:gd name="connsiteX24" fmla="*/ 1859756 w 1993106"/>
                    <a:gd name="connsiteY24" fmla="*/ 885826 h 1916906"/>
                    <a:gd name="connsiteX25" fmla="*/ 1895475 w 1993106"/>
                    <a:gd name="connsiteY25" fmla="*/ 781050 h 1916906"/>
                    <a:gd name="connsiteX26" fmla="*/ 1938337 w 1993106"/>
                    <a:gd name="connsiteY26" fmla="*/ 778669 h 1916906"/>
                    <a:gd name="connsiteX27" fmla="*/ 1993106 w 1993106"/>
                    <a:gd name="connsiteY27" fmla="*/ 728662 h 1916906"/>
                    <a:gd name="connsiteX28" fmla="*/ 1947862 w 1993106"/>
                    <a:gd name="connsiteY28" fmla="*/ 702469 h 1916906"/>
                    <a:gd name="connsiteX29" fmla="*/ 1897857 w 1993106"/>
                    <a:gd name="connsiteY29" fmla="*/ 711993 h 1916906"/>
                    <a:gd name="connsiteX30" fmla="*/ 1897857 w 1993106"/>
                    <a:gd name="connsiteY30" fmla="*/ 664369 h 1916906"/>
                    <a:gd name="connsiteX31" fmla="*/ 1776413 w 1993106"/>
                    <a:gd name="connsiteY31" fmla="*/ 654844 h 1916906"/>
                    <a:gd name="connsiteX32" fmla="*/ 1585913 w 1993106"/>
                    <a:gd name="connsiteY32" fmla="*/ 597694 h 1916906"/>
                    <a:gd name="connsiteX33" fmla="*/ 1226344 w 1993106"/>
                    <a:gd name="connsiteY33" fmla="*/ 600075 h 1916906"/>
                    <a:gd name="connsiteX34" fmla="*/ 1307306 w 1993106"/>
                    <a:gd name="connsiteY34" fmla="*/ 411956 h 1916906"/>
                    <a:gd name="connsiteX35" fmla="*/ 1212056 w 1993106"/>
                    <a:gd name="connsiteY35" fmla="*/ 361950 h 1916906"/>
                    <a:gd name="connsiteX36" fmla="*/ 1195388 w 1993106"/>
                    <a:gd name="connsiteY36" fmla="*/ 273844 h 1916906"/>
                    <a:gd name="connsiteX37" fmla="*/ 1147763 w 1993106"/>
                    <a:gd name="connsiteY37" fmla="*/ 273844 h 1916906"/>
                    <a:gd name="connsiteX38" fmla="*/ 1097756 w 1993106"/>
                    <a:gd name="connsiteY38" fmla="*/ 190499 h 1916906"/>
                    <a:gd name="connsiteX39" fmla="*/ 1050131 w 1993106"/>
                    <a:gd name="connsiteY39" fmla="*/ 176213 h 1916906"/>
                    <a:gd name="connsiteX40" fmla="*/ 1047750 w 1993106"/>
                    <a:gd name="connsiteY40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485900 w 1993106"/>
                    <a:gd name="connsiteY14" fmla="*/ 1440656 h 1916906"/>
                    <a:gd name="connsiteX15" fmla="*/ 1364456 w 1993106"/>
                    <a:gd name="connsiteY15" fmla="*/ 1228724 h 1916906"/>
                    <a:gd name="connsiteX16" fmla="*/ 1521618 w 1993106"/>
                    <a:gd name="connsiteY16" fmla="*/ 1219200 h 1916906"/>
                    <a:gd name="connsiteX17" fmla="*/ 1597819 w 1993106"/>
                    <a:gd name="connsiteY17" fmla="*/ 1233487 h 1916906"/>
                    <a:gd name="connsiteX18" fmla="*/ 1666875 w 1993106"/>
                    <a:gd name="connsiteY18" fmla="*/ 1202531 h 1916906"/>
                    <a:gd name="connsiteX19" fmla="*/ 1683544 w 1993106"/>
                    <a:gd name="connsiteY19" fmla="*/ 1152525 h 1916906"/>
                    <a:gd name="connsiteX20" fmla="*/ 1764506 w 1993106"/>
                    <a:gd name="connsiteY20" fmla="*/ 1126331 h 1916906"/>
                    <a:gd name="connsiteX21" fmla="*/ 1793082 w 1993106"/>
                    <a:gd name="connsiteY21" fmla="*/ 1052513 h 1916906"/>
                    <a:gd name="connsiteX22" fmla="*/ 1743075 w 1993106"/>
                    <a:gd name="connsiteY22" fmla="*/ 976312 h 1916906"/>
                    <a:gd name="connsiteX23" fmla="*/ 1797844 w 1993106"/>
                    <a:gd name="connsiteY23" fmla="*/ 912019 h 1916906"/>
                    <a:gd name="connsiteX24" fmla="*/ 1859756 w 1993106"/>
                    <a:gd name="connsiteY24" fmla="*/ 885826 h 1916906"/>
                    <a:gd name="connsiteX25" fmla="*/ 1895475 w 1993106"/>
                    <a:gd name="connsiteY25" fmla="*/ 781050 h 1916906"/>
                    <a:gd name="connsiteX26" fmla="*/ 1938337 w 1993106"/>
                    <a:gd name="connsiteY26" fmla="*/ 778669 h 1916906"/>
                    <a:gd name="connsiteX27" fmla="*/ 1993106 w 1993106"/>
                    <a:gd name="connsiteY27" fmla="*/ 728662 h 1916906"/>
                    <a:gd name="connsiteX28" fmla="*/ 1947862 w 1993106"/>
                    <a:gd name="connsiteY28" fmla="*/ 702469 h 1916906"/>
                    <a:gd name="connsiteX29" fmla="*/ 1897857 w 1993106"/>
                    <a:gd name="connsiteY29" fmla="*/ 711993 h 1916906"/>
                    <a:gd name="connsiteX30" fmla="*/ 1897857 w 1993106"/>
                    <a:gd name="connsiteY30" fmla="*/ 664369 h 1916906"/>
                    <a:gd name="connsiteX31" fmla="*/ 1776413 w 1993106"/>
                    <a:gd name="connsiteY31" fmla="*/ 654844 h 1916906"/>
                    <a:gd name="connsiteX32" fmla="*/ 1585913 w 1993106"/>
                    <a:gd name="connsiteY32" fmla="*/ 597694 h 1916906"/>
                    <a:gd name="connsiteX33" fmla="*/ 1226344 w 1993106"/>
                    <a:gd name="connsiteY33" fmla="*/ 600075 h 1916906"/>
                    <a:gd name="connsiteX34" fmla="*/ 1307306 w 1993106"/>
                    <a:gd name="connsiteY34" fmla="*/ 411956 h 1916906"/>
                    <a:gd name="connsiteX35" fmla="*/ 1212056 w 1993106"/>
                    <a:gd name="connsiteY35" fmla="*/ 361950 h 1916906"/>
                    <a:gd name="connsiteX36" fmla="*/ 1195388 w 1993106"/>
                    <a:gd name="connsiteY36" fmla="*/ 273844 h 1916906"/>
                    <a:gd name="connsiteX37" fmla="*/ 1147763 w 1993106"/>
                    <a:gd name="connsiteY37" fmla="*/ 273844 h 1916906"/>
                    <a:gd name="connsiteX38" fmla="*/ 1097756 w 1993106"/>
                    <a:gd name="connsiteY38" fmla="*/ 190499 h 1916906"/>
                    <a:gd name="connsiteX39" fmla="*/ 1050131 w 1993106"/>
                    <a:gd name="connsiteY39" fmla="*/ 176213 h 1916906"/>
                    <a:gd name="connsiteX40" fmla="*/ 1047750 w 1993106"/>
                    <a:gd name="connsiteY40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364456 w 1993106"/>
                    <a:gd name="connsiteY15" fmla="*/ 1228724 h 1916906"/>
                    <a:gd name="connsiteX16" fmla="*/ 1521618 w 1993106"/>
                    <a:gd name="connsiteY16" fmla="*/ 1219200 h 1916906"/>
                    <a:gd name="connsiteX17" fmla="*/ 1597819 w 1993106"/>
                    <a:gd name="connsiteY17" fmla="*/ 1233487 h 1916906"/>
                    <a:gd name="connsiteX18" fmla="*/ 1666875 w 1993106"/>
                    <a:gd name="connsiteY18" fmla="*/ 1202531 h 1916906"/>
                    <a:gd name="connsiteX19" fmla="*/ 1683544 w 1993106"/>
                    <a:gd name="connsiteY19" fmla="*/ 1152525 h 1916906"/>
                    <a:gd name="connsiteX20" fmla="*/ 1764506 w 1993106"/>
                    <a:gd name="connsiteY20" fmla="*/ 1126331 h 1916906"/>
                    <a:gd name="connsiteX21" fmla="*/ 1793082 w 1993106"/>
                    <a:gd name="connsiteY21" fmla="*/ 1052513 h 1916906"/>
                    <a:gd name="connsiteX22" fmla="*/ 1743075 w 1993106"/>
                    <a:gd name="connsiteY22" fmla="*/ 976312 h 1916906"/>
                    <a:gd name="connsiteX23" fmla="*/ 1797844 w 1993106"/>
                    <a:gd name="connsiteY23" fmla="*/ 912019 h 1916906"/>
                    <a:gd name="connsiteX24" fmla="*/ 1859756 w 1993106"/>
                    <a:gd name="connsiteY24" fmla="*/ 885826 h 1916906"/>
                    <a:gd name="connsiteX25" fmla="*/ 1895475 w 1993106"/>
                    <a:gd name="connsiteY25" fmla="*/ 781050 h 1916906"/>
                    <a:gd name="connsiteX26" fmla="*/ 1938337 w 1993106"/>
                    <a:gd name="connsiteY26" fmla="*/ 778669 h 1916906"/>
                    <a:gd name="connsiteX27" fmla="*/ 1993106 w 1993106"/>
                    <a:gd name="connsiteY27" fmla="*/ 728662 h 1916906"/>
                    <a:gd name="connsiteX28" fmla="*/ 1947862 w 1993106"/>
                    <a:gd name="connsiteY28" fmla="*/ 702469 h 1916906"/>
                    <a:gd name="connsiteX29" fmla="*/ 1897857 w 1993106"/>
                    <a:gd name="connsiteY29" fmla="*/ 711993 h 1916906"/>
                    <a:gd name="connsiteX30" fmla="*/ 1897857 w 1993106"/>
                    <a:gd name="connsiteY30" fmla="*/ 664369 h 1916906"/>
                    <a:gd name="connsiteX31" fmla="*/ 1776413 w 1993106"/>
                    <a:gd name="connsiteY31" fmla="*/ 654844 h 1916906"/>
                    <a:gd name="connsiteX32" fmla="*/ 1585913 w 1993106"/>
                    <a:gd name="connsiteY32" fmla="*/ 597694 h 1916906"/>
                    <a:gd name="connsiteX33" fmla="*/ 1226344 w 1993106"/>
                    <a:gd name="connsiteY33" fmla="*/ 600075 h 1916906"/>
                    <a:gd name="connsiteX34" fmla="*/ 1307306 w 1993106"/>
                    <a:gd name="connsiteY34" fmla="*/ 411956 h 1916906"/>
                    <a:gd name="connsiteX35" fmla="*/ 1212056 w 1993106"/>
                    <a:gd name="connsiteY35" fmla="*/ 361950 h 1916906"/>
                    <a:gd name="connsiteX36" fmla="*/ 1195388 w 1993106"/>
                    <a:gd name="connsiteY36" fmla="*/ 273844 h 1916906"/>
                    <a:gd name="connsiteX37" fmla="*/ 1147763 w 1993106"/>
                    <a:gd name="connsiteY37" fmla="*/ 273844 h 1916906"/>
                    <a:gd name="connsiteX38" fmla="*/ 1097756 w 1993106"/>
                    <a:gd name="connsiteY38" fmla="*/ 190499 h 1916906"/>
                    <a:gd name="connsiteX39" fmla="*/ 1050131 w 1993106"/>
                    <a:gd name="connsiteY39" fmla="*/ 176213 h 1916906"/>
                    <a:gd name="connsiteX40" fmla="*/ 1047750 w 1993106"/>
                    <a:gd name="connsiteY40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314450 w 1993106"/>
                    <a:gd name="connsiteY15" fmla="*/ 1312069 h 1916906"/>
                    <a:gd name="connsiteX16" fmla="*/ 1364456 w 1993106"/>
                    <a:gd name="connsiteY16" fmla="*/ 1228724 h 1916906"/>
                    <a:gd name="connsiteX17" fmla="*/ 1521618 w 1993106"/>
                    <a:gd name="connsiteY17" fmla="*/ 1219200 h 1916906"/>
                    <a:gd name="connsiteX18" fmla="*/ 1597819 w 1993106"/>
                    <a:gd name="connsiteY18" fmla="*/ 1233487 h 1916906"/>
                    <a:gd name="connsiteX19" fmla="*/ 1666875 w 1993106"/>
                    <a:gd name="connsiteY19" fmla="*/ 1202531 h 1916906"/>
                    <a:gd name="connsiteX20" fmla="*/ 1683544 w 1993106"/>
                    <a:gd name="connsiteY20" fmla="*/ 1152525 h 1916906"/>
                    <a:gd name="connsiteX21" fmla="*/ 1764506 w 1993106"/>
                    <a:gd name="connsiteY21" fmla="*/ 1126331 h 1916906"/>
                    <a:gd name="connsiteX22" fmla="*/ 1793082 w 1993106"/>
                    <a:gd name="connsiteY22" fmla="*/ 1052513 h 1916906"/>
                    <a:gd name="connsiteX23" fmla="*/ 1743075 w 1993106"/>
                    <a:gd name="connsiteY23" fmla="*/ 976312 h 1916906"/>
                    <a:gd name="connsiteX24" fmla="*/ 1797844 w 1993106"/>
                    <a:gd name="connsiteY24" fmla="*/ 912019 h 1916906"/>
                    <a:gd name="connsiteX25" fmla="*/ 1859756 w 1993106"/>
                    <a:gd name="connsiteY25" fmla="*/ 885826 h 1916906"/>
                    <a:gd name="connsiteX26" fmla="*/ 1895475 w 1993106"/>
                    <a:gd name="connsiteY26" fmla="*/ 781050 h 1916906"/>
                    <a:gd name="connsiteX27" fmla="*/ 1938337 w 1993106"/>
                    <a:gd name="connsiteY27" fmla="*/ 778669 h 1916906"/>
                    <a:gd name="connsiteX28" fmla="*/ 1993106 w 1993106"/>
                    <a:gd name="connsiteY28" fmla="*/ 728662 h 1916906"/>
                    <a:gd name="connsiteX29" fmla="*/ 1947862 w 1993106"/>
                    <a:gd name="connsiteY29" fmla="*/ 702469 h 1916906"/>
                    <a:gd name="connsiteX30" fmla="*/ 1897857 w 1993106"/>
                    <a:gd name="connsiteY30" fmla="*/ 711993 h 1916906"/>
                    <a:gd name="connsiteX31" fmla="*/ 1897857 w 1993106"/>
                    <a:gd name="connsiteY31" fmla="*/ 664369 h 1916906"/>
                    <a:gd name="connsiteX32" fmla="*/ 1776413 w 1993106"/>
                    <a:gd name="connsiteY32" fmla="*/ 654844 h 1916906"/>
                    <a:gd name="connsiteX33" fmla="*/ 1585913 w 1993106"/>
                    <a:gd name="connsiteY33" fmla="*/ 597694 h 1916906"/>
                    <a:gd name="connsiteX34" fmla="*/ 1226344 w 1993106"/>
                    <a:gd name="connsiteY34" fmla="*/ 600075 h 1916906"/>
                    <a:gd name="connsiteX35" fmla="*/ 1307306 w 1993106"/>
                    <a:gd name="connsiteY35" fmla="*/ 411956 h 1916906"/>
                    <a:gd name="connsiteX36" fmla="*/ 1212056 w 1993106"/>
                    <a:gd name="connsiteY36" fmla="*/ 361950 h 1916906"/>
                    <a:gd name="connsiteX37" fmla="*/ 1195388 w 1993106"/>
                    <a:gd name="connsiteY37" fmla="*/ 273844 h 1916906"/>
                    <a:gd name="connsiteX38" fmla="*/ 1147763 w 1993106"/>
                    <a:gd name="connsiteY38" fmla="*/ 273844 h 1916906"/>
                    <a:gd name="connsiteX39" fmla="*/ 1097756 w 1993106"/>
                    <a:gd name="connsiteY39" fmla="*/ 190499 h 1916906"/>
                    <a:gd name="connsiteX40" fmla="*/ 1050131 w 1993106"/>
                    <a:gd name="connsiteY40" fmla="*/ 176213 h 1916906"/>
                    <a:gd name="connsiteX41" fmla="*/ 1047750 w 1993106"/>
                    <a:gd name="connsiteY41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281113 w 1993106"/>
                    <a:gd name="connsiteY15" fmla="*/ 1245394 h 1916906"/>
                    <a:gd name="connsiteX16" fmla="*/ 1364456 w 1993106"/>
                    <a:gd name="connsiteY16" fmla="*/ 1228724 h 1916906"/>
                    <a:gd name="connsiteX17" fmla="*/ 1521618 w 1993106"/>
                    <a:gd name="connsiteY17" fmla="*/ 1219200 h 1916906"/>
                    <a:gd name="connsiteX18" fmla="*/ 1597819 w 1993106"/>
                    <a:gd name="connsiteY18" fmla="*/ 1233487 h 1916906"/>
                    <a:gd name="connsiteX19" fmla="*/ 1666875 w 1993106"/>
                    <a:gd name="connsiteY19" fmla="*/ 1202531 h 1916906"/>
                    <a:gd name="connsiteX20" fmla="*/ 1683544 w 1993106"/>
                    <a:gd name="connsiteY20" fmla="*/ 1152525 h 1916906"/>
                    <a:gd name="connsiteX21" fmla="*/ 1764506 w 1993106"/>
                    <a:gd name="connsiteY21" fmla="*/ 1126331 h 1916906"/>
                    <a:gd name="connsiteX22" fmla="*/ 1793082 w 1993106"/>
                    <a:gd name="connsiteY22" fmla="*/ 1052513 h 1916906"/>
                    <a:gd name="connsiteX23" fmla="*/ 1743075 w 1993106"/>
                    <a:gd name="connsiteY23" fmla="*/ 976312 h 1916906"/>
                    <a:gd name="connsiteX24" fmla="*/ 1797844 w 1993106"/>
                    <a:gd name="connsiteY24" fmla="*/ 912019 h 1916906"/>
                    <a:gd name="connsiteX25" fmla="*/ 1859756 w 1993106"/>
                    <a:gd name="connsiteY25" fmla="*/ 885826 h 1916906"/>
                    <a:gd name="connsiteX26" fmla="*/ 1895475 w 1993106"/>
                    <a:gd name="connsiteY26" fmla="*/ 781050 h 1916906"/>
                    <a:gd name="connsiteX27" fmla="*/ 1938337 w 1993106"/>
                    <a:gd name="connsiteY27" fmla="*/ 778669 h 1916906"/>
                    <a:gd name="connsiteX28" fmla="*/ 1993106 w 1993106"/>
                    <a:gd name="connsiteY28" fmla="*/ 728662 h 1916906"/>
                    <a:gd name="connsiteX29" fmla="*/ 1947862 w 1993106"/>
                    <a:gd name="connsiteY29" fmla="*/ 702469 h 1916906"/>
                    <a:gd name="connsiteX30" fmla="*/ 1897857 w 1993106"/>
                    <a:gd name="connsiteY30" fmla="*/ 711993 h 1916906"/>
                    <a:gd name="connsiteX31" fmla="*/ 1897857 w 1993106"/>
                    <a:gd name="connsiteY31" fmla="*/ 664369 h 1916906"/>
                    <a:gd name="connsiteX32" fmla="*/ 1776413 w 1993106"/>
                    <a:gd name="connsiteY32" fmla="*/ 654844 h 1916906"/>
                    <a:gd name="connsiteX33" fmla="*/ 1585913 w 1993106"/>
                    <a:gd name="connsiteY33" fmla="*/ 597694 h 1916906"/>
                    <a:gd name="connsiteX34" fmla="*/ 1226344 w 1993106"/>
                    <a:gd name="connsiteY34" fmla="*/ 600075 h 1916906"/>
                    <a:gd name="connsiteX35" fmla="*/ 1307306 w 1993106"/>
                    <a:gd name="connsiteY35" fmla="*/ 411956 h 1916906"/>
                    <a:gd name="connsiteX36" fmla="*/ 1212056 w 1993106"/>
                    <a:gd name="connsiteY36" fmla="*/ 361950 h 1916906"/>
                    <a:gd name="connsiteX37" fmla="*/ 1195388 w 1993106"/>
                    <a:gd name="connsiteY37" fmla="*/ 273844 h 1916906"/>
                    <a:gd name="connsiteX38" fmla="*/ 1147763 w 1993106"/>
                    <a:gd name="connsiteY38" fmla="*/ 273844 h 1916906"/>
                    <a:gd name="connsiteX39" fmla="*/ 1097756 w 1993106"/>
                    <a:gd name="connsiteY39" fmla="*/ 190499 h 1916906"/>
                    <a:gd name="connsiteX40" fmla="*/ 1050131 w 1993106"/>
                    <a:gd name="connsiteY40" fmla="*/ 176213 h 1916906"/>
                    <a:gd name="connsiteX41" fmla="*/ 1047750 w 1993106"/>
                    <a:gd name="connsiteY41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281113 w 1993106"/>
                    <a:gd name="connsiteY15" fmla="*/ 1245394 h 1916906"/>
                    <a:gd name="connsiteX16" fmla="*/ 1333500 w 1993106"/>
                    <a:gd name="connsiteY16" fmla="*/ 1238250 h 1916906"/>
                    <a:gd name="connsiteX17" fmla="*/ 1364456 w 1993106"/>
                    <a:gd name="connsiteY17" fmla="*/ 1228724 h 1916906"/>
                    <a:gd name="connsiteX18" fmla="*/ 1521618 w 1993106"/>
                    <a:gd name="connsiteY18" fmla="*/ 1219200 h 1916906"/>
                    <a:gd name="connsiteX19" fmla="*/ 1597819 w 1993106"/>
                    <a:gd name="connsiteY19" fmla="*/ 1233487 h 1916906"/>
                    <a:gd name="connsiteX20" fmla="*/ 1666875 w 1993106"/>
                    <a:gd name="connsiteY20" fmla="*/ 1202531 h 1916906"/>
                    <a:gd name="connsiteX21" fmla="*/ 1683544 w 1993106"/>
                    <a:gd name="connsiteY21" fmla="*/ 1152525 h 1916906"/>
                    <a:gd name="connsiteX22" fmla="*/ 1764506 w 1993106"/>
                    <a:gd name="connsiteY22" fmla="*/ 1126331 h 1916906"/>
                    <a:gd name="connsiteX23" fmla="*/ 1793082 w 1993106"/>
                    <a:gd name="connsiteY23" fmla="*/ 1052513 h 1916906"/>
                    <a:gd name="connsiteX24" fmla="*/ 1743075 w 1993106"/>
                    <a:gd name="connsiteY24" fmla="*/ 976312 h 1916906"/>
                    <a:gd name="connsiteX25" fmla="*/ 1797844 w 1993106"/>
                    <a:gd name="connsiteY25" fmla="*/ 912019 h 1916906"/>
                    <a:gd name="connsiteX26" fmla="*/ 1859756 w 1993106"/>
                    <a:gd name="connsiteY26" fmla="*/ 885826 h 1916906"/>
                    <a:gd name="connsiteX27" fmla="*/ 1895475 w 1993106"/>
                    <a:gd name="connsiteY27" fmla="*/ 781050 h 1916906"/>
                    <a:gd name="connsiteX28" fmla="*/ 1938337 w 1993106"/>
                    <a:gd name="connsiteY28" fmla="*/ 778669 h 1916906"/>
                    <a:gd name="connsiteX29" fmla="*/ 1993106 w 1993106"/>
                    <a:gd name="connsiteY29" fmla="*/ 728662 h 1916906"/>
                    <a:gd name="connsiteX30" fmla="*/ 1947862 w 1993106"/>
                    <a:gd name="connsiteY30" fmla="*/ 702469 h 1916906"/>
                    <a:gd name="connsiteX31" fmla="*/ 1897857 w 1993106"/>
                    <a:gd name="connsiteY31" fmla="*/ 711993 h 1916906"/>
                    <a:gd name="connsiteX32" fmla="*/ 1897857 w 1993106"/>
                    <a:gd name="connsiteY32" fmla="*/ 664369 h 1916906"/>
                    <a:gd name="connsiteX33" fmla="*/ 1776413 w 1993106"/>
                    <a:gd name="connsiteY33" fmla="*/ 654844 h 1916906"/>
                    <a:gd name="connsiteX34" fmla="*/ 1585913 w 1993106"/>
                    <a:gd name="connsiteY34" fmla="*/ 597694 h 1916906"/>
                    <a:gd name="connsiteX35" fmla="*/ 1226344 w 1993106"/>
                    <a:gd name="connsiteY35" fmla="*/ 600075 h 1916906"/>
                    <a:gd name="connsiteX36" fmla="*/ 1307306 w 1993106"/>
                    <a:gd name="connsiteY36" fmla="*/ 411956 h 1916906"/>
                    <a:gd name="connsiteX37" fmla="*/ 1212056 w 1993106"/>
                    <a:gd name="connsiteY37" fmla="*/ 361950 h 1916906"/>
                    <a:gd name="connsiteX38" fmla="*/ 1195388 w 1993106"/>
                    <a:gd name="connsiteY38" fmla="*/ 273844 h 1916906"/>
                    <a:gd name="connsiteX39" fmla="*/ 1147763 w 1993106"/>
                    <a:gd name="connsiteY39" fmla="*/ 273844 h 1916906"/>
                    <a:gd name="connsiteX40" fmla="*/ 1097756 w 1993106"/>
                    <a:gd name="connsiteY40" fmla="*/ 190499 h 1916906"/>
                    <a:gd name="connsiteX41" fmla="*/ 1050131 w 1993106"/>
                    <a:gd name="connsiteY41" fmla="*/ 176213 h 1916906"/>
                    <a:gd name="connsiteX42" fmla="*/ 1047750 w 1993106"/>
                    <a:gd name="connsiteY42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281113 w 1993106"/>
                    <a:gd name="connsiteY15" fmla="*/ 1245394 h 1916906"/>
                    <a:gd name="connsiteX16" fmla="*/ 1335881 w 1993106"/>
                    <a:gd name="connsiteY16" fmla="*/ 1271587 h 1916906"/>
                    <a:gd name="connsiteX17" fmla="*/ 1364456 w 1993106"/>
                    <a:gd name="connsiteY17" fmla="*/ 1228724 h 1916906"/>
                    <a:gd name="connsiteX18" fmla="*/ 1521618 w 1993106"/>
                    <a:gd name="connsiteY18" fmla="*/ 1219200 h 1916906"/>
                    <a:gd name="connsiteX19" fmla="*/ 1597819 w 1993106"/>
                    <a:gd name="connsiteY19" fmla="*/ 1233487 h 1916906"/>
                    <a:gd name="connsiteX20" fmla="*/ 1666875 w 1993106"/>
                    <a:gd name="connsiteY20" fmla="*/ 1202531 h 1916906"/>
                    <a:gd name="connsiteX21" fmla="*/ 1683544 w 1993106"/>
                    <a:gd name="connsiteY21" fmla="*/ 1152525 h 1916906"/>
                    <a:gd name="connsiteX22" fmla="*/ 1764506 w 1993106"/>
                    <a:gd name="connsiteY22" fmla="*/ 1126331 h 1916906"/>
                    <a:gd name="connsiteX23" fmla="*/ 1793082 w 1993106"/>
                    <a:gd name="connsiteY23" fmla="*/ 1052513 h 1916906"/>
                    <a:gd name="connsiteX24" fmla="*/ 1743075 w 1993106"/>
                    <a:gd name="connsiteY24" fmla="*/ 976312 h 1916906"/>
                    <a:gd name="connsiteX25" fmla="*/ 1797844 w 1993106"/>
                    <a:gd name="connsiteY25" fmla="*/ 912019 h 1916906"/>
                    <a:gd name="connsiteX26" fmla="*/ 1859756 w 1993106"/>
                    <a:gd name="connsiteY26" fmla="*/ 885826 h 1916906"/>
                    <a:gd name="connsiteX27" fmla="*/ 1895475 w 1993106"/>
                    <a:gd name="connsiteY27" fmla="*/ 781050 h 1916906"/>
                    <a:gd name="connsiteX28" fmla="*/ 1938337 w 1993106"/>
                    <a:gd name="connsiteY28" fmla="*/ 778669 h 1916906"/>
                    <a:gd name="connsiteX29" fmla="*/ 1993106 w 1993106"/>
                    <a:gd name="connsiteY29" fmla="*/ 728662 h 1916906"/>
                    <a:gd name="connsiteX30" fmla="*/ 1947862 w 1993106"/>
                    <a:gd name="connsiteY30" fmla="*/ 702469 h 1916906"/>
                    <a:gd name="connsiteX31" fmla="*/ 1897857 w 1993106"/>
                    <a:gd name="connsiteY31" fmla="*/ 711993 h 1916906"/>
                    <a:gd name="connsiteX32" fmla="*/ 1897857 w 1993106"/>
                    <a:gd name="connsiteY32" fmla="*/ 664369 h 1916906"/>
                    <a:gd name="connsiteX33" fmla="*/ 1776413 w 1993106"/>
                    <a:gd name="connsiteY33" fmla="*/ 654844 h 1916906"/>
                    <a:gd name="connsiteX34" fmla="*/ 1585913 w 1993106"/>
                    <a:gd name="connsiteY34" fmla="*/ 597694 h 1916906"/>
                    <a:gd name="connsiteX35" fmla="*/ 1226344 w 1993106"/>
                    <a:gd name="connsiteY35" fmla="*/ 600075 h 1916906"/>
                    <a:gd name="connsiteX36" fmla="*/ 1307306 w 1993106"/>
                    <a:gd name="connsiteY36" fmla="*/ 411956 h 1916906"/>
                    <a:gd name="connsiteX37" fmla="*/ 1212056 w 1993106"/>
                    <a:gd name="connsiteY37" fmla="*/ 361950 h 1916906"/>
                    <a:gd name="connsiteX38" fmla="*/ 1195388 w 1993106"/>
                    <a:gd name="connsiteY38" fmla="*/ 273844 h 1916906"/>
                    <a:gd name="connsiteX39" fmla="*/ 1147763 w 1993106"/>
                    <a:gd name="connsiteY39" fmla="*/ 273844 h 1916906"/>
                    <a:gd name="connsiteX40" fmla="*/ 1097756 w 1993106"/>
                    <a:gd name="connsiteY40" fmla="*/ 190499 h 1916906"/>
                    <a:gd name="connsiteX41" fmla="*/ 1050131 w 1993106"/>
                    <a:gd name="connsiteY41" fmla="*/ 176213 h 1916906"/>
                    <a:gd name="connsiteX42" fmla="*/ 1047750 w 1993106"/>
                    <a:gd name="connsiteY42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262063 w 1993106"/>
                    <a:gd name="connsiteY15" fmla="*/ 1326356 h 1916906"/>
                    <a:gd name="connsiteX16" fmla="*/ 1281113 w 1993106"/>
                    <a:gd name="connsiteY16" fmla="*/ 1245394 h 1916906"/>
                    <a:gd name="connsiteX17" fmla="*/ 1335881 w 1993106"/>
                    <a:gd name="connsiteY17" fmla="*/ 1271587 h 1916906"/>
                    <a:gd name="connsiteX18" fmla="*/ 1364456 w 1993106"/>
                    <a:gd name="connsiteY18" fmla="*/ 1228724 h 1916906"/>
                    <a:gd name="connsiteX19" fmla="*/ 1521618 w 1993106"/>
                    <a:gd name="connsiteY19" fmla="*/ 1219200 h 1916906"/>
                    <a:gd name="connsiteX20" fmla="*/ 1597819 w 1993106"/>
                    <a:gd name="connsiteY20" fmla="*/ 1233487 h 1916906"/>
                    <a:gd name="connsiteX21" fmla="*/ 1666875 w 1993106"/>
                    <a:gd name="connsiteY21" fmla="*/ 1202531 h 1916906"/>
                    <a:gd name="connsiteX22" fmla="*/ 1683544 w 1993106"/>
                    <a:gd name="connsiteY22" fmla="*/ 1152525 h 1916906"/>
                    <a:gd name="connsiteX23" fmla="*/ 1764506 w 1993106"/>
                    <a:gd name="connsiteY23" fmla="*/ 1126331 h 1916906"/>
                    <a:gd name="connsiteX24" fmla="*/ 1793082 w 1993106"/>
                    <a:gd name="connsiteY24" fmla="*/ 1052513 h 1916906"/>
                    <a:gd name="connsiteX25" fmla="*/ 1743075 w 1993106"/>
                    <a:gd name="connsiteY25" fmla="*/ 976312 h 1916906"/>
                    <a:gd name="connsiteX26" fmla="*/ 1797844 w 1993106"/>
                    <a:gd name="connsiteY26" fmla="*/ 912019 h 1916906"/>
                    <a:gd name="connsiteX27" fmla="*/ 1859756 w 1993106"/>
                    <a:gd name="connsiteY27" fmla="*/ 885826 h 1916906"/>
                    <a:gd name="connsiteX28" fmla="*/ 1895475 w 1993106"/>
                    <a:gd name="connsiteY28" fmla="*/ 781050 h 1916906"/>
                    <a:gd name="connsiteX29" fmla="*/ 1938337 w 1993106"/>
                    <a:gd name="connsiteY29" fmla="*/ 778669 h 1916906"/>
                    <a:gd name="connsiteX30" fmla="*/ 1993106 w 1993106"/>
                    <a:gd name="connsiteY30" fmla="*/ 728662 h 1916906"/>
                    <a:gd name="connsiteX31" fmla="*/ 1947862 w 1993106"/>
                    <a:gd name="connsiteY31" fmla="*/ 702469 h 1916906"/>
                    <a:gd name="connsiteX32" fmla="*/ 1897857 w 1993106"/>
                    <a:gd name="connsiteY32" fmla="*/ 711993 h 1916906"/>
                    <a:gd name="connsiteX33" fmla="*/ 1897857 w 1993106"/>
                    <a:gd name="connsiteY33" fmla="*/ 664369 h 1916906"/>
                    <a:gd name="connsiteX34" fmla="*/ 1776413 w 1993106"/>
                    <a:gd name="connsiteY34" fmla="*/ 654844 h 1916906"/>
                    <a:gd name="connsiteX35" fmla="*/ 1585913 w 1993106"/>
                    <a:gd name="connsiteY35" fmla="*/ 597694 h 1916906"/>
                    <a:gd name="connsiteX36" fmla="*/ 1226344 w 1993106"/>
                    <a:gd name="connsiteY36" fmla="*/ 600075 h 1916906"/>
                    <a:gd name="connsiteX37" fmla="*/ 1307306 w 1993106"/>
                    <a:gd name="connsiteY37" fmla="*/ 411956 h 1916906"/>
                    <a:gd name="connsiteX38" fmla="*/ 1212056 w 1993106"/>
                    <a:gd name="connsiteY38" fmla="*/ 361950 h 1916906"/>
                    <a:gd name="connsiteX39" fmla="*/ 1195388 w 1993106"/>
                    <a:gd name="connsiteY39" fmla="*/ 273844 h 1916906"/>
                    <a:gd name="connsiteX40" fmla="*/ 1147763 w 1993106"/>
                    <a:gd name="connsiteY40" fmla="*/ 273844 h 1916906"/>
                    <a:gd name="connsiteX41" fmla="*/ 1097756 w 1993106"/>
                    <a:gd name="connsiteY41" fmla="*/ 190499 h 1916906"/>
                    <a:gd name="connsiteX42" fmla="*/ 1050131 w 1993106"/>
                    <a:gd name="connsiteY42" fmla="*/ 176213 h 1916906"/>
                    <a:gd name="connsiteX43" fmla="*/ 1047750 w 1993106"/>
                    <a:gd name="connsiteY43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188245 w 1993106"/>
                    <a:gd name="connsiteY15" fmla="*/ 1350169 h 1916906"/>
                    <a:gd name="connsiteX16" fmla="*/ 1281113 w 1993106"/>
                    <a:gd name="connsiteY16" fmla="*/ 1245394 h 1916906"/>
                    <a:gd name="connsiteX17" fmla="*/ 1335881 w 1993106"/>
                    <a:gd name="connsiteY17" fmla="*/ 1271587 h 1916906"/>
                    <a:gd name="connsiteX18" fmla="*/ 1364456 w 1993106"/>
                    <a:gd name="connsiteY18" fmla="*/ 1228724 h 1916906"/>
                    <a:gd name="connsiteX19" fmla="*/ 1521618 w 1993106"/>
                    <a:gd name="connsiteY19" fmla="*/ 1219200 h 1916906"/>
                    <a:gd name="connsiteX20" fmla="*/ 1597819 w 1993106"/>
                    <a:gd name="connsiteY20" fmla="*/ 1233487 h 1916906"/>
                    <a:gd name="connsiteX21" fmla="*/ 1666875 w 1993106"/>
                    <a:gd name="connsiteY21" fmla="*/ 1202531 h 1916906"/>
                    <a:gd name="connsiteX22" fmla="*/ 1683544 w 1993106"/>
                    <a:gd name="connsiteY22" fmla="*/ 1152525 h 1916906"/>
                    <a:gd name="connsiteX23" fmla="*/ 1764506 w 1993106"/>
                    <a:gd name="connsiteY23" fmla="*/ 1126331 h 1916906"/>
                    <a:gd name="connsiteX24" fmla="*/ 1793082 w 1993106"/>
                    <a:gd name="connsiteY24" fmla="*/ 1052513 h 1916906"/>
                    <a:gd name="connsiteX25" fmla="*/ 1743075 w 1993106"/>
                    <a:gd name="connsiteY25" fmla="*/ 976312 h 1916906"/>
                    <a:gd name="connsiteX26" fmla="*/ 1797844 w 1993106"/>
                    <a:gd name="connsiteY26" fmla="*/ 912019 h 1916906"/>
                    <a:gd name="connsiteX27" fmla="*/ 1859756 w 1993106"/>
                    <a:gd name="connsiteY27" fmla="*/ 885826 h 1916906"/>
                    <a:gd name="connsiteX28" fmla="*/ 1895475 w 1993106"/>
                    <a:gd name="connsiteY28" fmla="*/ 781050 h 1916906"/>
                    <a:gd name="connsiteX29" fmla="*/ 1938337 w 1993106"/>
                    <a:gd name="connsiteY29" fmla="*/ 778669 h 1916906"/>
                    <a:gd name="connsiteX30" fmla="*/ 1993106 w 1993106"/>
                    <a:gd name="connsiteY30" fmla="*/ 728662 h 1916906"/>
                    <a:gd name="connsiteX31" fmla="*/ 1947862 w 1993106"/>
                    <a:gd name="connsiteY31" fmla="*/ 702469 h 1916906"/>
                    <a:gd name="connsiteX32" fmla="*/ 1897857 w 1993106"/>
                    <a:gd name="connsiteY32" fmla="*/ 711993 h 1916906"/>
                    <a:gd name="connsiteX33" fmla="*/ 1897857 w 1993106"/>
                    <a:gd name="connsiteY33" fmla="*/ 664369 h 1916906"/>
                    <a:gd name="connsiteX34" fmla="*/ 1776413 w 1993106"/>
                    <a:gd name="connsiteY34" fmla="*/ 654844 h 1916906"/>
                    <a:gd name="connsiteX35" fmla="*/ 1585913 w 1993106"/>
                    <a:gd name="connsiteY35" fmla="*/ 597694 h 1916906"/>
                    <a:gd name="connsiteX36" fmla="*/ 1226344 w 1993106"/>
                    <a:gd name="connsiteY36" fmla="*/ 600075 h 1916906"/>
                    <a:gd name="connsiteX37" fmla="*/ 1307306 w 1993106"/>
                    <a:gd name="connsiteY37" fmla="*/ 411956 h 1916906"/>
                    <a:gd name="connsiteX38" fmla="*/ 1212056 w 1993106"/>
                    <a:gd name="connsiteY38" fmla="*/ 361950 h 1916906"/>
                    <a:gd name="connsiteX39" fmla="*/ 1195388 w 1993106"/>
                    <a:gd name="connsiteY39" fmla="*/ 273844 h 1916906"/>
                    <a:gd name="connsiteX40" fmla="*/ 1147763 w 1993106"/>
                    <a:gd name="connsiteY40" fmla="*/ 273844 h 1916906"/>
                    <a:gd name="connsiteX41" fmla="*/ 1097756 w 1993106"/>
                    <a:gd name="connsiteY41" fmla="*/ 190499 h 1916906"/>
                    <a:gd name="connsiteX42" fmla="*/ 1050131 w 1993106"/>
                    <a:gd name="connsiteY42" fmla="*/ 176213 h 1916906"/>
                    <a:gd name="connsiteX43" fmla="*/ 1047750 w 1993106"/>
                    <a:gd name="connsiteY43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188245 w 1993106"/>
                    <a:gd name="connsiteY15" fmla="*/ 1350169 h 1916906"/>
                    <a:gd name="connsiteX16" fmla="*/ 1240631 w 1993106"/>
                    <a:gd name="connsiteY16" fmla="*/ 1290637 h 1916906"/>
                    <a:gd name="connsiteX17" fmla="*/ 1281113 w 1993106"/>
                    <a:gd name="connsiteY17" fmla="*/ 1245394 h 1916906"/>
                    <a:gd name="connsiteX18" fmla="*/ 1335881 w 1993106"/>
                    <a:gd name="connsiteY18" fmla="*/ 1271587 h 1916906"/>
                    <a:gd name="connsiteX19" fmla="*/ 1364456 w 1993106"/>
                    <a:gd name="connsiteY19" fmla="*/ 1228724 h 1916906"/>
                    <a:gd name="connsiteX20" fmla="*/ 1521618 w 1993106"/>
                    <a:gd name="connsiteY20" fmla="*/ 1219200 h 1916906"/>
                    <a:gd name="connsiteX21" fmla="*/ 1597819 w 1993106"/>
                    <a:gd name="connsiteY21" fmla="*/ 1233487 h 1916906"/>
                    <a:gd name="connsiteX22" fmla="*/ 1666875 w 1993106"/>
                    <a:gd name="connsiteY22" fmla="*/ 1202531 h 1916906"/>
                    <a:gd name="connsiteX23" fmla="*/ 1683544 w 1993106"/>
                    <a:gd name="connsiteY23" fmla="*/ 1152525 h 1916906"/>
                    <a:gd name="connsiteX24" fmla="*/ 1764506 w 1993106"/>
                    <a:gd name="connsiteY24" fmla="*/ 1126331 h 1916906"/>
                    <a:gd name="connsiteX25" fmla="*/ 1793082 w 1993106"/>
                    <a:gd name="connsiteY25" fmla="*/ 1052513 h 1916906"/>
                    <a:gd name="connsiteX26" fmla="*/ 1743075 w 1993106"/>
                    <a:gd name="connsiteY26" fmla="*/ 976312 h 1916906"/>
                    <a:gd name="connsiteX27" fmla="*/ 1797844 w 1993106"/>
                    <a:gd name="connsiteY27" fmla="*/ 912019 h 1916906"/>
                    <a:gd name="connsiteX28" fmla="*/ 1859756 w 1993106"/>
                    <a:gd name="connsiteY28" fmla="*/ 885826 h 1916906"/>
                    <a:gd name="connsiteX29" fmla="*/ 1895475 w 1993106"/>
                    <a:gd name="connsiteY29" fmla="*/ 781050 h 1916906"/>
                    <a:gd name="connsiteX30" fmla="*/ 1938337 w 1993106"/>
                    <a:gd name="connsiteY30" fmla="*/ 778669 h 1916906"/>
                    <a:gd name="connsiteX31" fmla="*/ 1993106 w 1993106"/>
                    <a:gd name="connsiteY31" fmla="*/ 728662 h 1916906"/>
                    <a:gd name="connsiteX32" fmla="*/ 1947862 w 1993106"/>
                    <a:gd name="connsiteY32" fmla="*/ 702469 h 1916906"/>
                    <a:gd name="connsiteX33" fmla="*/ 1897857 w 1993106"/>
                    <a:gd name="connsiteY33" fmla="*/ 711993 h 1916906"/>
                    <a:gd name="connsiteX34" fmla="*/ 1897857 w 1993106"/>
                    <a:gd name="connsiteY34" fmla="*/ 664369 h 1916906"/>
                    <a:gd name="connsiteX35" fmla="*/ 1776413 w 1993106"/>
                    <a:gd name="connsiteY35" fmla="*/ 654844 h 1916906"/>
                    <a:gd name="connsiteX36" fmla="*/ 1585913 w 1993106"/>
                    <a:gd name="connsiteY36" fmla="*/ 597694 h 1916906"/>
                    <a:gd name="connsiteX37" fmla="*/ 1226344 w 1993106"/>
                    <a:gd name="connsiteY37" fmla="*/ 600075 h 1916906"/>
                    <a:gd name="connsiteX38" fmla="*/ 1307306 w 1993106"/>
                    <a:gd name="connsiteY38" fmla="*/ 411956 h 1916906"/>
                    <a:gd name="connsiteX39" fmla="*/ 1212056 w 1993106"/>
                    <a:gd name="connsiteY39" fmla="*/ 361950 h 1916906"/>
                    <a:gd name="connsiteX40" fmla="*/ 1195388 w 1993106"/>
                    <a:gd name="connsiteY40" fmla="*/ 273844 h 1916906"/>
                    <a:gd name="connsiteX41" fmla="*/ 1147763 w 1993106"/>
                    <a:gd name="connsiteY41" fmla="*/ 273844 h 1916906"/>
                    <a:gd name="connsiteX42" fmla="*/ 1097756 w 1993106"/>
                    <a:gd name="connsiteY42" fmla="*/ 190499 h 1916906"/>
                    <a:gd name="connsiteX43" fmla="*/ 1050131 w 1993106"/>
                    <a:gd name="connsiteY43" fmla="*/ 176213 h 1916906"/>
                    <a:gd name="connsiteX44" fmla="*/ 1047750 w 1993106"/>
                    <a:gd name="connsiteY44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188245 w 1993106"/>
                    <a:gd name="connsiteY15" fmla="*/ 1350169 h 1916906"/>
                    <a:gd name="connsiteX16" fmla="*/ 1231106 w 1993106"/>
                    <a:gd name="connsiteY16" fmla="*/ 1278731 h 1916906"/>
                    <a:gd name="connsiteX17" fmla="*/ 1281113 w 1993106"/>
                    <a:gd name="connsiteY17" fmla="*/ 1245394 h 1916906"/>
                    <a:gd name="connsiteX18" fmla="*/ 1335881 w 1993106"/>
                    <a:gd name="connsiteY18" fmla="*/ 1271587 h 1916906"/>
                    <a:gd name="connsiteX19" fmla="*/ 1364456 w 1993106"/>
                    <a:gd name="connsiteY19" fmla="*/ 1228724 h 1916906"/>
                    <a:gd name="connsiteX20" fmla="*/ 1521618 w 1993106"/>
                    <a:gd name="connsiteY20" fmla="*/ 1219200 h 1916906"/>
                    <a:gd name="connsiteX21" fmla="*/ 1597819 w 1993106"/>
                    <a:gd name="connsiteY21" fmla="*/ 1233487 h 1916906"/>
                    <a:gd name="connsiteX22" fmla="*/ 1666875 w 1993106"/>
                    <a:gd name="connsiteY22" fmla="*/ 1202531 h 1916906"/>
                    <a:gd name="connsiteX23" fmla="*/ 1683544 w 1993106"/>
                    <a:gd name="connsiteY23" fmla="*/ 1152525 h 1916906"/>
                    <a:gd name="connsiteX24" fmla="*/ 1764506 w 1993106"/>
                    <a:gd name="connsiteY24" fmla="*/ 1126331 h 1916906"/>
                    <a:gd name="connsiteX25" fmla="*/ 1793082 w 1993106"/>
                    <a:gd name="connsiteY25" fmla="*/ 1052513 h 1916906"/>
                    <a:gd name="connsiteX26" fmla="*/ 1743075 w 1993106"/>
                    <a:gd name="connsiteY26" fmla="*/ 976312 h 1916906"/>
                    <a:gd name="connsiteX27" fmla="*/ 1797844 w 1993106"/>
                    <a:gd name="connsiteY27" fmla="*/ 912019 h 1916906"/>
                    <a:gd name="connsiteX28" fmla="*/ 1859756 w 1993106"/>
                    <a:gd name="connsiteY28" fmla="*/ 885826 h 1916906"/>
                    <a:gd name="connsiteX29" fmla="*/ 1895475 w 1993106"/>
                    <a:gd name="connsiteY29" fmla="*/ 781050 h 1916906"/>
                    <a:gd name="connsiteX30" fmla="*/ 1938337 w 1993106"/>
                    <a:gd name="connsiteY30" fmla="*/ 778669 h 1916906"/>
                    <a:gd name="connsiteX31" fmla="*/ 1993106 w 1993106"/>
                    <a:gd name="connsiteY31" fmla="*/ 728662 h 1916906"/>
                    <a:gd name="connsiteX32" fmla="*/ 1947862 w 1993106"/>
                    <a:gd name="connsiteY32" fmla="*/ 702469 h 1916906"/>
                    <a:gd name="connsiteX33" fmla="*/ 1897857 w 1993106"/>
                    <a:gd name="connsiteY33" fmla="*/ 711993 h 1916906"/>
                    <a:gd name="connsiteX34" fmla="*/ 1897857 w 1993106"/>
                    <a:gd name="connsiteY34" fmla="*/ 664369 h 1916906"/>
                    <a:gd name="connsiteX35" fmla="*/ 1776413 w 1993106"/>
                    <a:gd name="connsiteY35" fmla="*/ 654844 h 1916906"/>
                    <a:gd name="connsiteX36" fmla="*/ 1585913 w 1993106"/>
                    <a:gd name="connsiteY36" fmla="*/ 597694 h 1916906"/>
                    <a:gd name="connsiteX37" fmla="*/ 1226344 w 1993106"/>
                    <a:gd name="connsiteY37" fmla="*/ 600075 h 1916906"/>
                    <a:gd name="connsiteX38" fmla="*/ 1307306 w 1993106"/>
                    <a:gd name="connsiteY38" fmla="*/ 411956 h 1916906"/>
                    <a:gd name="connsiteX39" fmla="*/ 1212056 w 1993106"/>
                    <a:gd name="connsiteY39" fmla="*/ 361950 h 1916906"/>
                    <a:gd name="connsiteX40" fmla="*/ 1195388 w 1993106"/>
                    <a:gd name="connsiteY40" fmla="*/ 273844 h 1916906"/>
                    <a:gd name="connsiteX41" fmla="*/ 1147763 w 1993106"/>
                    <a:gd name="connsiteY41" fmla="*/ 273844 h 1916906"/>
                    <a:gd name="connsiteX42" fmla="*/ 1097756 w 1993106"/>
                    <a:gd name="connsiteY42" fmla="*/ 190499 h 1916906"/>
                    <a:gd name="connsiteX43" fmla="*/ 1050131 w 1993106"/>
                    <a:gd name="connsiteY43" fmla="*/ 176213 h 1916906"/>
                    <a:gd name="connsiteX44" fmla="*/ 1047750 w 1993106"/>
                    <a:gd name="connsiteY44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207294 w 1993106"/>
                    <a:gd name="connsiteY15" fmla="*/ 1397794 h 1916906"/>
                    <a:gd name="connsiteX16" fmla="*/ 1188245 w 1993106"/>
                    <a:gd name="connsiteY16" fmla="*/ 1350169 h 1916906"/>
                    <a:gd name="connsiteX17" fmla="*/ 1231106 w 1993106"/>
                    <a:gd name="connsiteY17" fmla="*/ 1278731 h 1916906"/>
                    <a:gd name="connsiteX18" fmla="*/ 1281113 w 1993106"/>
                    <a:gd name="connsiteY18" fmla="*/ 1245394 h 1916906"/>
                    <a:gd name="connsiteX19" fmla="*/ 1335881 w 1993106"/>
                    <a:gd name="connsiteY19" fmla="*/ 1271587 h 1916906"/>
                    <a:gd name="connsiteX20" fmla="*/ 1364456 w 1993106"/>
                    <a:gd name="connsiteY20" fmla="*/ 1228724 h 1916906"/>
                    <a:gd name="connsiteX21" fmla="*/ 1521618 w 1993106"/>
                    <a:gd name="connsiteY21" fmla="*/ 1219200 h 1916906"/>
                    <a:gd name="connsiteX22" fmla="*/ 1597819 w 1993106"/>
                    <a:gd name="connsiteY22" fmla="*/ 1233487 h 1916906"/>
                    <a:gd name="connsiteX23" fmla="*/ 1666875 w 1993106"/>
                    <a:gd name="connsiteY23" fmla="*/ 1202531 h 1916906"/>
                    <a:gd name="connsiteX24" fmla="*/ 1683544 w 1993106"/>
                    <a:gd name="connsiteY24" fmla="*/ 1152525 h 1916906"/>
                    <a:gd name="connsiteX25" fmla="*/ 1764506 w 1993106"/>
                    <a:gd name="connsiteY25" fmla="*/ 1126331 h 1916906"/>
                    <a:gd name="connsiteX26" fmla="*/ 1793082 w 1993106"/>
                    <a:gd name="connsiteY26" fmla="*/ 1052513 h 1916906"/>
                    <a:gd name="connsiteX27" fmla="*/ 1743075 w 1993106"/>
                    <a:gd name="connsiteY27" fmla="*/ 976312 h 1916906"/>
                    <a:gd name="connsiteX28" fmla="*/ 1797844 w 1993106"/>
                    <a:gd name="connsiteY28" fmla="*/ 912019 h 1916906"/>
                    <a:gd name="connsiteX29" fmla="*/ 1859756 w 1993106"/>
                    <a:gd name="connsiteY29" fmla="*/ 885826 h 1916906"/>
                    <a:gd name="connsiteX30" fmla="*/ 1895475 w 1993106"/>
                    <a:gd name="connsiteY30" fmla="*/ 781050 h 1916906"/>
                    <a:gd name="connsiteX31" fmla="*/ 1938337 w 1993106"/>
                    <a:gd name="connsiteY31" fmla="*/ 778669 h 1916906"/>
                    <a:gd name="connsiteX32" fmla="*/ 1993106 w 1993106"/>
                    <a:gd name="connsiteY32" fmla="*/ 728662 h 1916906"/>
                    <a:gd name="connsiteX33" fmla="*/ 1947862 w 1993106"/>
                    <a:gd name="connsiteY33" fmla="*/ 702469 h 1916906"/>
                    <a:gd name="connsiteX34" fmla="*/ 1897857 w 1993106"/>
                    <a:gd name="connsiteY34" fmla="*/ 711993 h 1916906"/>
                    <a:gd name="connsiteX35" fmla="*/ 1897857 w 1993106"/>
                    <a:gd name="connsiteY35" fmla="*/ 664369 h 1916906"/>
                    <a:gd name="connsiteX36" fmla="*/ 1776413 w 1993106"/>
                    <a:gd name="connsiteY36" fmla="*/ 654844 h 1916906"/>
                    <a:gd name="connsiteX37" fmla="*/ 1585913 w 1993106"/>
                    <a:gd name="connsiteY37" fmla="*/ 597694 h 1916906"/>
                    <a:gd name="connsiteX38" fmla="*/ 1226344 w 1993106"/>
                    <a:gd name="connsiteY38" fmla="*/ 600075 h 1916906"/>
                    <a:gd name="connsiteX39" fmla="*/ 1307306 w 1993106"/>
                    <a:gd name="connsiteY39" fmla="*/ 411956 h 1916906"/>
                    <a:gd name="connsiteX40" fmla="*/ 1212056 w 1993106"/>
                    <a:gd name="connsiteY40" fmla="*/ 361950 h 1916906"/>
                    <a:gd name="connsiteX41" fmla="*/ 1195388 w 1993106"/>
                    <a:gd name="connsiteY41" fmla="*/ 273844 h 1916906"/>
                    <a:gd name="connsiteX42" fmla="*/ 1147763 w 1993106"/>
                    <a:gd name="connsiteY42" fmla="*/ 273844 h 1916906"/>
                    <a:gd name="connsiteX43" fmla="*/ 1097756 w 1993106"/>
                    <a:gd name="connsiteY43" fmla="*/ 190499 h 1916906"/>
                    <a:gd name="connsiteX44" fmla="*/ 1050131 w 1993106"/>
                    <a:gd name="connsiteY44" fmla="*/ 176213 h 1916906"/>
                    <a:gd name="connsiteX45" fmla="*/ 1047750 w 1993106"/>
                    <a:gd name="connsiteY45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228725 w 1993106"/>
                    <a:gd name="connsiteY14" fmla="*/ 1462087 h 1916906"/>
                    <a:gd name="connsiteX15" fmla="*/ 1254919 w 1993106"/>
                    <a:gd name="connsiteY15" fmla="*/ 1426369 h 1916906"/>
                    <a:gd name="connsiteX16" fmla="*/ 1188245 w 1993106"/>
                    <a:gd name="connsiteY16" fmla="*/ 1350169 h 1916906"/>
                    <a:gd name="connsiteX17" fmla="*/ 1231106 w 1993106"/>
                    <a:gd name="connsiteY17" fmla="*/ 1278731 h 1916906"/>
                    <a:gd name="connsiteX18" fmla="*/ 1281113 w 1993106"/>
                    <a:gd name="connsiteY18" fmla="*/ 1245394 h 1916906"/>
                    <a:gd name="connsiteX19" fmla="*/ 1335881 w 1993106"/>
                    <a:gd name="connsiteY19" fmla="*/ 1271587 h 1916906"/>
                    <a:gd name="connsiteX20" fmla="*/ 1364456 w 1993106"/>
                    <a:gd name="connsiteY20" fmla="*/ 1228724 h 1916906"/>
                    <a:gd name="connsiteX21" fmla="*/ 1521618 w 1993106"/>
                    <a:gd name="connsiteY21" fmla="*/ 1219200 h 1916906"/>
                    <a:gd name="connsiteX22" fmla="*/ 1597819 w 1993106"/>
                    <a:gd name="connsiteY22" fmla="*/ 1233487 h 1916906"/>
                    <a:gd name="connsiteX23" fmla="*/ 1666875 w 1993106"/>
                    <a:gd name="connsiteY23" fmla="*/ 1202531 h 1916906"/>
                    <a:gd name="connsiteX24" fmla="*/ 1683544 w 1993106"/>
                    <a:gd name="connsiteY24" fmla="*/ 1152525 h 1916906"/>
                    <a:gd name="connsiteX25" fmla="*/ 1764506 w 1993106"/>
                    <a:gd name="connsiteY25" fmla="*/ 1126331 h 1916906"/>
                    <a:gd name="connsiteX26" fmla="*/ 1793082 w 1993106"/>
                    <a:gd name="connsiteY26" fmla="*/ 1052513 h 1916906"/>
                    <a:gd name="connsiteX27" fmla="*/ 1743075 w 1993106"/>
                    <a:gd name="connsiteY27" fmla="*/ 976312 h 1916906"/>
                    <a:gd name="connsiteX28" fmla="*/ 1797844 w 1993106"/>
                    <a:gd name="connsiteY28" fmla="*/ 912019 h 1916906"/>
                    <a:gd name="connsiteX29" fmla="*/ 1859756 w 1993106"/>
                    <a:gd name="connsiteY29" fmla="*/ 885826 h 1916906"/>
                    <a:gd name="connsiteX30" fmla="*/ 1895475 w 1993106"/>
                    <a:gd name="connsiteY30" fmla="*/ 781050 h 1916906"/>
                    <a:gd name="connsiteX31" fmla="*/ 1938337 w 1993106"/>
                    <a:gd name="connsiteY31" fmla="*/ 778669 h 1916906"/>
                    <a:gd name="connsiteX32" fmla="*/ 1993106 w 1993106"/>
                    <a:gd name="connsiteY32" fmla="*/ 728662 h 1916906"/>
                    <a:gd name="connsiteX33" fmla="*/ 1947862 w 1993106"/>
                    <a:gd name="connsiteY33" fmla="*/ 702469 h 1916906"/>
                    <a:gd name="connsiteX34" fmla="*/ 1897857 w 1993106"/>
                    <a:gd name="connsiteY34" fmla="*/ 711993 h 1916906"/>
                    <a:gd name="connsiteX35" fmla="*/ 1897857 w 1993106"/>
                    <a:gd name="connsiteY35" fmla="*/ 664369 h 1916906"/>
                    <a:gd name="connsiteX36" fmla="*/ 1776413 w 1993106"/>
                    <a:gd name="connsiteY36" fmla="*/ 654844 h 1916906"/>
                    <a:gd name="connsiteX37" fmla="*/ 1585913 w 1993106"/>
                    <a:gd name="connsiteY37" fmla="*/ 597694 h 1916906"/>
                    <a:gd name="connsiteX38" fmla="*/ 1226344 w 1993106"/>
                    <a:gd name="connsiteY38" fmla="*/ 600075 h 1916906"/>
                    <a:gd name="connsiteX39" fmla="*/ 1307306 w 1993106"/>
                    <a:gd name="connsiteY39" fmla="*/ 411956 h 1916906"/>
                    <a:gd name="connsiteX40" fmla="*/ 1212056 w 1993106"/>
                    <a:gd name="connsiteY40" fmla="*/ 361950 h 1916906"/>
                    <a:gd name="connsiteX41" fmla="*/ 1195388 w 1993106"/>
                    <a:gd name="connsiteY41" fmla="*/ 273844 h 1916906"/>
                    <a:gd name="connsiteX42" fmla="*/ 1147763 w 1993106"/>
                    <a:gd name="connsiteY42" fmla="*/ 273844 h 1916906"/>
                    <a:gd name="connsiteX43" fmla="*/ 1097756 w 1993106"/>
                    <a:gd name="connsiteY43" fmla="*/ 190499 h 1916906"/>
                    <a:gd name="connsiteX44" fmla="*/ 1050131 w 1993106"/>
                    <a:gd name="connsiteY44" fmla="*/ 176213 h 1916906"/>
                    <a:gd name="connsiteX45" fmla="*/ 1047750 w 1993106"/>
                    <a:gd name="connsiteY45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312069 w 1993106"/>
                    <a:gd name="connsiteY14" fmla="*/ 1678781 h 1916906"/>
                    <a:gd name="connsiteX15" fmla="*/ 1228725 w 1993106"/>
                    <a:gd name="connsiteY15" fmla="*/ 1462087 h 1916906"/>
                    <a:gd name="connsiteX16" fmla="*/ 1254919 w 1993106"/>
                    <a:gd name="connsiteY16" fmla="*/ 1426369 h 1916906"/>
                    <a:gd name="connsiteX17" fmla="*/ 1188245 w 1993106"/>
                    <a:gd name="connsiteY17" fmla="*/ 1350169 h 1916906"/>
                    <a:gd name="connsiteX18" fmla="*/ 1231106 w 1993106"/>
                    <a:gd name="connsiteY18" fmla="*/ 1278731 h 1916906"/>
                    <a:gd name="connsiteX19" fmla="*/ 1281113 w 1993106"/>
                    <a:gd name="connsiteY19" fmla="*/ 1245394 h 1916906"/>
                    <a:gd name="connsiteX20" fmla="*/ 1335881 w 1993106"/>
                    <a:gd name="connsiteY20" fmla="*/ 1271587 h 1916906"/>
                    <a:gd name="connsiteX21" fmla="*/ 1364456 w 1993106"/>
                    <a:gd name="connsiteY21" fmla="*/ 1228724 h 1916906"/>
                    <a:gd name="connsiteX22" fmla="*/ 1521618 w 1993106"/>
                    <a:gd name="connsiteY22" fmla="*/ 1219200 h 1916906"/>
                    <a:gd name="connsiteX23" fmla="*/ 1597819 w 1993106"/>
                    <a:gd name="connsiteY23" fmla="*/ 1233487 h 1916906"/>
                    <a:gd name="connsiteX24" fmla="*/ 1666875 w 1993106"/>
                    <a:gd name="connsiteY24" fmla="*/ 1202531 h 1916906"/>
                    <a:gd name="connsiteX25" fmla="*/ 1683544 w 1993106"/>
                    <a:gd name="connsiteY25" fmla="*/ 1152525 h 1916906"/>
                    <a:gd name="connsiteX26" fmla="*/ 1764506 w 1993106"/>
                    <a:gd name="connsiteY26" fmla="*/ 1126331 h 1916906"/>
                    <a:gd name="connsiteX27" fmla="*/ 1793082 w 1993106"/>
                    <a:gd name="connsiteY27" fmla="*/ 1052513 h 1916906"/>
                    <a:gd name="connsiteX28" fmla="*/ 1743075 w 1993106"/>
                    <a:gd name="connsiteY28" fmla="*/ 976312 h 1916906"/>
                    <a:gd name="connsiteX29" fmla="*/ 1797844 w 1993106"/>
                    <a:gd name="connsiteY29" fmla="*/ 912019 h 1916906"/>
                    <a:gd name="connsiteX30" fmla="*/ 1859756 w 1993106"/>
                    <a:gd name="connsiteY30" fmla="*/ 885826 h 1916906"/>
                    <a:gd name="connsiteX31" fmla="*/ 1895475 w 1993106"/>
                    <a:gd name="connsiteY31" fmla="*/ 781050 h 1916906"/>
                    <a:gd name="connsiteX32" fmla="*/ 1938337 w 1993106"/>
                    <a:gd name="connsiteY32" fmla="*/ 778669 h 1916906"/>
                    <a:gd name="connsiteX33" fmla="*/ 1993106 w 1993106"/>
                    <a:gd name="connsiteY33" fmla="*/ 728662 h 1916906"/>
                    <a:gd name="connsiteX34" fmla="*/ 1947862 w 1993106"/>
                    <a:gd name="connsiteY34" fmla="*/ 702469 h 1916906"/>
                    <a:gd name="connsiteX35" fmla="*/ 1897857 w 1993106"/>
                    <a:gd name="connsiteY35" fmla="*/ 711993 h 1916906"/>
                    <a:gd name="connsiteX36" fmla="*/ 1897857 w 1993106"/>
                    <a:gd name="connsiteY36" fmla="*/ 664369 h 1916906"/>
                    <a:gd name="connsiteX37" fmla="*/ 1776413 w 1993106"/>
                    <a:gd name="connsiteY37" fmla="*/ 654844 h 1916906"/>
                    <a:gd name="connsiteX38" fmla="*/ 1585913 w 1993106"/>
                    <a:gd name="connsiteY38" fmla="*/ 597694 h 1916906"/>
                    <a:gd name="connsiteX39" fmla="*/ 1226344 w 1993106"/>
                    <a:gd name="connsiteY39" fmla="*/ 600075 h 1916906"/>
                    <a:gd name="connsiteX40" fmla="*/ 1307306 w 1993106"/>
                    <a:gd name="connsiteY40" fmla="*/ 411956 h 1916906"/>
                    <a:gd name="connsiteX41" fmla="*/ 1212056 w 1993106"/>
                    <a:gd name="connsiteY41" fmla="*/ 361950 h 1916906"/>
                    <a:gd name="connsiteX42" fmla="*/ 1195388 w 1993106"/>
                    <a:gd name="connsiteY42" fmla="*/ 273844 h 1916906"/>
                    <a:gd name="connsiteX43" fmla="*/ 1147763 w 1993106"/>
                    <a:gd name="connsiteY43" fmla="*/ 273844 h 1916906"/>
                    <a:gd name="connsiteX44" fmla="*/ 1097756 w 1993106"/>
                    <a:gd name="connsiteY44" fmla="*/ 190499 h 1916906"/>
                    <a:gd name="connsiteX45" fmla="*/ 1050131 w 1993106"/>
                    <a:gd name="connsiteY45" fmla="*/ 176213 h 1916906"/>
                    <a:gd name="connsiteX46" fmla="*/ 1047750 w 1993106"/>
                    <a:gd name="connsiteY46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338263 w 1993106"/>
                    <a:gd name="connsiteY14" fmla="*/ 1602581 h 1916906"/>
                    <a:gd name="connsiteX15" fmla="*/ 1228725 w 1993106"/>
                    <a:gd name="connsiteY15" fmla="*/ 1462087 h 1916906"/>
                    <a:gd name="connsiteX16" fmla="*/ 1254919 w 1993106"/>
                    <a:gd name="connsiteY16" fmla="*/ 1426369 h 1916906"/>
                    <a:gd name="connsiteX17" fmla="*/ 1188245 w 1993106"/>
                    <a:gd name="connsiteY17" fmla="*/ 1350169 h 1916906"/>
                    <a:gd name="connsiteX18" fmla="*/ 1231106 w 1993106"/>
                    <a:gd name="connsiteY18" fmla="*/ 1278731 h 1916906"/>
                    <a:gd name="connsiteX19" fmla="*/ 1281113 w 1993106"/>
                    <a:gd name="connsiteY19" fmla="*/ 1245394 h 1916906"/>
                    <a:gd name="connsiteX20" fmla="*/ 1335881 w 1993106"/>
                    <a:gd name="connsiteY20" fmla="*/ 1271587 h 1916906"/>
                    <a:gd name="connsiteX21" fmla="*/ 1364456 w 1993106"/>
                    <a:gd name="connsiteY21" fmla="*/ 1228724 h 1916906"/>
                    <a:gd name="connsiteX22" fmla="*/ 1521618 w 1993106"/>
                    <a:gd name="connsiteY22" fmla="*/ 1219200 h 1916906"/>
                    <a:gd name="connsiteX23" fmla="*/ 1597819 w 1993106"/>
                    <a:gd name="connsiteY23" fmla="*/ 1233487 h 1916906"/>
                    <a:gd name="connsiteX24" fmla="*/ 1666875 w 1993106"/>
                    <a:gd name="connsiteY24" fmla="*/ 1202531 h 1916906"/>
                    <a:gd name="connsiteX25" fmla="*/ 1683544 w 1993106"/>
                    <a:gd name="connsiteY25" fmla="*/ 1152525 h 1916906"/>
                    <a:gd name="connsiteX26" fmla="*/ 1764506 w 1993106"/>
                    <a:gd name="connsiteY26" fmla="*/ 1126331 h 1916906"/>
                    <a:gd name="connsiteX27" fmla="*/ 1793082 w 1993106"/>
                    <a:gd name="connsiteY27" fmla="*/ 1052513 h 1916906"/>
                    <a:gd name="connsiteX28" fmla="*/ 1743075 w 1993106"/>
                    <a:gd name="connsiteY28" fmla="*/ 976312 h 1916906"/>
                    <a:gd name="connsiteX29" fmla="*/ 1797844 w 1993106"/>
                    <a:gd name="connsiteY29" fmla="*/ 912019 h 1916906"/>
                    <a:gd name="connsiteX30" fmla="*/ 1859756 w 1993106"/>
                    <a:gd name="connsiteY30" fmla="*/ 885826 h 1916906"/>
                    <a:gd name="connsiteX31" fmla="*/ 1895475 w 1993106"/>
                    <a:gd name="connsiteY31" fmla="*/ 781050 h 1916906"/>
                    <a:gd name="connsiteX32" fmla="*/ 1938337 w 1993106"/>
                    <a:gd name="connsiteY32" fmla="*/ 778669 h 1916906"/>
                    <a:gd name="connsiteX33" fmla="*/ 1993106 w 1993106"/>
                    <a:gd name="connsiteY33" fmla="*/ 728662 h 1916906"/>
                    <a:gd name="connsiteX34" fmla="*/ 1947862 w 1993106"/>
                    <a:gd name="connsiteY34" fmla="*/ 702469 h 1916906"/>
                    <a:gd name="connsiteX35" fmla="*/ 1897857 w 1993106"/>
                    <a:gd name="connsiteY35" fmla="*/ 711993 h 1916906"/>
                    <a:gd name="connsiteX36" fmla="*/ 1897857 w 1993106"/>
                    <a:gd name="connsiteY36" fmla="*/ 664369 h 1916906"/>
                    <a:gd name="connsiteX37" fmla="*/ 1776413 w 1993106"/>
                    <a:gd name="connsiteY37" fmla="*/ 654844 h 1916906"/>
                    <a:gd name="connsiteX38" fmla="*/ 1585913 w 1993106"/>
                    <a:gd name="connsiteY38" fmla="*/ 597694 h 1916906"/>
                    <a:gd name="connsiteX39" fmla="*/ 1226344 w 1993106"/>
                    <a:gd name="connsiteY39" fmla="*/ 600075 h 1916906"/>
                    <a:gd name="connsiteX40" fmla="*/ 1307306 w 1993106"/>
                    <a:gd name="connsiteY40" fmla="*/ 411956 h 1916906"/>
                    <a:gd name="connsiteX41" fmla="*/ 1212056 w 1993106"/>
                    <a:gd name="connsiteY41" fmla="*/ 361950 h 1916906"/>
                    <a:gd name="connsiteX42" fmla="*/ 1195388 w 1993106"/>
                    <a:gd name="connsiteY42" fmla="*/ 273844 h 1916906"/>
                    <a:gd name="connsiteX43" fmla="*/ 1147763 w 1993106"/>
                    <a:gd name="connsiteY43" fmla="*/ 273844 h 1916906"/>
                    <a:gd name="connsiteX44" fmla="*/ 1097756 w 1993106"/>
                    <a:gd name="connsiteY44" fmla="*/ 190499 h 1916906"/>
                    <a:gd name="connsiteX45" fmla="*/ 1050131 w 1993106"/>
                    <a:gd name="connsiteY45" fmla="*/ 176213 h 1916906"/>
                    <a:gd name="connsiteX46" fmla="*/ 1047750 w 1993106"/>
                    <a:gd name="connsiteY46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338263 w 1993106"/>
                    <a:gd name="connsiteY14" fmla="*/ 1712119 h 1916906"/>
                    <a:gd name="connsiteX15" fmla="*/ 1338263 w 1993106"/>
                    <a:gd name="connsiteY15" fmla="*/ 1602581 h 1916906"/>
                    <a:gd name="connsiteX16" fmla="*/ 1228725 w 1993106"/>
                    <a:gd name="connsiteY16" fmla="*/ 1462087 h 1916906"/>
                    <a:gd name="connsiteX17" fmla="*/ 1254919 w 1993106"/>
                    <a:gd name="connsiteY17" fmla="*/ 1426369 h 1916906"/>
                    <a:gd name="connsiteX18" fmla="*/ 1188245 w 1993106"/>
                    <a:gd name="connsiteY18" fmla="*/ 1350169 h 1916906"/>
                    <a:gd name="connsiteX19" fmla="*/ 1231106 w 1993106"/>
                    <a:gd name="connsiteY19" fmla="*/ 1278731 h 1916906"/>
                    <a:gd name="connsiteX20" fmla="*/ 1281113 w 1993106"/>
                    <a:gd name="connsiteY20" fmla="*/ 1245394 h 1916906"/>
                    <a:gd name="connsiteX21" fmla="*/ 1335881 w 1993106"/>
                    <a:gd name="connsiteY21" fmla="*/ 1271587 h 1916906"/>
                    <a:gd name="connsiteX22" fmla="*/ 1364456 w 1993106"/>
                    <a:gd name="connsiteY22" fmla="*/ 1228724 h 1916906"/>
                    <a:gd name="connsiteX23" fmla="*/ 1521618 w 1993106"/>
                    <a:gd name="connsiteY23" fmla="*/ 1219200 h 1916906"/>
                    <a:gd name="connsiteX24" fmla="*/ 1597819 w 1993106"/>
                    <a:gd name="connsiteY24" fmla="*/ 1233487 h 1916906"/>
                    <a:gd name="connsiteX25" fmla="*/ 1666875 w 1993106"/>
                    <a:gd name="connsiteY25" fmla="*/ 1202531 h 1916906"/>
                    <a:gd name="connsiteX26" fmla="*/ 1683544 w 1993106"/>
                    <a:gd name="connsiteY26" fmla="*/ 1152525 h 1916906"/>
                    <a:gd name="connsiteX27" fmla="*/ 1764506 w 1993106"/>
                    <a:gd name="connsiteY27" fmla="*/ 1126331 h 1916906"/>
                    <a:gd name="connsiteX28" fmla="*/ 1793082 w 1993106"/>
                    <a:gd name="connsiteY28" fmla="*/ 1052513 h 1916906"/>
                    <a:gd name="connsiteX29" fmla="*/ 1743075 w 1993106"/>
                    <a:gd name="connsiteY29" fmla="*/ 976312 h 1916906"/>
                    <a:gd name="connsiteX30" fmla="*/ 1797844 w 1993106"/>
                    <a:gd name="connsiteY30" fmla="*/ 912019 h 1916906"/>
                    <a:gd name="connsiteX31" fmla="*/ 1859756 w 1993106"/>
                    <a:gd name="connsiteY31" fmla="*/ 885826 h 1916906"/>
                    <a:gd name="connsiteX32" fmla="*/ 1895475 w 1993106"/>
                    <a:gd name="connsiteY32" fmla="*/ 781050 h 1916906"/>
                    <a:gd name="connsiteX33" fmla="*/ 1938337 w 1993106"/>
                    <a:gd name="connsiteY33" fmla="*/ 778669 h 1916906"/>
                    <a:gd name="connsiteX34" fmla="*/ 1993106 w 1993106"/>
                    <a:gd name="connsiteY34" fmla="*/ 728662 h 1916906"/>
                    <a:gd name="connsiteX35" fmla="*/ 1947862 w 1993106"/>
                    <a:gd name="connsiteY35" fmla="*/ 702469 h 1916906"/>
                    <a:gd name="connsiteX36" fmla="*/ 1897857 w 1993106"/>
                    <a:gd name="connsiteY36" fmla="*/ 711993 h 1916906"/>
                    <a:gd name="connsiteX37" fmla="*/ 1897857 w 1993106"/>
                    <a:gd name="connsiteY37" fmla="*/ 664369 h 1916906"/>
                    <a:gd name="connsiteX38" fmla="*/ 1776413 w 1993106"/>
                    <a:gd name="connsiteY38" fmla="*/ 654844 h 1916906"/>
                    <a:gd name="connsiteX39" fmla="*/ 1585913 w 1993106"/>
                    <a:gd name="connsiteY39" fmla="*/ 597694 h 1916906"/>
                    <a:gd name="connsiteX40" fmla="*/ 1226344 w 1993106"/>
                    <a:gd name="connsiteY40" fmla="*/ 600075 h 1916906"/>
                    <a:gd name="connsiteX41" fmla="*/ 1307306 w 1993106"/>
                    <a:gd name="connsiteY41" fmla="*/ 411956 h 1916906"/>
                    <a:gd name="connsiteX42" fmla="*/ 1212056 w 1993106"/>
                    <a:gd name="connsiteY42" fmla="*/ 361950 h 1916906"/>
                    <a:gd name="connsiteX43" fmla="*/ 1195388 w 1993106"/>
                    <a:gd name="connsiteY43" fmla="*/ 273844 h 1916906"/>
                    <a:gd name="connsiteX44" fmla="*/ 1147763 w 1993106"/>
                    <a:gd name="connsiteY44" fmla="*/ 273844 h 1916906"/>
                    <a:gd name="connsiteX45" fmla="*/ 1097756 w 1993106"/>
                    <a:gd name="connsiteY45" fmla="*/ 190499 h 1916906"/>
                    <a:gd name="connsiteX46" fmla="*/ 1050131 w 1993106"/>
                    <a:gd name="connsiteY46" fmla="*/ 176213 h 1916906"/>
                    <a:gd name="connsiteX47" fmla="*/ 1047750 w 1993106"/>
                    <a:gd name="connsiteY47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390650 w 1993106"/>
                    <a:gd name="connsiteY14" fmla="*/ 1652588 h 1916906"/>
                    <a:gd name="connsiteX15" fmla="*/ 1338263 w 1993106"/>
                    <a:gd name="connsiteY15" fmla="*/ 1602581 h 1916906"/>
                    <a:gd name="connsiteX16" fmla="*/ 1228725 w 1993106"/>
                    <a:gd name="connsiteY16" fmla="*/ 1462087 h 1916906"/>
                    <a:gd name="connsiteX17" fmla="*/ 1254919 w 1993106"/>
                    <a:gd name="connsiteY17" fmla="*/ 1426369 h 1916906"/>
                    <a:gd name="connsiteX18" fmla="*/ 1188245 w 1993106"/>
                    <a:gd name="connsiteY18" fmla="*/ 1350169 h 1916906"/>
                    <a:gd name="connsiteX19" fmla="*/ 1231106 w 1993106"/>
                    <a:gd name="connsiteY19" fmla="*/ 1278731 h 1916906"/>
                    <a:gd name="connsiteX20" fmla="*/ 1281113 w 1993106"/>
                    <a:gd name="connsiteY20" fmla="*/ 1245394 h 1916906"/>
                    <a:gd name="connsiteX21" fmla="*/ 1335881 w 1993106"/>
                    <a:gd name="connsiteY21" fmla="*/ 1271587 h 1916906"/>
                    <a:gd name="connsiteX22" fmla="*/ 1364456 w 1993106"/>
                    <a:gd name="connsiteY22" fmla="*/ 1228724 h 1916906"/>
                    <a:gd name="connsiteX23" fmla="*/ 1521618 w 1993106"/>
                    <a:gd name="connsiteY23" fmla="*/ 1219200 h 1916906"/>
                    <a:gd name="connsiteX24" fmla="*/ 1597819 w 1993106"/>
                    <a:gd name="connsiteY24" fmla="*/ 1233487 h 1916906"/>
                    <a:gd name="connsiteX25" fmla="*/ 1666875 w 1993106"/>
                    <a:gd name="connsiteY25" fmla="*/ 1202531 h 1916906"/>
                    <a:gd name="connsiteX26" fmla="*/ 1683544 w 1993106"/>
                    <a:gd name="connsiteY26" fmla="*/ 1152525 h 1916906"/>
                    <a:gd name="connsiteX27" fmla="*/ 1764506 w 1993106"/>
                    <a:gd name="connsiteY27" fmla="*/ 1126331 h 1916906"/>
                    <a:gd name="connsiteX28" fmla="*/ 1793082 w 1993106"/>
                    <a:gd name="connsiteY28" fmla="*/ 1052513 h 1916906"/>
                    <a:gd name="connsiteX29" fmla="*/ 1743075 w 1993106"/>
                    <a:gd name="connsiteY29" fmla="*/ 976312 h 1916906"/>
                    <a:gd name="connsiteX30" fmla="*/ 1797844 w 1993106"/>
                    <a:gd name="connsiteY30" fmla="*/ 912019 h 1916906"/>
                    <a:gd name="connsiteX31" fmla="*/ 1859756 w 1993106"/>
                    <a:gd name="connsiteY31" fmla="*/ 885826 h 1916906"/>
                    <a:gd name="connsiteX32" fmla="*/ 1895475 w 1993106"/>
                    <a:gd name="connsiteY32" fmla="*/ 781050 h 1916906"/>
                    <a:gd name="connsiteX33" fmla="*/ 1938337 w 1993106"/>
                    <a:gd name="connsiteY33" fmla="*/ 778669 h 1916906"/>
                    <a:gd name="connsiteX34" fmla="*/ 1993106 w 1993106"/>
                    <a:gd name="connsiteY34" fmla="*/ 728662 h 1916906"/>
                    <a:gd name="connsiteX35" fmla="*/ 1947862 w 1993106"/>
                    <a:gd name="connsiteY35" fmla="*/ 702469 h 1916906"/>
                    <a:gd name="connsiteX36" fmla="*/ 1897857 w 1993106"/>
                    <a:gd name="connsiteY36" fmla="*/ 711993 h 1916906"/>
                    <a:gd name="connsiteX37" fmla="*/ 1897857 w 1993106"/>
                    <a:gd name="connsiteY37" fmla="*/ 664369 h 1916906"/>
                    <a:gd name="connsiteX38" fmla="*/ 1776413 w 1993106"/>
                    <a:gd name="connsiteY38" fmla="*/ 654844 h 1916906"/>
                    <a:gd name="connsiteX39" fmla="*/ 1585913 w 1993106"/>
                    <a:gd name="connsiteY39" fmla="*/ 597694 h 1916906"/>
                    <a:gd name="connsiteX40" fmla="*/ 1226344 w 1993106"/>
                    <a:gd name="connsiteY40" fmla="*/ 600075 h 1916906"/>
                    <a:gd name="connsiteX41" fmla="*/ 1307306 w 1993106"/>
                    <a:gd name="connsiteY41" fmla="*/ 411956 h 1916906"/>
                    <a:gd name="connsiteX42" fmla="*/ 1212056 w 1993106"/>
                    <a:gd name="connsiteY42" fmla="*/ 361950 h 1916906"/>
                    <a:gd name="connsiteX43" fmla="*/ 1195388 w 1993106"/>
                    <a:gd name="connsiteY43" fmla="*/ 273844 h 1916906"/>
                    <a:gd name="connsiteX44" fmla="*/ 1147763 w 1993106"/>
                    <a:gd name="connsiteY44" fmla="*/ 273844 h 1916906"/>
                    <a:gd name="connsiteX45" fmla="*/ 1097756 w 1993106"/>
                    <a:gd name="connsiteY45" fmla="*/ 190499 h 1916906"/>
                    <a:gd name="connsiteX46" fmla="*/ 1050131 w 1993106"/>
                    <a:gd name="connsiteY46" fmla="*/ 176213 h 1916906"/>
                    <a:gd name="connsiteX47" fmla="*/ 1047750 w 1993106"/>
                    <a:gd name="connsiteY47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362075 w 1993106"/>
                    <a:gd name="connsiteY14" fmla="*/ 1738312 h 1916906"/>
                    <a:gd name="connsiteX15" fmla="*/ 1390650 w 1993106"/>
                    <a:gd name="connsiteY15" fmla="*/ 1652588 h 1916906"/>
                    <a:gd name="connsiteX16" fmla="*/ 1338263 w 1993106"/>
                    <a:gd name="connsiteY16" fmla="*/ 1602581 h 1916906"/>
                    <a:gd name="connsiteX17" fmla="*/ 1228725 w 1993106"/>
                    <a:gd name="connsiteY17" fmla="*/ 1462087 h 1916906"/>
                    <a:gd name="connsiteX18" fmla="*/ 1254919 w 1993106"/>
                    <a:gd name="connsiteY18" fmla="*/ 1426369 h 1916906"/>
                    <a:gd name="connsiteX19" fmla="*/ 1188245 w 1993106"/>
                    <a:gd name="connsiteY19" fmla="*/ 1350169 h 1916906"/>
                    <a:gd name="connsiteX20" fmla="*/ 1231106 w 1993106"/>
                    <a:gd name="connsiteY20" fmla="*/ 1278731 h 1916906"/>
                    <a:gd name="connsiteX21" fmla="*/ 1281113 w 1993106"/>
                    <a:gd name="connsiteY21" fmla="*/ 1245394 h 1916906"/>
                    <a:gd name="connsiteX22" fmla="*/ 1335881 w 1993106"/>
                    <a:gd name="connsiteY22" fmla="*/ 1271587 h 1916906"/>
                    <a:gd name="connsiteX23" fmla="*/ 1364456 w 1993106"/>
                    <a:gd name="connsiteY23" fmla="*/ 1228724 h 1916906"/>
                    <a:gd name="connsiteX24" fmla="*/ 1521618 w 1993106"/>
                    <a:gd name="connsiteY24" fmla="*/ 1219200 h 1916906"/>
                    <a:gd name="connsiteX25" fmla="*/ 1597819 w 1993106"/>
                    <a:gd name="connsiteY25" fmla="*/ 1233487 h 1916906"/>
                    <a:gd name="connsiteX26" fmla="*/ 1666875 w 1993106"/>
                    <a:gd name="connsiteY26" fmla="*/ 1202531 h 1916906"/>
                    <a:gd name="connsiteX27" fmla="*/ 1683544 w 1993106"/>
                    <a:gd name="connsiteY27" fmla="*/ 1152525 h 1916906"/>
                    <a:gd name="connsiteX28" fmla="*/ 1764506 w 1993106"/>
                    <a:gd name="connsiteY28" fmla="*/ 1126331 h 1916906"/>
                    <a:gd name="connsiteX29" fmla="*/ 1793082 w 1993106"/>
                    <a:gd name="connsiteY29" fmla="*/ 1052513 h 1916906"/>
                    <a:gd name="connsiteX30" fmla="*/ 1743075 w 1993106"/>
                    <a:gd name="connsiteY30" fmla="*/ 976312 h 1916906"/>
                    <a:gd name="connsiteX31" fmla="*/ 1797844 w 1993106"/>
                    <a:gd name="connsiteY31" fmla="*/ 912019 h 1916906"/>
                    <a:gd name="connsiteX32" fmla="*/ 1859756 w 1993106"/>
                    <a:gd name="connsiteY32" fmla="*/ 885826 h 1916906"/>
                    <a:gd name="connsiteX33" fmla="*/ 1895475 w 1993106"/>
                    <a:gd name="connsiteY33" fmla="*/ 781050 h 1916906"/>
                    <a:gd name="connsiteX34" fmla="*/ 1938337 w 1993106"/>
                    <a:gd name="connsiteY34" fmla="*/ 778669 h 1916906"/>
                    <a:gd name="connsiteX35" fmla="*/ 1993106 w 1993106"/>
                    <a:gd name="connsiteY35" fmla="*/ 728662 h 1916906"/>
                    <a:gd name="connsiteX36" fmla="*/ 1947862 w 1993106"/>
                    <a:gd name="connsiteY36" fmla="*/ 702469 h 1916906"/>
                    <a:gd name="connsiteX37" fmla="*/ 1897857 w 1993106"/>
                    <a:gd name="connsiteY37" fmla="*/ 711993 h 1916906"/>
                    <a:gd name="connsiteX38" fmla="*/ 1897857 w 1993106"/>
                    <a:gd name="connsiteY38" fmla="*/ 664369 h 1916906"/>
                    <a:gd name="connsiteX39" fmla="*/ 1776413 w 1993106"/>
                    <a:gd name="connsiteY39" fmla="*/ 654844 h 1916906"/>
                    <a:gd name="connsiteX40" fmla="*/ 1585913 w 1993106"/>
                    <a:gd name="connsiteY40" fmla="*/ 597694 h 1916906"/>
                    <a:gd name="connsiteX41" fmla="*/ 1226344 w 1993106"/>
                    <a:gd name="connsiteY41" fmla="*/ 600075 h 1916906"/>
                    <a:gd name="connsiteX42" fmla="*/ 1307306 w 1993106"/>
                    <a:gd name="connsiteY42" fmla="*/ 411956 h 1916906"/>
                    <a:gd name="connsiteX43" fmla="*/ 1212056 w 1993106"/>
                    <a:gd name="connsiteY43" fmla="*/ 361950 h 1916906"/>
                    <a:gd name="connsiteX44" fmla="*/ 1195388 w 1993106"/>
                    <a:gd name="connsiteY44" fmla="*/ 273844 h 1916906"/>
                    <a:gd name="connsiteX45" fmla="*/ 1147763 w 1993106"/>
                    <a:gd name="connsiteY45" fmla="*/ 273844 h 1916906"/>
                    <a:gd name="connsiteX46" fmla="*/ 1097756 w 1993106"/>
                    <a:gd name="connsiteY46" fmla="*/ 190499 h 1916906"/>
                    <a:gd name="connsiteX47" fmla="*/ 1050131 w 1993106"/>
                    <a:gd name="connsiteY47" fmla="*/ 176213 h 1916906"/>
                    <a:gd name="connsiteX48" fmla="*/ 1047750 w 1993106"/>
                    <a:gd name="connsiteY48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412081 w 1993106"/>
                    <a:gd name="connsiteY14" fmla="*/ 1716881 h 1916906"/>
                    <a:gd name="connsiteX15" fmla="*/ 1390650 w 1993106"/>
                    <a:gd name="connsiteY15" fmla="*/ 1652588 h 1916906"/>
                    <a:gd name="connsiteX16" fmla="*/ 1338263 w 1993106"/>
                    <a:gd name="connsiteY16" fmla="*/ 1602581 h 1916906"/>
                    <a:gd name="connsiteX17" fmla="*/ 1228725 w 1993106"/>
                    <a:gd name="connsiteY17" fmla="*/ 1462087 h 1916906"/>
                    <a:gd name="connsiteX18" fmla="*/ 1254919 w 1993106"/>
                    <a:gd name="connsiteY18" fmla="*/ 1426369 h 1916906"/>
                    <a:gd name="connsiteX19" fmla="*/ 1188245 w 1993106"/>
                    <a:gd name="connsiteY19" fmla="*/ 1350169 h 1916906"/>
                    <a:gd name="connsiteX20" fmla="*/ 1231106 w 1993106"/>
                    <a:gd name="connsiteY20" fmla="*/ 1278731 h 1916906"/>
                    <a:gd name="connsiteX21" fmla="*/ 1281113 w 1993106"/>
                    <a:gd name="connsiteY21" fmla="*/ 1245394 h 1916906"/>
                    <a:gd name="connsiteX22" fmla="*/ 1335881 w 1993106"/>
                    <a:gd name="connsiteY22" fmla="*/ 1271587 h 1916906"/>
                    <a:gd name="connsiteX23" fmla="*/ 1364456 w 1993106"/>
                    <a:gd name="connsiteY23" fmla="*/ 1228724 h 1916906"/>
                    <a:gd name="connsiteX24" fmla="*/ 1521618 w 1993106"/>
                    <a:gd name="connsiteY24" fmla="*/ 1219200 h 1916906"/>
                    <a:gd name="connsiteX25" fmla="*/ 1597819 w 1993106"/>
                    <a:gd name="connsiteY25" fmla="*/ 1233487 h 1916906"/>
                    <a:gd name="connsiteX26" fmla="*/ 1666875 w 1993106"/>
                    <a:gd name="connsiteY26" fmla="*/ 1202531 h 1916906"/>
                    <a:gd name="connsiteX27" fmla="*/ 1683544 w 1993106"/>
                    <a:gd name="connsiteY27" fmla="*/ 1152525 h 1916906"/>
                    <a:gd name="connsiteX28" fmla="*/ 1764506 w 1993106"/>
                    <a:gd name="connsiteY28" fmla="*/ 1126331 h 1916906"/>
                    <a:gd name="connsiteX29" fmla="*/ 1793082 w 1993106"/>
                    <a:gd name="connsiteY29" fmla="*/ 1052513 h 1916906"/>
                    <a:gd name="connsiteX30" fmla="*/ 1743075 w 1993106"/>
                    <a:gd name="connsiteY30" fmla="*/ 976312 h 1916906"/>
                    <a:gd name="connsiteX31" fmla="*/ 1797844 w 1993106"/>
                    <a:gd name="connsiteY31" fmla="*/ 912019 h 1916906"/>
                    <a:gd name="connsiteX32" fmla="*/ 1859756 w 1993106"/>
                    <a:gd name="connsiteY32" fmla="*/ 885826 h 1916906"/>
                    <a:gd name="connsiteX33" fmla="*/ 1895475 w 1993106"/>
                    <a:gd name="connsiteY33" fmla="*/ 781050 h 1916906"/>
                    <a:gd name="connsiteX34" fmla="*/ 1938337 w 1993106"/>
                    <a:gd name="connsiteY34" fmla="*/ 778669 h 1916906"/>
                    <a:gd name="connsiteX35" fmla="*/ 1993106 w 1993106"/>
                    <a:gd name="connsiteY35" fmla="*/ 728662 h 1916906"/>
                    <a:gd name="connsiteX36" fmla="*/ 1947862 w 1993106"/>
                    <a:gd name="connsiteY36" fmla="*/ 702469 h 1916906"/>
                    <a:gd name="connsiteX37" fmla="*/ 1897857 w 1993106"/>
                    <a:gd name="connsiteY37" fmla="*/ 711993 h 1916906"/>
                    <a:gd name="connsiteX38" fmla="*/ 1897857 w 1993106"/>
                    <a:gd name="connsiteY38" fmla="*/ 664369 h 1916906"/>
                    <a:gd name="connsiteX39" fmla="*/ 1776413 w 1993106"/>
                    <a:gd name="connsiteY39" fmla="*/ 654844 h 1916906"/>
                    <a:gd name="connsiteX40" fmla="*/ 1585913 w 1993106"/>
                    <a:gd name="connsiteY40" fmla="*/ 597694 h 1916906"/>
                    <a:gd name="connsiteX41" fmla="*/ 1226344 w 1993106"/>
                    <a:gd name="connsiteY41" fmla="*/ 600075 h 1916906"/>
                    <a:gd name="connsiteX42" fmla="*/ 1307306 w 1993106"/>
                    <a:gd name="connsiteY42" fmla="*/ 411956 h 1916906"/>
                    <a:gd name="connsiteX43" fmla="*/ 1212056 w 1993106"/>
                    <a:gd name="connsiteY43" fmla="*/ 361950 h 1916906"/>
                    <a:gd name="connsiteX44" fmla="*/ 1195388 w 1993106"/>
                    <a:gd name="connsiteY44" fmla="*/ 273844 h 1916906"/>
                    <a:gd name="connsiteX45" fmla="*/ 1147763 w 1993106"/>
                    <a:gd name="connsiteY45" fmla="*/ 273844 h 1916906"/>
                    <a:gd name="connsiteX46" fmla="*/ 1097756 w 1993106"/>
                    <a:gd name="connsiteY46" fmla="*/ 190499 h 1916906"/>
                    <a:gd name="connsiteX47" fmla="*/ 1050131 w 1993106"/>
                    <a:gd name="connsiteY47" fmla="*/ 176213 h 1916906"/>
                    <a:gd name="connsiteX48" fmla="*/ 1047750 w 1993106"/>
                    <a:gd name="connsiteY48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412081 w 1993106"/>
                    <a:gd name="connsiteY14" fmla="*/ 1716881 h 1916906"/>
                    <a:gd name="connsiteX15" fmla="*/ 1400175 w 1993106"/>
                    <a:gd name="connsiteY15" fmla="*/ 1676400 h 1916906"/>
                    <a:gd name="connsiteX16" fmla="*/ 1390650 w 1993106"/>
                    <a:gd name="connsiteY16" fmla="*/ 1652588 h 1916906"/>
                    <a:gd name="connsiteX17" fmla="*/ 1338263 w 1993106"/>
                    <a:gd name="connsiteY17" fmla="*/ 1602581 h 1916906"/>
                    <a:gd name="connsiteX18" fmla="*/ 1228725 w 1993106"/>
                    <a:gd name="connsiteY18" fmla="*/ 1462087 h 1916906"/>
                    <a:gd name="connsiteX19" fmla="*/ 1254919 w 1993106"/>
                    <a:gd name="connsiteY19" fmla="*/ 1426369 h 1916906"/>
                    <a:gd name="connsiteX20" fmla="*/ 1188245 w 1993106"/>
                    <a:gd name="connsiteY20" fmla="*/ 1350169 h 1916906"/>
                    <a:gd name="connsiteX21" fmla="*/ 1231106 w 1993106"/>
                    <a:gd name="connsiteY21" fmla="*/ 1278731 h 1916906"/>
                    <a:gd name="connsiteX22" fmla="*/ 1281113 w 1993106"/>
                    <a:gd name="connsiteY22" fmla="*/ 1245394 h 1916906"/>
                    <a:gd name="connsiteX23" fmla="*/ 1335881 w 1993106"/>
                    <a:gd name="connsiteY23" fmla="*/ 1271587 h 1916906"/>
                    <a:gd name="connsiteX24" fmla="*/ 1364456 w 1993106"/>
                    <a:gd name="connsiteY24" fmla="*/ 1228724 h 1916906"/>
                    <a:gd name="connsiteX25" fmla="*/ 1521618 w 1993106"/>
                    <a:gd name="connsiteY25" fmla="*/ 1219200 h 1916906"/>
                    <a:gd name="connsiteX26" fmla="*/ 1597819 w 1993106"/>
                    <a:gd name="connsiteY26" fmla="*/ 1233487 h 1916906"/>
                    <a:gd name="connsiteX27" fmla="*/ 1666875 w 1993106"/>
                    <a:gd name="connsiteY27" fmla="*/ 1202531 h 1916906"/>
                    <a:gd name="connsiteX28" fmla="*/ 1683544 w 1993106"/>
                    <a:gd name="connsiteY28" fmla="*/ 1152525 h 1916906"/>
                    <a:gd name="connsiteX29" fmla="*/ 1764506 w 1993106"/>
                    <a:gd name="connsiteY29" fmla="*/ 1126331 h 1916906"/>
                    <a:gd name="connsiteX30" fmla="*/ 1793082 w 1993106"/>
                    <a:gd name="connsiteY30" fmla="*/ 1052513 h 1916906"/>
                    <a:gd name="connsiteX31" fmla="*/ 1743075 w 1993106"/>
                    <a:gd name="connsiteY31" fmla="*/ 976312 h 1916906"/>
                    <a:gd name="connsiteX32" fmla="*/ 1797844 w 1993106"/>
                    <a:gd name="connsiteY32" fmla="*/ 912019 h 1916906"/>
                    <a:gd name="connsiteX33" fmla="*/ 1859756 w 1993106"/>
                    <a:gd name="connsiteY33" fmla="*/ 885826 h 1916906"/>
                    <a:gd name="connsiteX34" fmla="*/ 1895475 w 1993106"/>
                    <a:gd name="connsiteY34" fmla="*/ 781050 h 1916906"/>
                    <a:gd name="connsiteX35" fmla="*/ 1938337 w 1993106"/>
                    <a:gd name="connsiteY35" fmla="*/ 778669 h 1916906"/>
                    <a:gd name="connsiteX36" fmla="*/ 1993106 w 1993106"/>
                    <a:gd name="connsiteY36" fmla="*/ 728662 h 1916906"/>
                    <a:gd name="connsiteX37" fmla="*/ 1947862 w 1993106"/>
                    <a:gd name="connsiteY37" fmla="*/ 702469 h 1916906"/>
                    <a:gd name="connsiteX38" fmla="*/ 1897857 w 1993106"/>
                    <a:gd name="connsiteY38" fmla="*/ 711993 h 1916906"/>
                    <a:gd name="connsiteX39" fmla="*/ 1897857 w 1993106"/>
                    <a:gd name="connsiteY39" fmla="*/ 664369 h 1916906"/>
                    <a:gd name="connsiteX40" fmla="*/ 1776413 w 1993106"/>
                    <a:gd name="connsiteY40" fmla="*/ 654844 h 1916906"/>
                    <a:gd name="connsiteX41" fmla="*/ 1585913 w 1993106"/>
                    <a:gd name="connsiteY41" fmla="*/ 597694 h 1916906"/>
                    <a:gd name="connsiteX42" fmla="*/ 1226344 w 1993106"/>
                    <a:gd name="connsiteY42" fmla="*/ 600075 h 1916906"/>
                    <a:gd name="connsiteX43" fmla="*/ 1307306 w 1993106"/>
                    <a:gd name="connsiteY43" fmla="*/ 411956 h 1916906"/>
                    <a:gd name="connsiteX44" fmla="*/ 1212056 w 1993106"/>
                    <a:gd name="connsiteY44" fmla="*/ 361950 h 1916906"/>
                    <a:gd name="connsiteX45" fmla="*/ 1195388 w 1993106"/>
                    <a:gd name="connsiteY45" fmla="*/ 273844 h 1916906"/>
                    <a:gd name="connsiteX46" fmla="*/ 1147763 w 1993106"/>
                    <a:gd name="connsiteY46" fmla="*/ 273844 h 1916906"/>
                    <a:gd name="connsiteX47" fmla="*/ 1097756 w 1993106"/>
                    <a:gd name="connsiteY47" fmla="*/ 190499 h 1916906"/>
                    <a:gd name="connsiteX48" fmla="*/ 1050131 w 1993106"/>
                    <a:gd name="connsiteY48" fmla="*/ 176213 h 1916906"/>
                    <a:gd name="connsiteX49" fmla="*/ 1047750 w 1993106"/>
                    <a:gd name="connsiteY49" fmla="*/ 88106 h 1916906"/>
                    <a:gd name="connsiteX0" fmla="*/ 1047750 w 1993106"/>
                    <a:gd name="connsiteY0" fmla="*/ 88106 h 1916906"/>
                    <a:gd name="connsiteX1" fmla="*/ 997744 w 1993106"/>
                    <a:gd name="connsiteY1" fmla="*/ 52387 h 1916906"/>
                    <a:gd name="connsiteX2" fmla="*/ 826294 w 1993106"/>
                    <a:gd name="connsiteY2" fmla="*/ 59531 h 1916906"/>
                    <a:gd name="connsiteX3" fmla="*/ 735806 w 1993106"/>
                    <a:gd name="connsiteY3" fmla="*/ 0 h 1916906"/>
                    <a:gd name="connsiteX4" fmla="*/ 623888 w 1993106"/>
                    <a:gd name="connsiteY4" fmla="*/ 50006 h 1916906"/>
                    <a:gd name="connsiteX5" fmla="*/ 569119 w 1993106"/>
                    <a:gd name="connsiteY5" fmla="*/ 45244 h 1916906"/>
                    <a:gd name="connsiteX6" fmla="*/ 497681 w 1993106"/>
                    <a:gd name="connsiteY6" fmla="*/ 145256 h 1916906"/>
                    <a:gd name="connsiteX7" fmla="*/ 422275 w 1993106"/>
                    <a:gd name="connsiteY7" fmla="*/ 148431 h 1916906"/>
                    <a:gd name="connsiteX8" fmla="*/ 333375 w 1993106"/>
                    <a:gd name="connsiteY8" fmla="*/ 75406 h 1916906"/>
                    <a:gd name="connsiteX9" fmla="*/ 0 w 1993106"/>
                    <a:gd name="connsiteY9" fmla="*/ 364331 h 1916906"/>
                    <a:gd name="connsiteX10" fmla="*/ 47625 w 1993106"/>
                    <a:gd name="connsiteY10" fmla="*/ 1231106 h 1916906"/>
                    <a:gd name="connsiteX11" fmla="*/ 114300 w 1993106"/>
                    <a:gd name="connsiteY11" fmla="*/ 1469231 h 1916906"/>
                    <a:gd name="connsiteX12" fmla="*/ 1343025 w 1993106"/>
                    <a:gd name="connsiteY12" fmla="*/ 1916906 h 1916906"/>
                    <a:gd name="connsiteX13" fmla="*/ 1350169 w 1993106"/>
                    <a:gd name="connsiteY13" fmla="*/ 1788318 h 1916906"/>
                    <a:gd name="connsiteX14" fmla="*/ 1412081 w 1993106"/>
                    <a:gd name="connsiteY14" fmla="*/ 1716881 h 1916906"/>
                    <a:gd name="connsiteX15" fmla="*/ 1352550 w 1993106"/>
                    <a:gd name="connsiteY15" fmla="*/ 1671637 h 1916906"/>
                    <a:gd name="connsiteX16" fmla="*/ 1390650 w 1993106"/>
                    <a:gd name="connsiteY16" fmla="*/ 1652588 h 1916906"/>
                    <a:gd name="connsiteX17" fmla="*/ 1338263 w 1993106"/>
                    <a:gd name="connsiteY17" fmla="*/ 1602581 h 1916906"/>
                    <a:gd name="connsiteX18" fmla="*/ 1228725 w 1993106"/>
                    <a:gd name="connsiteY18" fmla="*/ 1462087 h 1916906"/>
                    <a:gd name="connsiteX19" fmla="*/ 1254919 w 1993106"/>
                    <a:gd name="connsiteY19" fmla="*/ 1426369 h 1916906"/>
                    <a:gd name="connsiteX20" fmla="*/ 1188245 w 1993106"/>
                    <a:gd name="connsiteY20" fmla="*/ 1350169 h 1916906"/>
                    <a:gd name="connsiteX21" fmla="*/ 1231106 w 1993106"/>
                    <a:gd name="connsiteY21" fmla="*/ 1278731 h 1916906"/>
                    <a:gd name="connsiteX22" fmla="*/ 1281113 w 1993106"/>
                    <a:gd name="connsiteY22" fmla="*/ 1245394 h 1916906"/>
                    <a:gd name="connsiteX23" fmla="*/ 1335881 w 1993106"/>
                    <a:gd name="connsiteY23" fmla="*/ 1271587 h 1916906"/>
                    <a:gd name="connsiteX24" fmla="*/ 1364456 w 1993106"/>
                    <a:gd name="connsiteY24" fmla="*/ 1228724 h 1916906"/>
                    <a:gd name="connsiteX25" fmla="*/ 1521618 w 1993106"/>
                    <a:gd name="connsiteY25" fmla="*/ 1219200 h 1916906"/>
                    <a:gd name="connsiteX26" fmla="*/ 1597819 w 1993106"/>
                    <a:gd name="connsiteY26" fmla="*/ 1233487 h 1916906"/>
                    <a:gd name="connsiteX27" fmla="*/ 1666875 w 1993106"/>
                    <a:gd name="connsiteY27" fmla="*/ 1202531 h 1916906"/>
                    <a:gd name="connsiteX28" fmla="*/ 1683544 w 1993106"/>
                    <a:gd name="connsiteY28" fmla="*/ 1152525 h 1916906"/>
                    <a:gd name="connsiteX29" fmla="*/ 1764506 w 1993106"/>
                    <a:gd name="connsiteY29" fmla="*/ 1126331 h 1916906"/>
                    <a:gd name="connsiteX30" fmla="*/ 1793082 w 1993106"/>
                    <a:gd name="connsiteY30" fmla="*/ 1052513 h 1916906"/>
                    <a:gd name="connsiteX31" fmla="*/ 1743075 w 1993106"/>
                    <a:gd name="connsiteY31" fmla="*/ 976312 h 1916906"/>
                    <a:gd name="connsiteX32" fmla="*/ 1797844 w 1993106"/>
                    <a:gd name="connsiteY32" fmla="*/ 912019 h 1916906"/>
                    <a:gd name="connsiteX33" fmla="*/ 1859756 w 1993106"/>
                    <a:gd name="connsiteY33" fmla="*/ 885826 h 1916906"/>
                    <a:gd name="connsiteX34" fmla="*/ 1895475 w 1993106"/>
                    <a:gd name="connsiteY34" fmla="*/ 781050 h 1916906"/>
                    <a:gd name="connsiteX35" fmla="*/ 1938337 w 1993106"/>
                    <a:gd name="connsiteY35" fmla="*/ 778669 h 1916906"/>
                    <a:gd name="connsiteX36" fmla="*/ 1993106 w 1993106"/>
                    <a:gd name="connsiteY36" fmla="*/ 728662 h 1916906"/>
                    <a:gd name="connsiteX37" fmla="*/ 1947862 w 1993106"/>
                    <a:gd name="connsiteY37" fmla="*/ 702469 h 1916906"/>
                    <a:gd name="connsiteX38" fmla="*/ 1897857 w 1993106"/>
                    <a:gd name="connsiteY38" fmla="*/ 711993 h 1916906"/>
                    <a:gd name="connsiteX39" fmla="*/ 1897857 w 1993106"/>
                    <a:gd name="connsiteY39" fmla="*/ 664369 h 1916906"/>
                    <a:gd name="connsiteX40" fmla="*/ 1776413 w 1993106"/>
                    <a:gd name="connsiteY40" fmla="*/ 654844 h 1916906"/>
                    <a:gd name="connsiteX41" fmla="*/ 1585913 w 1993106"/>
                    <a:gd name="connsiteY41" fmla="*/ 597694 h 1916906"/>
                    <a:gd name="connsiteX42" fmla="*/ 1226344 w 1993106"/>
                    <a:gd name="connsiteY42" fmla="*/ 600075 h 1916906"/>
                    <a:gd name="connsiteX43" fmla="*/ 1307306 w 1993106"/>
                    <a:gd name="connsiteY43" fmla="*/ 411956 h 1916906"/>
                    <a:gd name="connsiteX44" fmla="*/ 1212056 w 1993106"/>
                    <a:gd name="connsiteY44" fmla="*/ 361950 h 1916906"/>
                    <a:gd name="connsiteX45" fmla="*/ 1195388 w 1993106"/>
                    <a:gd name="connsiteY45" fmla="*/ 273844 h 1916906"/>
                    <a:gd name="connsiteX46" fmla="*/ 1147763 w 1993106"/>
                    <a:gd name="connsiteY46" fmla="*/ 273844 h 1916906"/>
                    <a:gd name="connsiteX47" fmla="*/ 1097756 w 1993106"/>
                    <a:gd name="connsiteY47" fmla="*/ 190499 h 1916906"/>
                    <a:gd name="connsiteX48" fmla="*/ 1050131 w 1993106"/>
                    <a:gd name="connsiteY48" fmla="*/ 176213 h 1916906"/>
                    <a:gd name="connsiteX49" fmla="*/ 1047750 w 1993106"/>
                    <a:gd name="connsiteY49" fmla="*/ 88106 h 1916906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14300 w 1993106"/>
                    <a:gd name="connsiteY11" fmla="*/ 1469231 h 1788318"/>
                    <a:gd name="connsiteX12" fmla="*/ 1173956 w 1993106"/>
                    <a:gd name="connsiteY12" fmla="*/ 1697831 h 1788318"/>
                    <a:gd name="connsiteX13" fmla="*/ 1350169 w 1993106"/>
                    <a:gd name="connsiteY13" fmla="*/ 1788318 h 1788318"/>
                    <a:gd name="connsiteX14" fmla="*/ 1412081 w 1993106"/>
                    <a:gd name="connsiteY14" fmla="*/ 1716881 h 1788318"/>
                    <a:gd name="connsiteX15" fmla="*/ 1352550 w 1993106"/>
                    <a:gd name="connsiteY15" fmla="*/ 1671637 h 1788318"/>
                    <a:gd name="connsiteX16" fmla="*/ 1390650 w 1993106"/>
                    <a:gd name="connsiteY16" fmla="*/ 1652588 h 1788318"/>
                    <a:gd name="connsiteX17" fmla="*/ 1338263 w 1993106"/>
                    <a:gd name="connsiteY17" fmla="*/ 1602581 h 1788318"/>
                    <a:gd name="connsiteX18" fmla="*/ 1228725 w 1993106"/>
                    <a:gd name="connsiteY18" fmla="*/ 1462087 h 1788318"/>
                    <a:gd name="connsiteX19" fmla="*/ 1254919 w 1993106"/>
                    <a:gd name="connsiteY19" fmla="*/ 1426369 h 1788318"/>
                    <a:gd name="connsiteX20" fmla="*/ 1188245 w 1993106"/>
                    <a:gd name="connsiteY20" fmla="*/ 1350169 h 1788318"/>
                    <a:gd name="connsiteX21" fmla="*/ 1231106 w 1993106"/>
                    <a:gd name="connsiteY21" fmla="*/ 1278731 h 1788318"/>
                    <a:gd name="connsiteX22" fmla="*/ 1281113 w 1993106"/>
                    <a:gd name="connsiteY22" fmla="*/ 1245394 h 1788318"/>
                    <a:gd name="connsiteX23" fmla="*/ 1335881 w 1993106"/>
                    <a:gd name="connsiteY23" fmla="*/ 1271587 h 1788318"/>
                    <a:gd name="connsiteX24" fmla="*/ 1364456 w 1993106"/>
                    <a:gd name="connsiteY24" fmla="*/ 1228724 h 1788318"/>
                    <a:gd name="connsiteX25" fmla="*/ 1521618 w 1993106"/>
                    <a:gd name="connsiteY25" fmla="*/ 1219200 h 1788318"/>
                    <a:gd name="connsiteX26" fmla="*/ 1597819 w 1993106"/>
                    <a:gd name="connsiteY26" fmla="*/ 1233487 h 1788318"/>
                    <a:gd name="connsiteX27" fmla="*/ 1666875 w 1993106"/>
                    <a:gd name="connsiteY27" fmla="*/ 1202531 h 1788318"/>
                    <a:gd name="connsiteX28" fmla="*/ 1683544 w 1993106"/>
                    <a:gd name="connsiteY28" fmla="*/ 1152525 h 1788318"/>
                    <a:gd name="connsiteX29" fmla="*/ 1764506 w 1993106"/>
                    <a:gd name="connsiteY29" fmla="*/ 1126331 h 1788318"/>
                    <a:gd name="connsiteX30" fmla="*/ 1793082 w 1993106"/>
                    <a:gd name="connsiteY30" fmla="*/ 1052513 h 1788318"/>
                    <a:gd name="connsiteX31" fmla="*/ 1743075 w 1993106"/>
                    <a:gd name="connsiteY31" fmla="*/ 976312 h 1788318"/>
                    <a:gd name="connsiteX32" fmla="*/ 1797844 w 1993106"/>
                    <a:gd name="connsiteY32" fmla="*/ 912019 h 1788318"/>
                    <a:gd name="connsiteX33" fmla="*/ 1859756 w 1993106"/>
                    <a:gd name="connsiteY33" fmla="*/ 885826 h 1788318"/>
                    <a:gd name="connsiteX34" fmla="*/ 1895475 w 1993106"/>
                    <a:gd name="connsiteY34" fmla="*/ 781050 h 1788318"/>
                    <a:gd name="connsiteX35" fmla="*/ 1938337 w 1993106"/>
                    <a:gd name="connsiteY35" fmla="*/ 778669 h 1788318"/>
                    <a:gd name="connsiteX36" fmla="*/ 1993106 w 1993106"/>
                    <a:gd name="connsiteY36" fmla="*/ 728662 h 1788318"/>
                    <a:gd name="connsiteX37" fmla="*/ 1947862 w 1993106"/>
                    <a:gd name="connsiteY37" fmla="*/ 702469 h 1788318"/>
                    <a:gd name="connsiteX38" fmla="*/ 1897857 w 1993106"/>
                    <a:gd name="connsiteY38" fmla="*/ 711993 h 1788318"/>
                    <a:gd name="connsiteX39" fmla="*/ 1897857 w 1993106"/>
                    <a:gd name="connsiteY39" fmla="*/ 664369 h 1788318"/>
                    <a:gd name="connsiteX40" fmla="*/ 1776413 w 1993106"/>
                    <a:gd name="connsiteY40" fmla="*/ 654844 h 1788318"/>
                    <a:gd name="connsiteX41" fmla="*/ 1585913 w 1993106"/>
                    <a:gd name="connsiteY41" fmla="*/ 597694 h 1788318"/>
                    <a:gd name="connsiteX42" fmla="*/ 1226344 w 1993106"/>
                    <a:gd name="connsiteY42" fmla="*/ 600075 h 1788318"/>
                    <a:gd name="connsiteX43" fmla="*/ 1307306 w 1993106"/>
                    <a:gd name="connsiteY43" fmla="*/ 411956 h 1788318"/>
                    <a:gd name="connsiteX44" fmla="*/ 1212056 w 1993106"/>
                    <a:gd name="connsiteY44" fmla="*/ 361950 h 1788318"/>
                    <a:gd name="connsiteX45" fmla="*/ 1195388 w 1993106"/>
                    <a:gd name="connsiteY45" fmla="*/ 273844 h 1788318"/>
                    <a:gd name="connsiteX46" fmla="*/ 1147763 w 1993106"/>
                    <a:gd name="connsiteY46" fmla="*/ 273844 h 1788318"/>
                    <a:gd name="connsiteX47" fmla="*/ 1097756 w 1993106"/>
                    <a:gd name="connsiteY47" fmla="*/ 190499 h 1788318"/>
                    <a:gd name="connsiteX48" fmla="*/ 1050131 w 1993106"/>
                    <a:gd name="connsiteY48" fmla="*/ 176213 h 1788318"/>
                    <a:gd name="connsiteX49" fmla="*/ 1047750 w 1993106"/>
                    <a:gd name="connsiteY49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14300 w 1993106"/>
                    <a:gd name="connsiteY11" fmla="*/ 1469231 h 1788318"/>
                    <a:gd name="connsiteX12" fmla="*/ 1173956 w 1993106"/>
                    <a:gd name="connsiteY12" fmla="*/ 1697831 h 1788318"/>
                    <a:gd name="connsiteX13" fmla="*/ 1271588 w 1993106"/>
                    <a:gd name="connsiteY13" fmla="*/ 1752600 h 1788318"/>
                    <a:gd name="connsiteX14" fmla="*/ 1350169 w 1993106"/>
                    <a:gd name="connsiteY14" fmla="*/ 1788318 h 1788318"/>
                    <a:gd name="connsiteX15" fmla="*/ 1412081 w 1993106"/>
                    <a:gd name="connsiteY15" fmla="*/ 1716881 h 1788318"/>
                    <a:gd name="connsiteX16" fmla="*/ 1352550 w 1993106"/>
                    <a:gd name="connsiteY16" fmla="*/ 1671637 h 1788318"/>
                    <a:gd name="connsiteX17" fmla="*/ 1390650 w 1993106"/>
                    <a:gd name="connsiteY17" fmla="*/ 1652588 h 1788318"/>
                    <a:gd name="connsiteX18" fmla="*/ 1338263 w 1993106"/>
                    <a:gd name="connsiteY18" fmla="*/ 1602581 h 1788318"/>
                    <a:gd name="connsiteX19" fmla="*/ 1228725 w 1993106"/>
                    <a:gd name="connsiteY19" fmla="*/ 1462087 h 1788318"/>
                    <a:gd name="connsiteX20" fmla="*/ 1254919 w 1993106"/>
                    <a:gd name="connsiteY20" fmla="*/ 1426369 h 1788318"/>
                    <a:gd name="connsiteX21" fmla="*/ 1188245 w 1993106"/>
                    <a:gd name="connsiteY21" fmla="*/ 1350169 h 1788318"/>
                    <a:gd name="connsiteX22" fmla="*/ 1231106 w 1993106"/>
                    <a:gd name="connsiteY22" fmla="*/ 1278731 h 1788318"/>
                    <a:gd name="connsiteX23" fmla="*/ 1281113 w 1993106"/>
                    <a:gd name="connsiteY23" fmla="*/ 1245394 h 1788318"/>
                    <a:gd name="connsiteX24" fmla="*/ 1335881 w 1993106"/>
                    <a:gd name="connsiteY24" fmla="*/ 1271587 h 1788318"/>
                    <a:gd name="connsiteX25" fmla="*/ 1364456 w 1993106"/>
                    <a:gd name="connsiteY25" fmla="*/ 1228724 h 1788318"/>
                    <a:gd name="connsiteX26" fmla="*/ 1521618 w 1993106"/>
                    <a:gd name="connsiteY26" fmla="*/ 1219200 h 1788318"/>
                    <a:gd name="connsiteX27" fmla="*/ 1597819 w 1993106"/>
                    <a:gd name="connsiteY27" fmla="*/ 1233487 h 1788318"/>
                    <a:gd name="connsiteX28" fmla="*/ 1666875 w 1993106"/>
                    <a:gd name="connsiteY28" fmla="*/ 1202531 h 1788318"/>
                    <a:gd name="connsiteX29" fmla="*/ 1683544 w 1993106"/>
                    <a:gd name="connsiteY29" fmla="*/ 1152525 h 1788318"/>
                    <a:gd name="connsiteX30" fmla="*/ 1764506 w 1993106"/>
                    <a:gd name="connsiteY30" fmla="*/ 1126331 h 1788318"/>
                    <a:gd name="connsiteX31" fmla="*/ 1793082 w 1993106"/>
                    <a:gd name="connsiteY31" fmla="*/ 1052513 h 1788318"/>
                    <a:gd name="connsiteX32" fmla="*/ 1743075 w 1993106"/>
                    <a:gd name="connsiteY32" fmla="*/ 976312 h 1788318"/>
                    <a:gd name="connsiteX33" fmla="*/ 1797844 w 1993106"/>
                    <a:gd name="connsiteY33" fmla="*/ 912019 h 1788318"/>
                    <a:gd name="connsiteX34" fmla="*/ 1859756 w 1993106"/>
                    <a:gd name="connsiteY34" fmla="*/ 885826 h 1788318"/>
                    <a:gd name="connsiteX35" fmla="*/ 1895475 w 1993106"/>
                    <a:gd name="connsiteY35" fmla="*/ 781050 h 1788318"/>
                    <a:gd name="connsiteX36" fmla="*/ 1938337 w 1993106"/>
                    <a:gd name="connsiteY36" fmla="*/ 778669 h 1788318"/>
                    <a:gd name="connsiteX37" fmla="*/ 1993106 w 1993106"/>
                    <a:gd name="connsiteY37" fmla="*/ 728662 h 1788318"/>
                    <a:gd name="connsiteX38" fmla="*/ 1947862 w 1993106"/>
                    <a:gd name="connsiteY38" fmla="*/ 702469 h 1788318"/>
                    <a:gd name="connsiteX39" fmla="*/ 1897857 w 1993106"/>
                    <a:gd name="connsiteY39" fmla="*/ 711993 h 1788318"/>
                    <a:gd name="connsiteX40" fmla="*/ 1897857 w 1993106"/>
                    <a:gd name="connsiteY40" fmla="*/ 664369 h 1788318"/>
                    <a:gd name="connsiteX41" fmla="*/ 1776413 w 1993106"/>
                    <a:gd name="connsiteY41" fmla="*/ 654844 h 1788318"/>
                    <a:gd name="connsiteX42" fmla="*/ 1585913 w 1993106"/>
                    <a:gd name="connsiteY42" fmla="*/ 597694 h 1788318"/>
                    <a:gd name="connsiteX43" fmla="*/ 1226344 w 1993106"/>
                    <a:gd name="connsiteY43" fmla="*/ 600075 h 1788318"/>
                    <a:gd name="connsiteX44" fmla="*/ 1307306 w 1993106"/>
                    <a:gd name="connsiteY44" fmla="*/ 411956 h 1788318"/>
                    <a:gd name="connsiteX45" fmla="*/ 1212056 w 1993106"/>
                    <a:gd name="connsiteY45" fmla="*/ 361950 h 1788318"/>
                    <a:gd name="connsiteX46" fmla="*/ 1195388 w 1993106"/>
                    <a:gd name="connsiteY46" fmla="*/ 273844 h 1788318"/>
                    <a:gd name="connsiteX47" fmla="*/ 1147763 w 1993106"/>
                    <a:gd name="connsiteY47" fmla="*/ 273844 h 1788318"/>
                    <a:gd name="connsiteX48" fmla="*/ 1097756 w 1993106"/>
                    <a:gd name="connsiteY48" fmla="*/ 190499 h 1788318"/>
                    <a:gd name="connsiteX49" fmla="*/ 1050131 w 1993106"/>
                    <a:gd name="connsiteY49" fmla="*/ 176213 h 1788318"/>
                    <a:gd name="connsiteX50" fmla="*/ 1047750 w 1993106"/>
                    <a:gd name="connsiteY50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14300 w 1993106"/>
                    <a:gd name="connsiteY11" fmla="*/ 1469231 h 1788318"/>
                    <a:gd name="connsiteX12" fmla="*/ 1173956 w 1993106"/>
                    <a:gd name="connsiteY12" fmla="*/ 1697831 h 1788318"/>
                    <a:gd name="connsiteX13" fmla="*/ 1285875 w 1993106"/>
                    <a:gd name="connsiteY13" fmla="*/ 1774031 h 1788318"/>
                    <a:gd name="connsiteX14" fmla="*/ 1350169 w 1993106"/>
                    <a:gd name="connsiteY14" fmla="*/ 1788318 h 1788318"/>
                    <a:gd name="connsiteX15" fmla="*/ 1412081 w 1993106"/>
                    <a:gd name="connsiteY15" fmla="*/ 1716881 h 1788318"/>
                    <a:gd name="connsiteX16" fmla="*/ 1352550 w 1993106"/>
                    <a:gd name="connsiteY16" fmla="*/ 1671637 h 1788318"/>
                    <a:gd name="connsiteX17" fmla="*/ 1390650 w 1993106"/>
                    <a:gd name="connsiteY17" fmla="*/ 1652588 h 1788318"/>
                    <a:gd name="connsiteX18" fmla="*/ 1338263 w 1993106"/>
                    <a:gd name="connsiteY18" fmla="*/ 1602581 h 1788318"/>
                    <a:gd name="connsiteX19" fmla="*/ 1228725 w 1993106"/>
                    <a:gd name="connsiteY19" fmla="*/ 1462087 h 1788318"/>
                    <a:gd name="connsiteX20" fmla="*/ 1254919 w 1993106"/>
                    <a:gd name="connsiteY20" fmla="*/ 1426369 h 1788318"/>
                    <a:gd name="connsiteX21" fmla="*/ 1188245 w 1993106"/>
                    <a:gd name="connsiteY21" fmla="*/ 1350169 h 1788318"/>
                    <a:gd name="connsiteX22" fmla="*/ 1231106 w 1993106"/>
                    <a:gd name="connsiteY22" fmla="*/ 1278731 h 1788318"/>
                    <a:gd name="connsiteX23" fmla="*/ 1281113 w 1993106"/>
                    <a:gd name="connsiteY23" fmla="*/ 1245394 h 1788318"/>
                    <a:gd name="connsiteX24" fmla="*/ 1335881 w 1993106"/>
                    <a:gd name="connsiteY24" fmla="*/ 1271587 h 1788318"/>
                    <a:gd name="connsiteX25" fmla="*/ 1364456 w 1993106"/>
                    <a:gd name="connsiteY25" fmla="*/ 1228724 h 1788318"/>
                    <a:gd name="connsiteX26" fmla="*/ 1521618 w 1993106"/>
                    <a:gd name="connsiteY26" fmla="*/ 1219200 h 1788318"/>
                    <a:gd name="connsiteX27" fmla="*/ 1597819 w 1993106"/>
                    <a:gd name="connsiteY27" fmla="*/ 1233487 h 1788318"/>
                    <a:gd name="connsiteX28" fmla="*/ 1666875 w 1993106"/>
                    <a:gd name="connsiteY28" fmla="*/ 1202531 h 1788318"/>
                    <a:gd name="connsiteX29" fmla="*/ 1683544 w 1993106"/>
                    <a:gd name="connsiteY29" fmla="*/ 1152525 h 1788318"/>
                    <a:gd name="connsiteX30" fmla="*/ 1764506 w 1993106"/>
                    <a:gd name="connsiteY30" fmla="*/ 1126331 h 1788318"/>
                    <a:gd name="connsiteX31" fmla="*/ 1793082 w 1993106"/>
                    <a:gd name="connsiteY31" fmla="*/ 1052513 h 1788318"/>
                    <a:gd name="connsiteX32" fmla="*/ 1743075 w 1993106"/>
                    <a:gd name="connsiteY32" fmla="*/ 976312 h 1788318"/>
                    <a:gd name="connsiteX33" fmla="*/ 1797844 w 1993106"/>
                    <a:gd name="connsiteY33" fmla="*/ 912019 h 1788318"/>
                    <a:gd name="connsiteX34" fmla="*/ 1859756 w 1993106"/>
                    <a:gd name="connsiteY34" fmla="*/ 885826 h 1788318"/>
                    <a:gd name="connsiteX35" fmla="*/ 1895475 w 1993106"/>
                    <a:gd name="connsiteY35" fmla="*/ 781050 h 1788318"/>
                    <a:gd name="connsiteX36" fmla="*/ 1938337 w 1993106"/>
                    <a:gd name="connsiteY36" fmla="*/ 778669 h 1788318"/>
                    <a:gd name="connsiteX37" fmla="*/ 1993106 w 1993106"/>
                    <a:gd name="connsiteY37" fmla="*/ 728662 h 1788318"/>
                    <a:gd name="connsiteX38" fmla="*/ 1947862 w 1993106"/>
                    <a:gd name="connsiteY38" fmla="*/ 702469 h 1788318"/>
                    <a:gd name="connsiteX39" fmla="*/ 1897857 w 1993106"/>
                    <a:gd name="connsiteY39" fmla="*/ 711993 h 1788318"/>
                    <a:gd name="connsiteX40" fmla="*/ 1897857 w 1993106"/>
                    <a:gd name="connsiteY40" fmla="*/ 664369 h 1788318"/>
                    <a:gd name="connsiteX41" fmla="*/ 1776413 w 1993106"/>
                    <a:gd name="connsiteY41" fmla="*/ 654844 h 1788318"/>
                    <a:gd name="connsiteX42" fmla="*/ 1585913 w 1993106"/>
                    <a:gd name="connsiteY42" fmla="*/ 597694 h 1788318"/>
                    <a:gd name="connsiteX43" fmla="*/ 1226344 w 1993106"/>
                    <a:gd name="connsiteY43" fmla="*/ 600075 h 1788318"/>
                    <a:gd name="connsiteX44" fmla="*/ 1307306 w 1993106"/>
                    <a:gd name="connsiteY44" fmla="*/ 411956 h 1788318"/>
                    <a:gd name="connsiteX45" fmla="*/ 1212056 w 1993106"/>
                    <a:gd name="connsiteY45" fmla="*/ 361950 h 1788318"/>
                    <a:gd name="connsiteX46" fmla="*/ 1195388 w 1993106"/>
                    <a:gd name="connsiteY46" fmla="*/ 273844 h 1788318"/>
                    <a:gd name="connsiteX47" fmla="*/ 1147763 w 1993106"/>
                    <a:gd name="connsiteY47" fmla="*/ 273844 h 1788318"/>
                    <a:gd name="connsiteX48" fmla="*/ 1097756 w 1993106"/>
                    <a:gd name="connsiteY48" fmla="*/ 190499 h 1788318"/>
                    <a:gd name="connsiteX49" fmla="*/ 1050131 w 1993106"/>
                    <a:gd name="connsiteY49" fmla="*/ 176213 h 1788318"/>
                    <a:gd name="connsiteX50" fmla="*/ 1047750 w 1993106"/>
                    <a:gd name="connsiteY50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1173956 w 1993106"/>
                    <a:gd name="connsiteY12" fmla="*/ 1697831 h 1788318"/>
                    <a:gd name="connsiteX13" fmla="*/ 1285875 w 1993106"/>
                    <a:gd name="connsiteY13" fmla="*/ 1774031 h 1788318"/>
                    <a:gd name="connsiteX14" fmla="*/ 1350169 w 1993106"/>
                    <a:gd name="connsiteY14" fmla="*/ 1788318 h 1788318"/>
                    <a:gd name="connsiteX15" fmla="*/ 1412081 w 1993106"/>
                    <a:gd name="connsiteY15" fmla="*/ 1716881 h 1788318"/>
                    <a:gd name="connsiteX16" fmla="*/ 1352550 w 1993106"/>
                    <a:gd name="connsiteY16" fmla="*/ 1671637 h 1788318"/>
                    <a:gd name="connsiteX17" fmla="*/ 1390650 w 1993106"/>
                    <a:gd name="connsiteY17" fmla="*/ 1652588 h 1788318"/>
                    <a:gd name="connsiteX18" fmla="*/ 1338263 w 1993106"/>
                    <a:gd name="connsiteY18" fmla="*/ 1602581 h 1788318"/>
                    <a:gd name="connsiteX19" fmla="*/ 1228725 w 1993106"/>
                    <a:gd name="connsiteY19" fmla="*/ 1462087 h 1788318"/>
                    <a:gd name="connsiteX20" fmla="*/ 1254919 w 1993106"/>
                    <a:gd name="connsiteY20" fmla="*/ 1426369 h 1788318"/>
                    <a:gd name="connsiteX21" fmla="*/ 1188245 w 1993106"/>
                    <a:gd name="connsiteY21" fmla="*/ 1350169 h 1788318"/>
                    <a:gd name="connsiteX22" fmla="*/ 1231106 w 1993106"/>
                    <a:gd name="connsiteY22" fmla="*/ 1278731 h 1788318"/>
                    <a:gd name="connsiteX23" fmla="*/ 1281113 w 1993106"/>
                    <a:gd name="connsiteY23" fmla="*/ 1245394 h 1788318"/>
                    <a:gd name="connsiteX24" fmla="*/ 1335881 w 1993106"/>
                    <a:gd name="connsiteY24" fmla="*/ 1271587 h 1788318"/>
                    <a:gd name="connsiteX25" fmla="*/ 1364456 w 1993106"/>
                    <a:gd name="connsiteY25" fmla="*/ 1228724 h 1788318"/>
                    <a:gd name="connsiteX26" fmla="*/ 1521618 w 1993106"/>
                    <a:gd name="connsiteY26" fmla="*/ 1219200 h 1788318"/>
                    <a:gd name="connsiteX27" fmla="*/ 1597819 w 1993106"/>
                    <a:gd name="connsiteY27" fmla="*/ 1233487 h 1788318"/>
                    <a:gd name="connsiteX28" fmla="*/ 1666875 w 1993106"/>
                    <a:gd name="connsiteY28" fmla="*/ 1202531 h 1788318"/>
                    <a:gd name="connsiteX29" fmla="*/ 1683544 w 1993106"/>
                    <a:gd name="connsiteY29" fmla="*/ 1152525 h 1788318"/>
                    <a:gd name="connsiteX30" fmla="*/ 1764506 w 1993106"/>
                    <a:gd name="connsiteY30" fmla="*/ 1126331 h 1788318"/>
                    <a:gd name="connsiteX31" fmla="*/ 1793082 w 1993106"/>
                    <a:gd name="connsiteY31" fmla="*/ 1052513 h 1788318"/>
                    <a:gd name="connsiteX32" fmla="*/ 1743075 w 1993106"/>
                    <a:gd name="connsiteY32" fmla="*/ 976312 h 1788318"/>
                    <a:gd name="connsiteX33" fmla="*/ 1797844 w 1993106"/>
                    <a:gd name="connsiteY33" fmla="*/ 912019 h 1788318"/>
                    <a:gd name="connsiteX34" fmla="*/ 1859756 w 1993106"/>
                    <a:gd name="connsiteY34" fmla="*/ 885826 h 1788318"/>
                    <a:gd name="connsiteX35" fmla="*/ 1895475 w 1993106"/>
                    <a:gd name="connsiteY35" fmla="*/ 781050 h 1788318"/>
                    <a:gd name="connsiteX36" fmla="*/ 1938337 w 1993106"/>
                    <a:gd name="connsiteY36" fmla="*/ 778669 h 1788318"/>
                    <a:gd name="connsiteX37" fmla="*/ 1993106 w 1993106"/>
                    <a:gd name="connsiteY37" fmla="*/ 728662 h 1788318"/>
                    <a:gd name="connsiteX38" fmla="*/ 1947862 w 1993106"/>
                    <a:gd name="connsiteY38" fmla="*/ 702469 h 1788318"/>
                    <a:gd name="connsiteX39" fmla="*/ 1897857 w 1993106"/>
                    <a:gd name="connsiteY39" fmla="*/ 711993 h 1788318"/>
                    <a:gd name="connsiteX40" fmla="*/ 1897857 w 1993106"/>
                    <a:gd name="connsiteY40" fmla="*/ 664369 h 1788318"/>
                    <a:gd name="connsiteX41" fmla="*/ 1776413 w 1993106"/>
                    <a:gd name="connsiteY41" fmla="*/ 654844 h 1788318"/>
                    <a:gd name="connsiteX42" fmla="*/ 1585913 w 1993106"/>
                    <a:gd name="connsiteY42" fmla="*/ 597694 h 1788318"/>
                    <a:gd name="connsiteX43" fmla="*/ 1226344 w 1993106"/>
                    <a:gd name="connsiteY43" fmla="*/ 600075 h 1788318"/>
                    <a:gd name="connsiteX44" fmla="*/ 1307306 w 1993106"/>
                    <a:gd name="connsiteY44" fmla="*/ 411956 h 1788318"/>
                    <a:gd name="connsiteX45" fmla="*/ 1212056 w 1993106"/>
                    <a:gd name="connsiteY45" fmla="*/ 361950 h 1788318"/>
                    <a:gd name="connsiteX46" fmla="*/ 1195388 w 1993106"/>
                    <a:gd name="connsiteY46" fmla="*/ 273844 h 1788318"/>
                    <a:gd name="connsiteX47" fmla="*/ 1147763 w 1993106"/>
                    <a:gd name="connsiteY47" fmla="*/ 273844 h 1788318"/>
                    <a:gd name="connsiteX48" fmla="*/ 1097756 w 1993106"/>
                    <a:gd name="connsiteY48" fmla="*/ 190499 h 1788318"/>
                    <a:gd name="connsiteX49" fmla="*/ 1050131 w 1993106"/>
                    <a:gd name="connsiteY49" fmla="*/ 176213 h 1788318"/>
                    <a:gd name="connsiteX50" fmla="*/ 1047750 w 1993106"/>
                    <a:gd name="connsiteY50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1016794 w 1993106"/>
                    <a:gd name="connsiteY12" fmla="*/ 1645444 h 1788318"/>
                    <a:gd name="connsiteX13" fmla="*/ 1173956 w 1993106"/>
                    <a:gd name="connsiteY13" fmla="*/ 1697831 h 1788318"/>
                    <a:gd name="connsiteX14" fmla="*/ 1285875 w 1993106"/>
                    <a:gd name="connsiteY14" fmla="*/ 1774031 h 1788318"/>
                    <a:gd name="connsiteX15" fmla="*/ 1350169 w 1993106"/>
                    <a:gd name="connsiteY15" fmla="*/ 1788318 h 1788318"/>
                    <a:gd name="connsiteX16" fmla="*/ 1412081 w 1993106"/>
                    <a:gd name="connsiteY16" fmla="*/ 1716881 h 1788318"/>
                    <a:gd name="connsiteX17" fmla="*/ 1352550 w 1993106"/>
                    <a:gd name="connsiteY17" fmla="*/ 1671637 h 1788318"/>
                    <a:gd name="connsiteX18" fmla="*/ 1390650 w 1993106"/>
                    <a:gd name="connsiteY18" fmla="*/ 1652588 h 1788318"/>
                    <a:gd name="connsiteX19" fmla="*/ 1338263 w 1993106"/>
                    <a:gd name="connsiteY19" fmla="*/ 1602581 h 1788318"/>
                    <a:gd name="connsiteX20" fmla="*/ 1228725 w 1993106"/>
                    <a:gd name="connsiteY20" fmla="*/ 1462087 h 1788318"/>
                    <a:gd name="connsiteX21" fmla="*/ 1254919 w 1993106"/>
                    <a:gd name="connsiteY21" fmla="*/ 1426369 h 1788318"/>
                    <a:gd name="connsiteX22" fmla="*/ 1188245 w 1993106"/>
                    <a:gd name="connsiteY22" fmla="*/ 1350169 h 1788318"/>
                    <a:gd name="connsiteX23" fmla="*/ 1231106 w 1993106"/>
                    <a:gd name="connsiteY23" fmla="*/ 1278731 h 1788318"/>
                    <a:gd name="connsiteX24" fmla="*/ 1281113 w 1993106"/>
                    <a:gd name="connsiteY24" fmla="*/ 1245394 h 1788318"/>
                    <a:gd name="connsiteX25" fmla="*/ 1335881 w 1993106"/>
                    <a:gd name="connsiteY25" fmla="*/ 1271587 h 1788318"/>
                    <a:gd name="connsiteX26" fmla="*/ 1364456 w 1993106"/>
                    <a:gd name="connsiteY26" fmla="*/ 1228724 h 1788318"/>
                    <a:gd name="connsiteX27" fmla="*/ 1521618 w 1993106"/>
                    <a:gd name="connsiteY27" fmla="*/ 1219200 h 1788318"/>
                    <a:gd name="connsiteX28" fmla="*/ 1597819 w 1993106"/>
                    <a:gd name="connsiteY28" fmla="*/ 1233487 h 1788318"/>
                    <a:gd name="connsiteX29" fmla="*/ 1666875 w 1993106"/>
                    <a:gd name="connsiteY29" fmla="*/ 1202531 h 1788318"/>
                    <a:gd name="connsiteX30" fmla="*/ 1683544 w 1993106"/>
                    <a:gd name="connsiteY30" fmla="*/ 1152525 h 1788318"/>
                    <a:gd name="connsiteX31" fmla="*/ 1764506 w 1993106"/>
                    <a:gd name="connsiteY31" fmla="*/ 1126331 h 1788318"/>
                    <a:gd name="connsiteX32" fmla="*/ 1793082 w 1993106"/>
                    <a:gd name="connsiteY32" fmla="*/ 1052513 h 1788318"/>
                    <a:gd name="connsiteX33" fmla="*/ 1743075 w 1993106"/>
                    <a:gd name="connsiteY33" fmla="*/ 976312 h 1788318"/>
                    <a:gd name="connsiteX34" fmla="*/ 1797844 w 1993106"/>
                    <a:gd name="connsiteY34" fmla="*/ 912019 h 1788318"/>
                    <a:gd name="connsiteX35" fmla="*/ 1859756 w 1993106"/>
                    <a:gd name="connsiteY35" fmla="*/ 885826 h 1788318"/>
                    <a:gd name="connsiteX36" fmla="*/ 1895475 w 1993106"/>
                    <a:gd name="connsiteY36" fmla="*/ 781050 h 1788318"/>
                    <a:gd name="connsiteX37" fmla="*/ 1938337 w 1993106"/>
                    <a:gd name="connsiteY37" fmla="*/ 778669 h 1788318"/>
                    <a:gd name="connsiteX38" fmla="*/ 1993106 w 1993106"/>
                    <a:gd name="connsiteY38" fmla="*/ 728662 h 1788318"/>
                    <a:gd name="connsiteX39" fmla="*/ 1947862 w 1993106"/>
                    <a:gd name="connsiteY39" fmla="*/ 702469 h 1788318"/>
                    <a:gd name="connsiteX40" fmla="*/ 1897857 w 1993106"/>
                    <a:gd name="connsiteY40" fmla="*/ 711993 h 1788318"/>
                    <a:gd name="connsiteX41" fmla="*/ 1897857 w 1993106"/>
                    <a:gd name="connsiteY41" fmla="*/ 664369 h 1788318"/>
                    <a:gd name="connsiteX42" fmla="*/ 1776413 w 1993106"/>
                    <a:gd name="connsiteY42" fmla="*/ 654844 h 1788318"/>
                    <a:gd name="connsiteX43" fmla="*/ 1585913 w 1993106"/>
                    <a:gd name="connsiteY43" fmla="*/ 597694 h 1788318"/>
                    <a:gd name="connsiteX44" fmla="*/ 1226344 w 1993106"/>
                    <a:gd name="connsiteY44" fmla="*/ 600075 h 1788318"/>
                    <a:gd name="connsiteX45" fmla="*/ 1307306 w 1993106"/>
                    <a:gd name="connsiteY45" fmla="*/ 411956 h 1788318"/>
                    <a:gd name="connsiteX46" fmla="*/ 1212056 w 1993106"/>
                    <a:gd name="connsiteY46" fmla="*/ 361950 h 1788318"/>
                    <a:gd name="connsiteX47" fmla="*/ 1195388 w 1993106"/>
                    <a:gd name="connsiteY47" fmla="*/ 273844 h 1788318"/>
                    <a:gd name="connsiteX48" fmla="*/ 1147763 w 1993106"/>
                    <a:gd name="connsiteY48" fmla="*/ 273844 h 1788318"/>
                    <a:gd name="connsiteX49" fmla="*/ 1097756 w 1993106"/>
                    <a:gd name="connsiteY49" fmla="*/ 190499 h 1788318"/>
                    <a:gd name="connsiteX50" fmla="*/ 1050131 w 1993106"/>
                    <a:gd name="connsiteY50" fmla="*/ 176213 h 1788318"/>
                    <a:gd name="connsiteX51" fmla="*/ 1047750 w 1993106"/>
                    <a:gd name="connsiteY51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866775 w 1993106"/>
                    <a:gd name="connsiteY12" fmla="*/ 1597819 h 1788318"/>
                    <a:gd name="connsiteX13" fmla="*/ 1016794 w 1993106"/>
                    <a:gd name="connsiteY13" fmla="*/ 1645444 h 1788318"/>
                    <a:gd name="connsiteX14" fmla="*/ 1173956 w 1993106"/>
                    <a:gd name="connsiteY14" fmla="*/ 1697831 h 1788318"/>
                    <a:gd name="connsiteX15" fmla="*/ 1285875 w 1993106"/>
                    <a:gd name="connsiteY15" fmla="*/ 1774031 h 1788318"/>
                    <a:gd name="connsiteX16" fmla="*/ 1350169 w 1993106"/>
                    <a:gd name="connsiteY16" fmla="*/ 1788318 h 1788318"/>
                    <a:gd name="connsiteX17" fmla="*/ 1412081 w 1993106"/>
                    <a:gd name="connsiteY17" fmla="*/ 1716881 h 1788318"/>
                    <a:gd name="connsiteX18" fmla="*/ 1352550 w 1993106"/>
                    <a:gd name="connsiteY18" fmla="*/ 1671637 h 1788318"/>
                    <a:gd name="connsiteX19" fmla="*/ 1390650 w 1993106"/>
                    <a:gd name="connsiteY19" fmla="*/ 1652588 h 1788318"/>
                    <a:gd name="connsiteX20" fmla="*/ 1338263 w 1993106"/>
                    <a:gd name="connsiteY20" fmla="*/ 1602581 h 1788318"/>
                    <a:gd name="connsiteX21" fmla="*/ 1228725 w 1993106"/>
                    <a:gd name="connsiteY21" fmla="*/ 1462087 h 1788318"/>
                    <a:gd name="connsiteX22" fmla="*/ 1254919 w 1993106"/>
                    <a:gd name="connsiteY22" fmla="*/ 1426369 h 1788318"/>
                    <a:gd name="connsiteX23" fmla="*/ 1188245 w 1993106"/>
                    <a:gd name="connsiteY23" fmla="*/ 1350169 h 1788318"/>
                    <a:gd name="connsiteX24" fmla="*/ 1231106 w 1993106"/>
                    <a:gd name="connsiteY24" fmla="*/ 1278731 h 1788318"/>
                    <a:gd name="connsiteX25" fmla="*/ 1281113 w 1993106"/>
                    <a:gd name="connsiteY25" fmla="*/ 1245394 h 1788318"/>
                    <a:gd name="connsiteX26" fmla="*/ 1335881 w 1993106"/>
                    <a:gd name="connsiteY26" fmla="*/ 1271587 h 1788318"/>
                    <a:gd name="connsiteX27" fmla="*/ 1364456 w 1993106"/>
                    <a:gd name="connsiteY27" fmla="*/ 1228724 h 1788318"/>
                    <a:gd name="connsiteX28" fmla="*/ 1521618 w 1993106"/>
                    <a:gd name="connsiteY28" fmla="*/ 1219200 h 1788318"/>
                    <a:gd name="connsiteX29" fmla="*/ 1597819 w 1993106"/>
                    <a:gd name="connsiteY29" fmla="*/ 1233487 h 1788318"/>
                    <a:gd name="connsiteX30" fmla="*/ 1666875 w 1993106"/>
                    <a:gd name="connsiteY30" fmla="*/ 1202531 h 1788318"/>
                    <a:gd name="connsiteX31" fmla="*/ 1683544 w 1993106"/>
                    <a:gd name="connsiteY31" fmla="*/ 1152525 h 1788318"/>
                    <a:gd name="connsiteX32" fmla="*/ 1764506 w 1993106"/>
                    <a:gd name="connsiteY32" fmla="*/ 1126331 h 1788318"/>
                    <a:gd name="connsiteX33" fmla="*/ 1793082 w 1993106"/>
                    <a:gd name="connsiteY33" fmla="*/ 1052513 h 1788318"/>
                    <a:gd name="connsiteX34" fmla="*/ 1743075 w 1993106"/>
                    <a:gd name="connsiteY34" fmla="*/ 976312 h 1788318"/>
                    <a:gd name="connsiteX35" fmla="*/ 1797844 w 1993106"/>
                    <a:gd name="connsiteY35" fmla="*/ 912019 h 1788318"/>
                    <a:gd name="connsiteX36" fmla="*/ 1859756 w 1993106"/>
                    <a:gd name="connsiteY36" fmla="*/ 885826 h 1788318"/>
                    <a:gd name="connsiteX37" fmla="*/ 1895475 w 1993106"/>
                    <a:gd name="connsiteY37" fmla="*/ 781050 h 1788318"/>
                    <a:gd name="connsiteX38" fmla="*/ 1938337 w 1993106"/>
                    <a:gd name="connsiteY38" fmla="*/ 778669 h 1788318"/>
                    <a:gd name="connsiteX39" fmla="*/ 1993106 w 1993106"/>
                    <a:gd name="connsiteY39" fmla="*/ 728662 h 1788318"/>
                    <a:gd name="connsiteX40" fmla="*/ 1947862 w 1993106"/>
                    <a:gd name="connsiteY40" fmla="*/ 702469 h 1788318"/>
                    <a:gd name="connsiteX41" fmla="*/ 1897857 w 1993106"/>
                    <a:gd name="connsiteY41" fmla="*/ 711993 h 1788318"/>
                    <a:gd name="connsiteX42" fmla="*/ 1897857 w 1993106"/>
                    <a:gd name="connsiteY42" fmla="*/ 664369 h 1788318"/>
                    <a:gd name="connsiteX43" fmla="*/ 1776413 w 1993106"/>
                    <a:gd name="connsiteY43" fmla="*/ 654844 h 1788318"/>
                    <a:gd name="connsiteX44" fmla="*/ 1585913 w 1993106"/>
                    <a:gd name="connsiteY44" fmla="*/ 597694 h 1788318"/>
                    <a:gd name="connsiteX45" fmla="*/ 1226344 w 1993106"/>
                    <a:gd name="connsiteY45" fmla="*/ 600075 h 1788318"/>
                    <a:gd name="connsiteX46" fmla="*/ 1307306 w 1993106"/>
                    <a:gd name="connsiteY46" fmla="*/ 411956 h 1788318"/>
                    <a:gd name="connsiteX47" fmla="*/ 1212056 w 1993106"/>
                    <a:gd name="connsiteY47" fmla="*/ 361950 h 1788318"/>
                    <a:gd name="connsiteX48" fmla="*/ 1195388 w 1993106"/>
                    <a:gd name="connsiteY48" fmla="*/ 273844 h 1788318"/>
                    <a:gd name="connsiteX49" fmla="*/ 1147763 w 1993106"/>
                    <a:gd name="connsiteY49" fmla="*/ 273844 h 1788318"/>
                    <a:gd name="connsiteX50" fmla="*/ 1097756 w 1993106"/>
                    <a:gd name="connsiteY50" fmla="*/ 190499 h 1788318"/>
                    <a:gd name="connsiteX51" fmla="*/ 1050131 w 1993106"/>
                    <a:gd name="connsiteY51" fmla="*/ 176213 h 1788318"/>
                    <a:gd name="connsiteX52" fmla="*/ 1047750 w 1993106"/>
                    <a:gd name="connsiteY52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759619 w 1993106"/>
                    <a:gd name="connsiteY12" fmla="*/ 1562100 h 1788318"/>
                    <a:gd name="connsiteX13" fmla="*/ 866775 w 1993106"/>
                    <a:gd name="connsiteY13" fmla="*/ 1597819 h 1788318"/>
                    <a:gd name="connsiteX14" fmla="*/ 1016794 w 1993106"/>
                    <a:gd name="connsiteY14" fmla="*/ 1645444 h 1788318"/>
                    <a:gd name="connsiteX15" fmla="*/ 1173956 w 1993106"/>
                    <a:gd name="connsiteY15" fmla="*/ 1697831 h 1788318"/>
                    <a:gd name="connsiteX16" fmla="*/ 1285875 w 1993106"/>
                    <a:gd name="connsiteY16" fmla="*/ 1774031 h 1788318"/>
                    <a:gd name="connsiteX17" fmla="*/ 1350169 w 1993106"/>
                    <a:gd name="connsiteY17" fmla="*/ 1788318 h 1788318"/>
                    <a:gd name="connsiteX18" fmla="*/ 1412081 w 1993106"/>
                    <a:gd name="connsiteY18" fmla="*/ 1716881 h 1788318"/>
                    <a:gd name="connsiteX19" fmla="*/ 1352550 w 1993106"/>
                    <a:gd name="connsiteY19" fmla="*/ 1671637 h 1788318"/>
                    <a:gd name="connsiteX20" fmla="*/ 1390650 w 1993106"/>
                    <a:gd name="connsiteY20" fmla="*/ 1652588 h 1788318"/>
                    <a:gd name="connsiteX21" fmla="*/ 1338263 w 1993106"/>
                    <a:gd name="connsiteY21" fmla="*/ 1602581 h 1788318"/>
                    <a:gd name="connsiteX22" fmla="*/ 1228725 w 1993106"/>
                    <a:gd name="connsiteY22" fmla="*/ 1462087 h 1788318"/>
                    <a:gd name="connsiteX23" fmla="*/ 1254919 w 1993106"/>
                    <a:gd name="connsiteY23" fmla="*/ 1426369 h 1788318"/>
                    <a:gd name="connsiteX24" fmla="*/ 1188245 w 1993106"/>
                    <a:gd name="connsiteY24" fmla="*/ 1350169 h 1788318"/>
                    <a:gd name="connsiteX25" fmla="*/ 1231106 w 1993106"/>
                    <a:gd name="connsiteY25" fmla="*/ 1278731 h 1788318"/>
                    <a:gd name="connsiteX26" fmla="*/ 1281113 w 1993106"/>
                    <a:gd name="connsiteY26" fmla="*/ 1245394 h 1788318"/>
                    <a:gd name="connsiteX27" fmla="*/ 1335881 w 1993106"/>
                    <a:gd name="connsiteY27" fmla="*/ 1271587 h 1788318"/>
                    <a:gd name="connsiteX28" fmla="*/ 1364456 w 1993106"/>
                    <a:gd name="connsiteY28" fmla="*/ 1228724 h 1788318"/>
                    <a:gd name="connsiteX29" fmla="*/ 1521618 w 1993106"/>
                    <a:gd name="connsiteY29" fmla="*/ 1219200 h 1788318"/>
                    <a:gd name="connsiteX30" fmla="*/ 1597819 w 1993106"/>
                    <a:gd name="connsiteY30" fmla="*/ 1233487 h 1788318"/>
                    <a:gd name="connsiteX31" fmla="*/ 1666875 w 1993106"/>
                    <a:gd name="connsiteY31" fmla="*/ 1202531 h 1788318"/>
                    <a:gd name="connsiteX32" fmla="*/ 1683544 w 1993106"/>
                    <a:gd name="connsiteY32" fmla="*/ 1152525 h 1788318"/>
                    <a:gd name="connsiteX33" fmla="*/ 1764506 w 1993106"/>
                    <a:gd name="connsiteY33" fmla="*/ 1126331 h 1788318"/>
                    <a:gd name="connsiteX34" fmla="*/ 1793082 w 1993106"/>
                    <a:gd name="connsiteY34" fmla="*/ 1052513 h 1788318"/>
                    <a:gd name="connsiteX35" fmla="*/ 1743075 w 1993106"/>
                    <a:gd name="connsiteY35" fmla="*/ 976312 h 1788318"/>
                    <a:gd name="connsiteX36" fmla="*/ 1797844 w 1993106"/>
                    <a:gd name="connsiteY36" fmla="*/ 912019 h 1788318"/>
                    <a:gd name="connsiteX37" fmla="*/ 1859756 w 1993106"/>
                    <a:gd name="connsiteY37" fmla="*/ 885826 h 1788318"/>
                    <a:gd name="connsiteX38" fmla="*/ 1895475 w 1993106"/>
                    <a:gd name="connsiteY38" fmla="*/ 781050 h 1788318"/>
                    <a:gd name="connsiteX39" fmla="*/ 1938337 w 1993106"/>
                    <a:gd name="connsiteY39" fmla="*/ 778669 h 1788318"/>
                    <a:gd name="connsiteX40" fmla="*/ 1993106 w 1993106"/>
                    <a:gd name="connsiteY40" fmla="*/ 728662 h 1788318"/>
                    <a:gd name="connsiteX41" fmla="*/ 1947862 w 1993106"/>
                    <a:gd name="connsiteY41" fmla="*/ 702469 h 1788318"/>
                    <a:gd name="connsiteX42" fmla="*/ 1897857 w 1993106"/>
                    <a:gd name="connsiteY42" fmla="*/ 711993 h 1788318"/>
                    <a:gd name="connsiteX43" fmla="*/ 1897857 w 1993106"/>
                    <a:gd name="connsiteY43" fmla="*/ 664369 h 1788318"/>
                    <a:gd name="connsiteX44" fmla="*/ 1776413 w 1993106"/>
                    <a:gd name="connsiteY44" fmla="*/ 654844 h 1788318"/>
                    <a:gd name="connsiteX45" fmla="*/ 1585913 w 1993106"/>
                    <a:gd name="connsiteY45" fmla="*/ 597694 h 1788318"/>
                    <a:gd name="connsiteX46" fmla="*/ 1226344 w 1993106"/>
                    <a:gd name="connsiteY46" fmla="*/ 600075 h 1788318"/>
                    <a:gd name="connsiteX47" fmla="*/ 1307306 w 1993106"/>
                    <a:gd name="connsiteY47" fmla="*/ 411956 h 1788318"/>
                    <a:gd name="connsiteX48" fmla="*/ 1212056 w 1993106"/>
                    <a:gd name="connsiteY48" fmla="*/ 361950 h 1788318"/>
                    <a:gd name="connsiteX49" fmla="*/ 1195388 w 1993106"/>
                    <a:gd name="connsiteY49" fmla="*/ 273844 h 1788318"/>
                    <a:gd name="connsiteX50" fmla="*/ 1147763 w 1993106"/>
                    <a:gd name="connsiteY50" fmla="*/ 273844 h 1788318"/>
                    <a:gd name="connsiteX51" fmla="*/ 1097756 w 1993106"/>
                    <a:gd name="connsiteY51" fmla="*/ 190499 h 1788318"/>
                    <a:gd name="connsiteX52" fmla="*/ 1050131 w 1993106"/>
                    <a:gd name="connsiteY52" fmla="*/ 176213 h 1788318"/>
                    <a:gd name="connsiteX53" fmla="*/ 1047750 w 1993106"/>
                    <a:gd name="connsiteY53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595313 w 1993106"/>
                    <a:gd name="connsiteY12" fmla="*/ 1514475 h 1788318"/>
                    <a:gd name="connsiteX13" fmla="*/ 759619 w 1993106"/>
                    <a:gd name="connsiteY13" fmla="*/ 1562100 h 1788318"/>
                    <a:gd name="connsiteX14" fmla="*/ 866775 w 1993106"/>
                    <a:gd name="connsiteY14" fmla="*/ 1597819 h 1788318"/>
                    <a:gd name="connsiteX15" fmla="*/ 1016794 w 1993106"/>
                    <a:gd name="connsiteY15" fmla="*/ 1645444 h 1788318"/>
                    <a:gd name="connsiteX16" fmla="*/ 1173956 w 1993106"/>
                    <a:gd name="connsiteY16" fmla="*/ 1697831 h 1788318"/>
                    <a:gd name="connsiteX17" fmla="*/ 1285875 w 1993106"/>
                    <a:gd name="connsiteY17" fmla="*/ 1774031 h 1788318"/>
                    <a:gd name="connsiteX18" fmla="*/ 1350169 w 1993106"/>
                    <a:gd name="connsiteY18" fmla="*/ 1788318 h 1788318"/>
                    <a:gd name="connsiteX19" fmla="*/ 1412081 w 1993106"/>
                    <a:gd name="connsiteY19" fmla="*/ 1716881 h 1788318"/>
                    <a:gd name="connsiteX20" fmla="*/ 1352550 w 1993106"/>
                    <a:gd name="connsiteY20" fmla="*/ 1671637 h 1788318"/>
                    <a:gd name="connsiteX21" fmla="*/ 1390650 w 1993106"/>
                    <a:gd name="connsiteY21" fmla="*/ 1652588 h 1788318"/>
                    <a:gd name="connsiteX22" fmla="*/ 1338263 w 1993106"/>
                    <a:gd name="connsiteY22" fmla="*/ 1602581 h 1788318"/>
                    <a:gd name="connsiteX23" fmla="*/ 1228725 w 1993106"/>
                    <a:gd name="connsiteY23" fmla="*/ 1462087 h 1788318"/>
                    <a:gd name="connsiteX24" fmla="*/ 1254919 w 1993106"/>
                    <a:gd name="connsiteY24" fmla="*/ 1426369 h 1788318"/>
                    <a:gd name="connsiteX25" fmla="*/ 1188245 w 1993106"/>
                    <a:gd name="connsiteY25" fmla="*/ 1350169 h 1788318"/>
                    <a:gd name="connsiteX26" fmla="*/ 1231106 w 1993106"/>
                    <a:gd name="connsiteY26" fmla="*/ 1278731 h 1788318"/>
                    <a:gd name="connsiteX27" fmla="*/ 1281113 w 1993106"/>
                    <a:gd name="connsiteY27" fmla="*/ 1245394 h 1788318"/>
                    <a:gd name="connsiteX28" fmla="*/ 1335881 w 1993106"/>
                    <a:gd name="connsiteY28" fmla="*/ 1271587 h 1788318"/>
                    <a:gd name="connsiteX29" fmla="*/ 1364456 w 1993106"/>
                    <a:gd name="connsiteY29" fmla="*/ 1228724 h 1788318"/>
                    <a:gd name="connsiteX30" fmla="*/ 1521618 w 1993106"/>
                    <a:gd name="connsiteY30" fmla="*/ 1219200 h 1788318"/>
                    <a:gd name="connsiteX31" fmla="*/ 1597819 w 1993106"/>
                    <a:gd name="connsiteY31" fmla="*/ 1233487 h 1788318"/>
                    <a:gd name="connsiteX32" fmla="*/ 1666875 w 1993106"/>
                    <a:gd name="connsiteY32" fmla="*/ 1202531 h 1788318"/>
                    <a:gd name="connsiteX33" fmla="*/ 1683544 w 1993106"/>
                    <a:gd name="connsiteY33" fmla="*/ 1152525 h 1788318"/>
                    <a:gd name="connsiteX34" fmla="*/ 1764506 w 1993106"/>
                    <a:gd name="connsiteY34" fmla="*/ 1126331 h 1788318"/>
                    <a:gd name="connsiteX35" fmla="*/ 1793082 w 1993106"/>
                    <a:gd name="connsiteY35" fmla="*/ 1052513 h 1788318"/>
                    <a:gd name="connsiteX36" fmla="*/ 1743075 w 1993106"/>
                    <a:gd name="connsiteY36" fmla="*/ 976312 h 1788318"/>
                    <a:gd name="connsiteX37" fmla="*/ 1797844 w 1993106"/>
                    <a:gd name="connsiteY37" fmla="*/ 912019 h 1788318"/>
                    <a:gd name="connsiteX38" fmla="*/ 1859756 w 1993106"/>
                    <a:gd name="connsiteY38" fmla="*/ 885826 h 1788318"/>
                    <a:gd name="connsiteX39" fmla="*/ 1895475 w 1993106"/>
                    <a:gd name="connsiteY39" fmla="*/ 781050 h 1788318"/>
                    <a:gd name="connsiteX40" fmla="*/ 1938337 w 1993106"/>
                    <a:gd name="connsiteY40" fmla="*/ 778669 h 1788318"/>
                    <a:gd name="connsiteX41" fmla="*/ 1993106 w 1993106"/>
                    <a:gd name="connsiteY41" fmla="*/ 728662 h 1788318"/>
                    <a:gd name="connsiteX42" fmla="*/ 1947862 w 1993106"/>
                    <a:gd name="connsiteY42" fmla="*/ 702469 h 1788318"/>
                    <a:gd name="connsiteX43" fmla="*/ 1897857 w 1993106"/>
                    <a:gd name="connsiteY43" fmla="*/ 711993 h 1788318"/>
                    <a:gd name="connsiteX44" fmla="*/ 1897857 w 1993106"/>
                    <a:gd name="connsiteY44" fmla="*/ 664369 h 1788318"/>
                    <a:gd name="connsiteX45" fmla="*/ 1776413 w 1993106"/>
                    <a:gd name="connsiteY45" fmla="*/ 654844 h 1788318"/>
                    <a:gd name="connsiteX46" fmla="*/ 1585913 w 1993106"/>
                    <a:gd name="connsiteY46" fmla="*/ 597694 h 1788318"/>
                    <a:gd name="connsiteX47" fmla="*/ 1226344 w 1993106"/>
                    <a:gd name="connsiteY47" fmla="*/ 600075 h 1788318"/>
                    <a:gd name="connsiteX48" fmla="*/ 1307306 w 1993106"/>
                    <a:gd name="connsiteY48" fmla="*/ 411956 h 1788318"/>
                    <a:gd name="connsiteX49" fmla="*/ 1212056 w 1993106"/>
                    <a:gd name="connsiteY49" fmla="*/ 361950 h 1788318"/>
                    <a:gd name="connsiteX50" fmla="*/ 1195388 w 1993106"/>
                    <a:gd name="connsiteY50" fmla="*/ 273844 h 1788318"/>
                    <a:gd name="connsiteX51" fmla="*/ 1147763 w 1993106"/>
                    <a:gd name="connsiteY51" fmla="*/ 273844 h 1788318"/>
                    <a:gd name="connsiteX52" fmla="*/ 1097756 w 1993106"/>
                    <a:gd name="connsiteY52" fmla="*/ 190499 h 1788318"/>
                    <a:gd name="connsiteX53" fmla="*/ 1050131 w 1993106"/>
                    <a:gd name="connsiteY53" fmla="*/ 176213 h 1788318"/>
                    <a:gd name="connsiteX54" fmla="*/ 1047750 w 1993106"/>
                    <a:gd name="connsiteY54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595313 w 1993106"/>
                    <a:gd name="connsiteY12" fmla="*/ 1514475 h 1788318"/>
                    <a:gd name="connsiteX13" fmla="*/ 759619 w 1993106"/>
                    <a:gd name="connsiteY13" fmla="*/ 1562100 h 1788318"/>
                    <a:gd name="connsiteX14" fmla="*/ 866775 w 1993106"/>
                    <a:gd name="connsiteY14" fmla="*/ 1597819 h 1788318"/>
                    <a:gd name="connsiteX15" fmla="*/ 1095375 w 1993106"/>
                    <a:gd name="connsiteY15" fmla="*/ 1714500 h 1788318"/>
                    <a:gd name="connsiteX16" fmla="*/ 1173956 w 1993106"/>
                    <a:gd name="connsiteY16" fmla="*/ 1697831 h 1788318"/>
                    <a:gd name="connsiteX17" fmla="*/ 1285875 w 1993106"/>
                    <a:gd name="connsiteY17" fmla="*/ 1774031 h 1788318"/>
                    <a:gd name="connsiteX18" fmla="*/ 1350169 w 1993106"/>
                    <a:gd name="connsiteY18" fmla="*/ 1788318 h 1788318"/>
                    <a:gd name="connsiteX19" fmla="*/ 1412081 w 1993106"/>
                    <a:gd name="connsiteY19" fmla="*/ 1716881 h 1788318"/>
                    <a:gd name="connsiteX20" fmla="*/ 1352550 w 1993106"/>
                    <a:gd name="connsiteY20" fmla="*/ 1671637 h 1788318"/>
                    <a:gd name="connsiteX21" fmla="*/ 1390650 w 1993106"/>
                    <a:gd name="connsiteY21" fmla="*/ 1652588 h 1788318"/>
                    <a:gd name="connsiteX22" fmla="*/ 1338263 w 1993106"/>
                    <a:gd name="connsiteY22" fmla="*/ 1602581 h 1788318"/>
                    <a:gd name="connsiteX23" fmla="*/ 1228725 w 1993106"/>
                    <a:gd name="connsiteY23" fmla="*/ 1462087 h 1788318"/>
                    <a:gd name="connsiteX24" fmla="*/ 1254919 w 1993106"/>
                    <a:gd name="connsiteY24" fmla="*/ 1426369 h 1788318"/>
                    <a:gd name="connsiteX25" fmla="*/ 1188245 w 1993106"/>
                    <a:gd name="connsiteY25" fmla="*/ 1350169 h 1788318"/>
                    <a:gd name="connsiteX26" fmla="*/ 1231106 w 1993106"/>
                    <a:gd name="connsiteY26" fmla="*/ 1278731 h 1788318"/>
                    <a:gd name="connsiteX27" fmla="*/ 1281113 w 1993106"/>
                    <a:gd name="connsiteY27" fmla="*/ 1245394 h 1788318"/>
                    <a:gd name="connsiteX28" fmla="*/ 1335881 w 1993106"/>
                    <a:gd name="connsiteY28" fmla="*/ 1271587 h 1788318"/>
                    <a:gd name="connsiteX29" fmla="*/ 1364456 w 1993106"/>
                    <a:gd name="connsiteY29" fmla="*/ 1228724 h 1788318"/>
                    <a:gd name="connsiteX30" fmla="*/ 1521618 w 1993106"/>
                    <a:gd name="connsiteY30" fmla="*/ 1219200 h 1788318"/>
                    <a:gd name="connsiteX31" fmla="*/ 1597819 w 1993106"/>
                    <a:gd name="connsiteY31" fmla="*/ 1233487 h 1788318"/>
                    <a:gd name="connsiteX32" fmla="*/ 1666875 w 1993106"/>
                    <a:gd name="connsiteY32" fmla="*/ 1202531 h 1788318"/>
                    <a:gd name="connsiteX33" fmla="*/ 1683544 w 1993106"/>
                    <a:gd name="connsiteY33" fmla="*/ 1152525 h 1788318"/>
                    <a:gd name="connsiteX34" fmla="*/ 1764506 w 1993106"/>
                    <a:gd name="connsiteY34" fmla="*/ 1126331 h 1788318"/>
                    <a:gd name="connsiteX35" fmla="*/ 1793082 w 1993106"/>
                    <a:gd name="connsiteY35" fmla="*/ 1052513 h 1788318"/>
                    <a:gd name="connsiteX36" fmla="*/ 1743075 w 1993106"/>
                    <a:gd name="connsiteY36" fmla="*/ 976312 h 1788318"/>
                    <a:gd name="connsiteX37" fmla="*/ 1797844 w 1993106"/>
                    <a:gd name="connsiteY37" fmla="*/ 912019 h 1788318"/>
                    <a:gd name="connsiteX38" fmla="*/ 1859756 w 1993106"/>
                    <a:gd name="connsiteY38" fmla="*/ 885826 h 1788318"/>
                    <a:gd name="connsiteX39" fmla="*/ 1895475 w 1993106"/>
                    <a:gd name="connsiteY39" fmla="*/ 781050 h 1788318"/>
                    <a:gd name="connsiteX40" fmla="*/ 1938337 w 1993106"/>
                    <a:gd name="connsiteY40" fmla="*/ 778669 h 1788318"/>
                    <a:gd name="connsiteX41" fmla="*/ 1993106 w 1993106"/>
                    <a:gd name="connsiteY41" fmla="*/ 728662 h 1788318"/>
                    <a:gd name="connsiteX42" fmla="*/ 1947862 w 1993106"/>
                    <a:gd name="connsiteY42" fmla="*/ 702469 h 1788318"/>
                    <a:gd name="connsiteX43" fmla="*/ 1897857 w 1993106"/>
                    <a:gd name="connsiteY43" fmla="*/ 711993 h 1788318"/>
                    <a:gd name="connsiteX44" fmla="*/ 1897857 w 1993106"/>
                    <a:gd name="connsiteY44" fmla="*/ 664369 h 1788318"/>
                    <a:gd name="connsiteX45" fmla="*/ 1776413 w 1993106"/>
                    <a:gd name="connsiteY45" fmla="*/ 654844 h 1788318"/>
                    <a:gd name="connsiteX46" fmla="*/ 1585913 w 1993106"/>
                    <a:gd name="connsiteY46" fmla="*/ 597694 h 1788318"/>
                    <a:gd name="connsiteX47" fmla="*/ 1226344 w 1993106"/>
                    <a:gd name="connsiteY47" fmla="*/ 600075 h 1788318"/>
                    <a:gd name="connsiteX48" fmla="*/ 1307306 w 1993106"/>
                    <a:gd name="connsiteY48" fmla="*/ 411956 h 1788318"/>
                    <a:gd name="connsiteX49" fmla="*/ 1212056 w 1993106"/>
                    <a:gd name="connsiteY49" fmla="*/ 361950 h 1788318"/>
                    <a:gd name="connsiteX50" fmla="*/ 1195388 w 1993106"/>
                    <a:gd name="connsiteY50" fmla="*/ 273844 h 1788318"/>
                    <a:gd name="connsiteX51" fmla="*/ 1147763 w 1993106"/>
                    <a:gd name="connsiteY51" fmla="*/ 273844 h 1788318"/>
                    <a:gd name="connsiteX52" fmla="*/ 1097756 w 1993106"/>
                    <a:gd name="connsiteY52" fmla="*/ 190499 h 1788318"/>
                    <a:gd name="connsiteX53" fmla="*/ 1050131 w 1993106"/>
                    <a:gd name="connsiteY53" fmla="*/ 176213 h 1788318"/>
                    <a:gd name="connsiteX54" fmla="*/ 1047750 w 1993106"/>
                    <a:gd name="connsiteY54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595313 w 1993106"/>
                    <a:gd name="connsiteY12" fmla="*/ 1514475 h 1788318"/>
                    <a:gd name="connsiteX13" fmla="*/ 759619 w 1993106"/>
                    <a:gd name="connsiteY13" fmla="*/ 1562100 h 1788318"/>
                    <a:gd name="connsiteX14" fmla="*/ 988219 w 1993106"/>
                    <a:gd name="connsiteY14" fmla="*/ 1721644 h 1788318"/>
                    <a:gd name="connsiteX15" fmla="*/ 1095375 w 1993106"/>
                    <a:gd name="connsiteY15" fmla="*/ 1714500 h 1788318"/>
                    <a:gd name="connsiteX16" fmla="*/ 1173956 w 1993106"/>
                    <a:gd name="connsiteY16" fmla="*/ 1697831 h 1788318"/>
                    <a:gd name="connsiteX17" fmla="*/ 1285875 w 1993106"/>
                    <a:gd name="connsiteY17" fmla="*/ 1774031 h 1788318"/>
                    <a:gd name="connsiteX18" fmla="*/ 1350169 w 1993106"/>
                    <a:gd name="connsiteY18" fmla="*/ 1788318 h 1788318"/>
                    <a:gd name="connsiteX19" fmla="*/ 1412081 w 1993106"/>
                    <a:gd name="connsiteY19" fmla="*/ 1716881 h 1788318"/>
                    <a:gd name="connsiteX20" fmla="*/ 1352550 w 1993106"/>
                    <a:gd name="connsiteY20" fmla="*/ 1671637 h 1788318"/>
                    <a:gd name="connsiteX21" fmla="*/ 1390650 w 1993106"/>
                    <a:gd name="connsiteY21" fmla="*/ 1652588 h 1788318"/>
                    <a:gd name="connsiteX22" fmla="*/ 1338263 w 1993106"/>
                    <a:gd name="connsiteY22" fmla="*/ 1602581 h 1788318"/>
                    <a:gd name="connsiteX23" fmla="*/ 1228725 w 1993106"/>
                    <a:gd name="connsiteY23" fmla="*/ 1462087 h 1788318"/>
                    <a:gd name="connsiteX24" fmla="*/ 1254919 w 1993106"/>
                    <a:gd name="connsiteY24" fmla="*/ 1426369 h 1788318"/>
                    <a:gd name="connsiteX25" fmla="*/ 1188245 w 1993106"/>
                    <a:gd name="connsiteY25" fmla="*/ 1350169 h 1788318"/>
                    <a:gd name="connsiteX26" fmla="*/ 1231106 w 1993106"/>
                    <a:gd name="connsiteY26" fmla="*/ 1278731 h 1788318"/>
                    <a:gd name="connsiteX27" fmla="*/ 1281113 w 1993106"/>
                    <a:gd name="connsiteY27" fmla="*/ 1245394 h 1788318"/>
                    <a:gd name="connsiteX28" fmla="*/ 1335881 w 1993106"/>
                    <a:gd name="connsiteY28" fmla="*/ 1271587 h 1788318"/>
                    <a:gd name="connsiteX29" fmla="*/ 1364456 w 1993106"/>
                    <a:gd name="connsiteY29" fmla="*/ 1228724 h 1788318"/>
                    <a:gd name="connsiteX30" fmla="*/ 1521618 w 1993106"/>
                    <a:gd name="connsiteY30" fmla="*/ 1219200 h 1788318"/>
                    <a:gd name="connsiteX31" fmla="*/ 1597819 w 1993106"/>
                    <a:gd name="connsiteY31" fmla="*/ 1233487 h 1788318"/>
                    <a:gd name="connsiteX32" fmla="*/ 1666875 w 1993106"/>
                    <a:gd name="connsiteY32" fmla="*/ 1202531 h 1788318"/>
                    <a:gd name="connsiteX33" fmla="*/ 1683544 w 1993106"/>
                    <a:gd name="connsiteY33" fmla="*/ 1152525 h 1788318"/>
                    <a:gd name="connsiteX34" fmla="*/ 1764506 w 1993106"/>
                    <a:gd name="connsiteY34" fmla="*/ 1126331 h 1788318"/>
                    <a:gd name="connsiteX35" fmla="*/ 1793082 w 1993106"/>
                    <a:gd name="connsiteY35" fmla="*/ 1052513 h 1788318"/>
                    <a:gd name="connsiteX36" fmla="*/ 1743075 w 1993106"/>
                    <a:gd name="connsiteY36" fmla="*/ 976312 h 1788318"/>
                    <a:gd name="connsiteX37" fmla="*/ 1797844 w 1993106"/>
                    <a:gd name="connsiteY37" fmla="*/ 912019 h 1788318"/>
                    <a:gd name="connsiteX38" fmla="*/ 1859756 w 1993106"/>
                    <a:gd name="connsiteY38" fmla="*/ 885826 h 1788318"/>
                    <a:gd name="connsiteX39" fmla="*/ 1895475 w 1993106"/>
                    <a:gd name="connsiteY39" fmla="*/ 781050 h 1788318"/>
                    <a:gd name="connsiteX40" fmla="*/ 1938337 w 1993106"/>
                    <a:gd name="connsiteY40" fmla="*/ 778669 h 1788318"/>
                    <a:gd name="connsiteX41" fmla="*/ 1993106 w 1993106"/>
                    <a:gd name="connsiteY41" fmla="*/ 728662 h 1788318"/>
                    <a:gd name="connsiteX42" fmla="*/ 1947862 w 1993106"/>
                    <a:gd name="connsiteY42" fmla="*/ 702469 h 1788318"/>
                    <a:gd name="connsiteX43" fmla="*/ 1897857 w 1993106"/>
                    <a:gd name="connsiteY43" fmla="*/ 711993 h 1788318"/>
                    <a:gd name="connsiteX44" fmla="*/ 1897857 w 1993106"/>
                    <a:gd name="connsiteY44" fmla="*/ 664369 h 1788318"/>
                    <a:gd name="connsiteX45" fmla="*/ 1776413 w 1993106"/>
                    <a:gd name="connsiteY45" fmla="*/ 654844 h 1788318"/>
                    <a:gd name="connsiteX46" fmla="*/ 1585913 w 1993106"/>
                    <a:gd name="connsiteY46" fmla="*/ 597694 h 1788318"/>
                    <a:gd name="connsiteX47" fmla="*/ 1226344 w 1993106"/>
                    <a:gd name="connsiteY47" fmla="*/ 600075 h 1788318"/>
                    <a:gd name="connsiteX48" fmla="*/ 1307306 w 1993106"/>
                    <a:gd name="connsiteY48" fmla="*/ 411956 h 1788318"/>
                    <a:gd name="connsiteX49" fmla="*/ 1212056 w 1993106"/>
                    <a:gd name="connsiteY49" fmla="*/ 361950 h 1788318"/>
                    <a:gd name="connsiteX50" fmla="*/ 1195388 w 1993106"/>
                    <a:gd name="connsiteY50" fmla="*/ 273844 h 1788318"/>
                    <a:gd name="connsiteX51" fmla="*/ 1147763 w 1993106"/>
                    <a:gd name="connsiteY51" fmla="*/ 273844 h 1788318"/>
                    <a:gd name="connsiteX52" fmla="*/ 1097756 w 1993106"/>
                    <a:gd name="connsiteY52" fmla="*/ 190499 h 1788318"/>
                    <a:gd name="connsiteX53" fmla="*/ 1050131 w 1993106"/>
                    <a:gd name="connsiteY53" fmla="*/ 176213 h 1788318"/>
                    <a:gd name="connsiteX54" fmla="*/ 1047750 w 1993106"/>
                    <a:gd name="connsiteY54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595313 w 1993106"/>
                    <a:gd name="connsiteY12" fmla="*/ 1514475 h 1788318"/>
                    <a:gd name="connsiteX13" fmla="*/ 773907 w 1993106"/>
                    <a:gd name="connsiteY13" fmla="*/ 1631157 h 1788318"/>
                    <a:gd name="connsiteX14" fmla="*/ 988219 w 1993106"/>
                    <a:gd name="connsiteY14" fmla="*/ 1721644 h 1788318"/>
                    <a:gd name="connsiteX15" fmla="*/ 1095375 w 1993106"/>
                    <a:gd name="connsiteY15" fmla="*/ 1714500 h 1788318"/>
                    <a:gd name="connsiteX16" fmla="*/ 1173956 w 1993106"/>
                    <a:gd name="connsiteY16" fmla="*/ 1697831 h 1788318"/>
                    <a:gd name="connsiteX17" fmla="*/ 1285875 w 1993106"/>
                    <a:gd name="connsiteY17" fmla="*/ 1774031 h 1788318"/>
                    <a:gd name="connsiteX18" fmla="*/ 1350169 w 1993106"/>
                    <a:gd name="connsiteY18" fmla="*/ 1788318 h 1788318"/>
                    <a:gd name="connsiteX19" fmla="*/ 1412081 w 1993106"/>
                    <a:gd name="connsiteY19" fmla="*/ 1716881 h 1788318"/>
                    <a:gd name="connsiteX20" fmla="*/ 1352550 w 1993106"/>
                    <a:gd name="connsiteY20" fmla="*/ 1671637 h 1788318"/>
                    <a:gd name="connsiteX21" fmla="*/ 1390650 w 1993106"/>
                    <a:gd name="connsiteY21" fmla="*/ 1652588 h 1788318"/>
                    <a:gd name="connsiteX22" fmla="*/ 1338263 w 1993106"/>
                    <a:gd name="connsiteY22" fmla="*/ 1602581 h 1788318"/>
                    <a:gd name="connsiteX23" fmla="*/ 1228725 w 1993106"/>
                    <a:gd name="connsiteY23" fmla="*/ 1462087 h 1788318"/>
                    <a:gd name="connsiteX24" fmla="*/ 1254919 w 1993106"/>
                    <a:gd name="connsiteY24" fmla="*/ 1426369 h 1788318"/>
                    <a:gd name="connsiteX25" fmla="*/ 1188245 w 1993106"/>
                    <a:gd name="connsiteY25" fmla="*/ 1350169 h 1788318"/>
                    <a:gd name="connsiteX26" fmla="*/ 1231106 w 1993106"/>
                    <a:gd name="connsiteY26" fmla="*/ 1278731 h 1788318"/>
                    <a:gd name="connsiteX27" fmla="*/ 1281113 w 1993106"/>
                    <a:gd name="connsiteY27" fmla="*/ 1245394 h 1788318"/>
                    <a:gd name="connsiteX28" fmla="*/ 1335881 w 1993106"/>
                    <a:gd name="connsiteY28" fmla="*/ 1271587 h 1788318"/>
                    <a:gd name="connsiteX29" fmla="*/ 1364456 w 1993106"/>
                    <a:gd name="connsiteY29" fmla="*/ 1228724 h 1788318"/>
                    <a:gd name="connsiteX30" fmla="*/ 1521618 w 1993106"/>
                    <a:gd name="connsiteY30" fmla="*/ 1219200 h 1788318"/>
                    <a:gd name="connsiteX31" fmla="*/ 1597819 w 1993106"/>
                    <a:gd name="connsiteY31" fmla="*/ 1233487 h 1788318"/>
                    <a:gd name="connsiteX32" fmla="*/ 1666875 w 1993106"/>
                    <a:gd name="connsiteY32" fmla="*/ 1202531 h 1788318"/>
                    <a:gd name="connsiteX33" fmla="*/ 1683544 w 1993106"/>
                    <a:gd name="connsiteY33" fmla="*/ 1152525 h 1788318"/>
                    <a:gd name="connsiteX34" fmla="*/ 1764506 w 1993106"/>
                    <a:gd name="connsiteY34" fmla="*/ 1126331 h 1788318"/>
                    <a:gd name="connsiteX35" fmla="*/ 1793082 w 1993106"/>
                    <a:gd name="connsiteY35" fmla="*/ 1052513 h 1788318"/>
                    <a:gd name="connsiteX36" fmla="*/ 1743075 w 1993106"/>
                    <a:gd name="connsiteY36" fmla="*/ 976312 h 1788318"/>
                    <a:gd name="connsiteX37" fmla="*/ 1797844 w 1993106"/>
                    <a:gd name="connsiteY37" fmla="*/ 912019 h 1788318"/>
                    <a:gd name="connsiteX38" fmla="*/ 1859756 w 1993106"/>
                    <a:gd name="connsiteY38" fmla="*/ 885826 h 1788318"/>
                    <a:gd name="connsiteX39" fmla="*/ 1895475 w 1993106"/>
                    <a:gd name="connsiteY39" fmla="*/ 781050 h 1788318"/>
                    <a:gd name="connsiteX40" fmla="*/ 1938337 w 1993106"/>
                    <a:gd name="connsiteY40" fmla="*/ 778669 h 1788318"/>
                    <a:gd name="connsiteX41" fmla="*/ 1993106 w 1993106"/>
                    <a:gd name="connsiteY41" fmla="*/ 728662 h 1788318"/>
                    <a:gd name="connsiteX42" fmla="*/ 1947862 w 1993106"/>
                    <a:gd name="connsiteY42" fmla="*/ 702469 h 1788318"/>
                    <a:gd name="connsiteX43" fmla="*/ 1897857 w 1993106"/>
                    <a:gd name="connsiteY43" fmla="*/ 711993 h 1788318"/>
                    <a:gd name="connsiteX44" fmla="*/ 1897857 w 1993106"/>
                    <a:gd name="connsiteY44" fmla="*/ 664369 h 1788318"/>
                    <a:gd name="connsiteX45" fmla="*/ 1776413 w 1993106"/>
                    <a:gd name="connsiteY45" fmla="*/ 654844 h 1788318"/>
                    <a:gd name="connsiteX46" fmla="*/ 1585913 w 1993106"/>
                    <a:gd name="connsiteY46" fmla="*/ 597694 h 1788318"/>
                    <a:gd name="connsiteX47" fmla="*/ 1226344 w 1993106"/>
                    <a:gd name="connsiteY47" fmla="*/ 600075 h 1788318"/>
                    <a:gd name="connsiteX48" fmla="*/ 1307306 w 1993106"/>
                    <a:gd name="connsiteY48" fmla="*/ 411956 h 1788318"/>
                    <a:gd name="connsiteX49" fmla="*/ 1212056 w 1993106"/>
                    <a:gd name="connsiteY49" fmla="*/ 361950 h 1788318"/>
                    <a:gd name="connsiteX50" fmla="*/ 1195388 w 1993106"/>
                    <a:gd name="connsiteY50" fmla="*/ 273844 h 1788318"/>
                    <a:gd name="connsiteX51" fmla="*/ 1147763 w 1993106"/>
                    <a:gd name="connsiteY51" fmla="*/ 273844 h 1788318"/>
                    <a:gd name="connsiteX52" fmla="*/ 1097756 w 1993106"/>
                    <a:gd name="connsiteY52" fmla="*/ 190499 h 1788318"/>
                    <a:gd name="connsiteX53" fmla="*/ 1050131 w 1993106"/>
                    <a:gd name="connsiteY53" fmla="*/ 176213 h 1788318"/>
                    <a:gd name="connsiteX54" fmla="*/ 1047750 w 1993106"/>
                    <a:gd name="connsiteY54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592931 w 1993106"/>
                    <a:gd name="connsiteY12" fmla="*/ 1535906 h 1788318"/>
                    <a:gd name="connsiteX13" fmla="*/ 773907 w 1993106"/>
                    <a:gd name="connsiteY13" fmla="*/ 1631157 h 1788318"/>
                    <a:gd name="connsiteX14" fmla="*/ 988219 w 1993106"/>
                    <a:gd name="connsiteY14" fmla="*/ 1721644 h 1788318"/>
                    <a:gd name="connsiteX15" fmla="*/ 1095375 w 1993106"/>
                    <a:gd name="connsiteY15" fmla="*/ 1714500 h 1788318"/>
                    <a:gd name="connsiteX16" fmla="*/ 1173956 w 1993106"/>
                    <a:gd name="connsiteY16" fmla="*/ 1697831 h 1788318"/>
                    <a:gd name="connsiteX17" fmla="*/ 1285875 w 1993106"/>
                    <a:gd name="connsiteY17" fmla="*/ 1774031 h 1788318"/>
                    <a:gd name="connsiteX18" fmla="*/ 1350169 w 1993106"/>
                    <a:gd name="connsiteY18" fmla="*/ 1788318 h 1788318"/>
                    <a:gd name="connsiteX19" fmla="*/ 1412081 w 1993106"/>
                    <a:gd name="connsiteY19" fmla="*/ 1716881 h 1788318"/>
                    <a:gd name="connsiteX20" fmla="*/ 1352550 w 1993106"/>
                    <a:gd name="connsiteY20" fmla="*/ 1671637 h 1788318"/>
                    <a:gd name="connsiteX21" fmla="*/ 1390650 w 1993106"/>
                    <a:gd name="connsiteY21" fmla="*/ 1652588 h 1788318"/>
                    <a:gd name="connsiteX22" fmla="*/ 1338263 w 1993106"/>
                    <a:gd name="connsiteY22" fmla="*/ 1602581 h 1788318"/>
                    <a:gd name="connsiteX23" fmla="*/ 1228725 w 1993106"/>
                    <a:gd name="connsiteY23" fmla="*/ 1462087 h 1788318"/>
                    <a:gd name="connsiteX24" fmla="*/ 1254919 w 1993106"/>
                    <a:gd name="connsiteY24" fmla="*/ 1426369 h 1788318"/>
                    <a:gd name="connsiteX25" fmla="*/ 1188245 w 1993106"/>
                    <a:gd name="connsiteY25" fmla="*/ 1350169 h 1788318"/>
                    <a:gd name="connsiteX26" fmla="*/ 1231106 w 1993106"/>
                    <a:gd name="connsiteY26" fmla="*/ 1278731 h 1788318"/>
                    <a:gd name="connsiteX27" fmla="*/ 1281113 w 1993106"/>
                    <a:gd name="connsiteY27" fmla="*/ 1245394 h 1788318"/>
                    <a:gd name="connsiteX28" fmla="*/ 1335881 w 1993106"/>
                    <a:gd name="connsiteY28" fmla="*/ 1271587 h 1788318"/>
                    <a:gd name="connsiteX29" fmla="*/ 1364456 w 1993106"/>
                    <a:gd name="connsiteY29" fmla="*/ 1228724 h 1788318"/>
                    <a:gd name="connsiteX30" fmla="*/ 1521618 w 1993106"/>
                    <a:gd name="connsiteY30" fmla="*/ 1219200 h 1788318"/>
                    <a:gd name="connsiteX31" fmla="*/ 1597819 w 1993106"/>
                    <a:gd name="connsiteY31" fmla="*/ 1233487 h 1788318"/>
                    <a:gd name="connsiteX32" fmla="*/ 1666875 w 1993106"/>
                    <a:gd name="connsiteY32" fmla="*/ 1202531 h 1788318"/>
                    <a:gd name="connsiteX33" fmla="*/ 1683544 w 1993106"/>
                    <a:gd name="connsiteY33" fmla="*/ 1152525 h 1788318"/>
                    <a:gd name="connsiteX34" fmla="*/ 1764506 w 1993106"/>
                    <a:gd name="connsiteY34" fmla="*/ 1126331 h 1788318"/>
                    <a:gd name="connsiteX35" fmla="*/ 1793082 w 1993106"/>
                    <a:gd name="connsiteY35" fmla="*/ 1052513 h 1788318"/>
                    <a:gd name="connsiteX36" fmla="*/ 1743075 w 1993106"/>
                    <a:gd name="connsiteY36" fmla="*/ 976312 h 1788318"/>
                    <a:gd name="connsiteX37" fmla="*/ 1797844 w 1993106"/>
                    <a:gd name="connsiteY37" fmla="*/ 912019 h 1788318"/>
                    <a:gd name="connsiteX38" fmla="*/ 1859756 w 1993106"/>
                    <a:gd name="connsiteY38" fmla="*/ 885826 h 1788318"/>
                    <a:gd name="connsiteX39" fmla="*/ 1895475 w 1993106"/>
                    <a:gd name="connsiteY39" fmla="*/ 781050 h 1788318"/>
                    <a:gd name="connsiteX40" fmla="*/ 1938337 w 1993106"/>
                    <a:gd name="connsiteY40" fmla="*/ 778669 h 1788318"/>
                    <a:gd name="connsiteX41" fmla="*/ 1993106 w 1993106"/>
                    <a:gd name="connsiteY41" fmla="*/ 728662 h 1788318"/>
                    <a:gd name="connsiteX42" fmla="*/ 1947862 w 1993106"/>
                    <a:gd name="connsiteY42" fmla="*/ 702469 h 1788318"/>
                    <a:gd name="connsiteX43" fmla="*/ 1897857 w 1993106"/>
                    <a:gd name="connsiteY43" fmla="*/ 711993 h 1788318"/>
                    <a:gd name="connsiteX44" fmla="*/ 1897857 w 1993106"/>
                    <a:gd name="connsiteY44" fmla="*/ 664369 h 1788318"/>
                    <a:gd name="connsiteX45" fmla="*/ 1776413 w 1993106"/>
                    <a:gd name="connsiteY45" fmla="*/ 654844 h 1788318"/>
                    <a:gd name="connsiteX46" fmla="*/ 1585913 w 1993106"/>
                    <a:gd name="connsiteY46" fmla="*/ 597694 h 1788318"/>
                    <a:gd name="connsiteX47" fmla="*/ 1226344 w 1993106"/>
                    <a:gd name="connsiteY47" fmla="*/ 600075 h 1788318"/>
                    <a:gd name="connsiteX48" fmla="*/ 1307306 w 1993106"/>
                    <a:gd name="connsiteY48" fmla="*/ 411956 h 1788318"/>
                    <a:gd name="connsiteX49" fmla="*/ 1212056 w 1993106"/>
                    <a:gd name="connsiteY49" fmla="*/ 361950 h 1788318"/>
                    <a:gd name="connsiteX50" fmla="*/ 1195388 w 1993106"/>
                    <a:gd name="connsiteY50" fmla="*/ 273844 h 1788318"/>
                    <a:gd name="connsiteX51" fmla="*/ 1147763 w 1993106"/>
                    <a:gd name="connsiteY51" fmla="*/ 273844 h 1788318"/>
                    <a:gd name="connsiteX52" fmla="*/ 1097756 w 1993106"/>
                    <a:gd name="connsiteY52" fmla="*/ 190499 h 1788318"/>
                    <a:gd name="connsiteX53" fmla="*/ 1050131 w 1993106"/>
                    <a:gd name="connsiteY53" fmla="*/ 176213 h 1788318"/>
                    <a:gd name="connsiteX54" fmla="*/ 1047750 w 1993106"/>
                    <a:gd name="connsiteY54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371475 w 1993106"/>
                    <a:gd name="connsiteY12" fmla="*/ 1412081 h 1788318"/>
                    <a:gd name="connsiteX13" fmla="*/ 592931 w 1993106"/>
                    <a:gd name="connsiteY13" fmla="*/ 1535906 h 1788318"/>
                    <a:gd name="connsiteX14" fmla="*/ 773907 w 1993106"/>
                    <a:gd name="connsiteY14" fmla="*/ 1631157 h 1788318"/>
                    <a:gd name="connsiteX15" fmla="*/ 988219 w 1993106"/>
                    <a:gd name="connsiteY15" fmla="*/ 1721644 h 1788318"/>
                    <a:gd name="connsiteX16" fmla="*/ 1095375 w 1993106"/>
                    <a:gd name="connsiteY16" fmla="*/ 1714500 h 1788318"/>
                    <a:gd name="connsiteX17" fmla="*/ 1173956 w 1993106"/>
                    <a:gd name="connsiteY17" fmla="*/ 1697831 h 1788318"/>
                    <a:gd name="connsiteX18" fmla="*/ 1285875 w 1993106"/>
                    <a:gd name="connsiteY18" fmla="*/ 1774031 h 1788318"/>
                    <a:gd name="connsiteX19" fmla="*/ 1350169 w 1993106"/>
                    <a:gd name="connsiteY19" fmla="*/ 1788318 h 1788318"/>
                    <a:gd name="connsiteX20" fmla="*/ 1412081 w 1993106"/>
                    <a:gd name="connsiteY20" fmla="*/ 1716881 h 1788318"/>
                    <a:gd name="connsiteX21" fmla="*/ 1352550 w 1993106"/>
                    <a:gd name="connsiteY21" fmla="*/ 1671637 h 1788318"/>
                    <a:gd name="connsiteX22" fmla="*/ 1390650 w 1993106"/>
                    <a:gd name="connsiteY22" fmla="*/ 1652588 h 1788318"/>
                    <a:gd name="connsiteX23" fmla="*/ 1338263 w 1993106"/>
                    <a:gd name="connsiteY23" fmla="*/ 1602581 h 1788318"/>
                    <a:gd name="connsiteX24" fmla="*/ 1228725 w 1993106"/>
                    <a:gd name="connsiteY24" fmla="*/ 1462087 h 1788318"/>
                    <a:gd name="connsiteX25" fmla="*/ 1254919 w 1993106"/>
                    <a:gd name="connsiteY25" fmla="*/ 1426369 h 1788318"/>
                    <a:gd name="connsiteX26" fmla="*/ 1188245 w 1993106"/>
                    <a:gd name="connsiteY26" fmla="*/ 1350169 h 1788318"/>
                    <a:gd name="connsiteX27" fmla="*/ 1231106 w 1993106"/>
                    <a:gd name="connsiteY27" fmla="*/ 1278731 h 1788318"/>
                    <a:gd name="connsiteX28" fmla="*/ 1281113 w 1993106"/>
                    <a:gd name="connsiteY28" fmla="*/ 1245394 h 1788318"/>
                    <a:gd name="connsiteX29" fmla="*/ 1335881 w 1993106"/>
                    <a:gd name="connsiteY29" fmla="*/ 1271587 h 1788318"/>
                    <a:gd name="connsiteX30" fmla="*/ 1364456 w 1993106"/>
                    <a:gd name="connsiteY30" fmla="*/ 1228724 h 1788318"/>
                    <a:gd name="connsiteX31" fmla="*/ 1521618 w 1993106"/>
                    <a:gd name="connsiteY31" fmla="*/ 1219200 h 1788318"/>
                    <a:gd name="connsiteX32" fmla="*/ 1597819 w 1993106"/>
                    <a:gd name="connsiteY32" fmla="*/ 1233487 h 1788318"/>
                    <a:gd name="connsiteX33" fmla="*/ 1666875 w 1993106"/>
                    <a:gd name="connsiteY33" fmla="*/ 1202531 h 1788318"/>
                    <a:gd name="connsiteX34" fmla="*/ 1683544 w 1993106"/>
                    <a:gd name="connsiteY34" fmla="*/ 1152525 h 1788318"/>
                    <a:gd name="connsiteX35" fmla="*/ 1764506 w 1993106"/>
                    <a:gd name="connsiteY35" fmla="*/ 1126331 h 1788318"/>
                    <a:gd name="connsiteX36" fmla="*/ 1793082 w 1993106"/>
                    <a:gd name="connsiteY36" fmla="*/ 1052513 h 1788318"/>
                    <a:gd name="connsiteX37" fmla="*/ 1743075 w 1993106"/>
                    <a:gd name="connsiteY37" fmla="*/ 976312 h 1788318"/>
                    <a:gd name="connsiteX38" fmla="*/ 1797844 w 1993106"/>
                    <a:gd name="connsiteY38" fmla="*/ 912019 h 1788318"/>
                    <a:gd name="connsiteX39" fmla="*/ 1859756 w 1993106"/>
                    <a:gd name="connsiteY39" fmla="*/ 885826 h 1788318"/>
                    <a:gd name="connsiteX40" fmla="*/ 1895475 w 1993106"/>
                    <a:gd name="connsiteY40" fmla="*/ 781050 h 1788318"/>
                    <a:gd name="connsiteX41" fmla="*/ 1938337 w 1993106"/>
                    <a:gd name="connsiteY41" fmla="*/ 778669 h 1788318"/>
                    <a:gd name="connsiteX42" fmla="*/ 1993106 w 1993106"/>
                    <a:gd name="connsiteY42" fmla="*/ 728662 h 1788318"/>
                    <a:gd name="connsiteX43" fmla="*/ 1947862 w 1993106"/>
                    <a:gd name="connsiteY43" fmla="*/ 702469 h 1788318"/>
                    <a:gd name="connsiteX44" fmla="*/ 1897857 w 1993106"/>
                    <a:gd name="connsiteY44" fmla="*/ 711993 h 1788318"/>
                    <a:gd name="connsiteX45" fmla="*/ 1897857 w 1993106"/>
                    <a:gd name="connsiteY45" fmla="*/ 664369 h 1788318"/>
                    <a:gd name="connsiteX46" fmla="*/ 1776413 w 1993106"/>
                    <a:gd name="connsiteY46" fmla="*/ 654844 h 1788318"/>
                    <a:gd name="connsiteX47" fmla="*/ 1585913 w 1993106"/>
                    <a:gd name="connsiteY47" fmla="*/ 597694 h 1788318"/>
                    <a:gd name="connsiteX48" fmla="*/ 1226344 w 1993106"/>
                    <a:gd name="connsiteY48" fmla="*/ 600075 h 1788318"/>
                    <a:gd name="connsiteX49" fmla="*/ 1307306 w 1993106"/>
                    <a:gd name="connsiteY49" fmla="*/ 411956 h 1788318"/>
                    <a:gd name="connsiteX50" fmla="*/ 1212056 w 1993106"/>
                    <a:gd name="connsiteY50" fmla="*/ 361950 h 1788318"/>
                    <a:gd name="connsiteX51" fmla="*/ 1195388 w 1993106"/>
                    <a:gd name="connsiteY51" fmla="*/ 273844 h 1788318"/>
                    <a:gd name="connsiteX52" fmla="*/ 1147763 w 1993106"/>
                    <a:gd name="connsiteY52" fmla="*/ 273844 h 1788318"/>
                    <a:gd name="connsiteX53" fmla="*/ 1097756 w 1993106"/>
                    <a:gd name="connsiteY53" fmla="*/ 190499 h 1788318"/>
                    <a:gd name="connsiteX54" fmla="*/ 1050131 w 1993106"/>
                    <a:gd name="connsiteY54" fmla="*/ 176213 h 1788318"/>
                    <a:gd name="connsiteX55" fmla="*/ 1047750 w 1993106"/>
                    <a:gd name="connsiteY55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371475 w 1993106"/>
                    <a:gd name="connsiteY12" fmla="*/ 1412081 h 1788318"/>
                    <a:gd name="connsiteX13" fmla="*/ 442913 w 1993106"/>
                    <a:gd name="connsiteY13" fmla="*/ 1497806 h 1788318"/>
                    <a:gd name="connsiteX14" fmla="*/ 592931 w 1993106"/>
                    <a:gd name="connsiteY14" fmla="*/ 1535906 h 1788318"/>
                    <a:gd name="connsiteX15" fmla="*/ 773907 w 1993106"/>
                    <a:gd name="connsiteY15" fmla="*/ 1631157 h 1788318"/>
                    <a:gd name="connsiteX16" fmla="*/ 988219 w 1993106"/>
                    <a:gd name="connsiteY16" fmla="*/ 1721644 h 1788318"/>
                    <a:gd name="connsiteX17" fmla="*/ 1095375 w 1993106"/>
                    <a:gd name="connsiteY17" fmla="*/ 1714500 h 1788318"/>
                    <a:gd name="connsiteX18" fmla="*/ 1173956 w 1993106"/>
                    <a:gd name="connsiteY18" fmla="*/ 1697831 h 1788318"/>
                    <a:gd name="connsiteX19" fmla="*/ 1285875 w 1993106"/>
                    <a:gd name="connsiteY19" fmla="*/ 1774031 h 1788318"/>
                    <a:gd name="connsiteX20" fmla="*/ 1350169 w 1993106"/>
                    <a:gd name="connsiteY20" fmla="*/ 1788318 h 1788318"/>
                    <a:gd name="connsiteX21" fmla="*/ 1412081 w 1993106"/>
                    <a:gd name="connsiteY21" fmla="*/ 1716881 h 1788318"/>
                    <a:gd name="connsiteX22" fmla="*/ 1352550 w 1993106"/>
                    <a:gd name="connsiteY22" fmla="*/ 1671637 h 1788318"/>
                    <a:gd name="connsiteX23" fmla="*/ 1390650 w 1993106"/>
                    <a:gd name="connsiteY23" fmla="*/ 1652588 h 1788318"/>
                    <a:gd name="connsiteX24" fmla="*/ 1338263 w 1993106"/>
                    <a:gd name="connsiteY24" fmla="*/ 1602581 h 1788318"/>
                    <a:gd name="connsiteX25" fmla="*/ 1228725 w 1993106"/>
                    <a:gd name="connsiteY25" fmla="*/ 1462087 h 1788318"/>
                    <a:gd name="connsiteX26" fmla="*/ 1254919 w 1993106"/>
                    <a:gd name="connsiteY26" fmla="*/ 1426369 h 1788318"/>
                    <a:gd name="connsiteX27" fmla="*/ 1188245 w 1993106"/>
                    <a:gd name="connsiteY27" fmla="*/ 1350169 h 1788318"/>
                    <a:gd name="connsiteX28" fmla="*/ 1231106 w 1993106"/>
                    <a:gd name="connsiteY28" fmla="*/ 1278731 h 1788318"/>
                    <a:gd name="connsiteX29" fmla="*/ 1281113 w 1993106"/>
                    <a:gd name="connsiteY29" fmla="*/ 1245394 h 1788318"/>
                    <a:gd name="connsiteX30" fmla="*/ 1335881 w 1993106"/>
                    <a:gd name="connsiteY30" fmla="*/ 1271587 h 1788318"/>
                    <a:gd name="connsiteX31" fmla="*/ 1364456 w 1993106"/>
                    <a:gd name="connsiteY31" fmla="*/ 1228724 h 1788318"/>
                    <a:gd name="connsiteX32" fmla="*/ 1521618 w 1993106"/>
                    <a:gd name="connsiteY32" fmla="*/ 1219200 h 1788318"/>
                    <a:gd name="connsiteX33" fmla="*/ 1597819 w 1993106"/>
                    <a:gd name="connsiteY33" fmla="*/ 1233487 h 1788318"/>
                    <a:gd name="connsiteX34" fmla="*/ 1666875 w 1993106"/>
                    <a:gd name="connsiteY34" fmla="*/ 1202531 h 1788318"/>
                    <a:gd name="connsiteX35" fmla="*/ 1683544 w 1993106"/>
                    <a:gd name="connsiteY35" fmla="*/ 1152525 h 1788318"/>
                    <a:gd name="connsiteX36" fmla="*/ 1764506 w 1993106"/>
                    <a:gd name="connsiteY36" fmla="*/ 1126331 h 1788318"/>
                    <a:gd name="connsiteX37" fmla="*/ 1793082 w 1993106"/>
                    <a:gd name="connsiteY37" fmla="*/ 1052513 h 1788318"/>
                    <a:gd name="connsiteX38" fmla="*/ 1743075 w 1993106"/>
                    <a:gd name="connsiteY38" fmla="*/ 976312 h 1788318"/>
                    <a:gd name="connsiteX39" fmla="*/ 1797844 w 1993106"/>
                    <a:gd name="connsiteY39" fmla="*/ 912019 h 1788318"/>
                    <a:gd name="connsiteX40" fmla="*/ 1859756 w 1993106"/>
                    <a:gd name="connsiteY40" fmla="*/ 885826 h 1788318"/>
                    <a:gd name="connsiteX41" fmla="*/ 1895475 w 1993106"/>
                    <a:gd name="connsiteY41" fmla="*/ 781050 h 1788318"/>
                    <a:gd name="connsiteX42" fmla="*/ 1938337 w 1993106"/>
                    <a:gd name="connsiteY42" fmla="*/ 778669 h 1788318"/>
                    <a:gd name="connsiteX43" fmla="*/ 1993106 w 1993106"/>
                    <a:gd name="connsiteY43" fmla="*/ 728662 h 1788318"/>
                    <a:gd name="connsiteX44" fmla="*/ 1947862 w 1993106"/>
                    <a:gd name="connsiteY44" fmla="*/ 702469 h 1788318"/>
                    <a:gd name="connsiteX45" fmla="*/ 1897857 w 1993106"/>
                    <a:gd name="connsiteY45" fmla="*/ 711993 h 1788318"/>
                    <a:gd name="connsiteX46" fmla="*/ 1897857 w 1993106"/>
                    <a:gd name="connsiteY46" fmla="*/ 664369 h 1788318"/>
                    <a:gd name="connsiteX47" fmla="*/ 1776413 w 1993106"/>
                    <a:gd name="connsiteY47" fmla="*/ 654844 h 1788318"/>
                    <a:gd name="connsiteX48" fmla="*/ 1585913 w 1993106"/>
                    <a:gd name="connsiteY48" fmla="*/ 597694 h 1788318"/>
                    <a:gd name="connsiteX49" fmla="*/ 1226344 w 1993106"/>
                    <a:gd name="connsiteY49" fmla="*/ 600075 h 1788318"/>
                    <a:gd name="connsiteX50" fmla="*/ 1307306 w 1993106"/>
                    <a:gd name="connsiteY50" fmla="*/ 411956 h 1788318"/>
                    <a:gd name="connsiteX51" fmla="*/ 1212056 w 1993106"/>
                    <a:gd name="connsiteY51" fmla="*/ 361950 h 1788318"/>
                    <a:gd name="connsiteX52" fmla="*/ 1195388 w 1993106"/>
                    <a:gd name="connsiteY52" fmla="*/ 273844 h 1788318"/>
                    <a:gd name="connsiteX53" fmla="*/ 1147763 w 1993106"/>
                    <a:gd name="connsiteY53" fmla="*/ 273844 h 1788318"/>
                    <a:gd name="connsiteX54" fmla="*/ 1097756 w 1993106"/>
                    <a:gd name="connsiteY54" fmla="*/ 190499 h 1788318"/>
                    <a:gd name="connsiteX55" fmla="*/ 1050131 w 1993106"/>
                    <a:gd name="connsiteY55" fmla="*/ 176213 h 1788318"/>
                    <a:gd name="connsiteX56" fmla="*/ 1047750 w 1993106"/>
                    <a:gd name="connsiteY56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371475 w 1993106"/>
                    <a:gd name="connsiteY12" fmla="*/ 1412081 h 1788318"/>
                    <a:gd name="connsiteX13" fmla="*/ 442913 w 1993106"/>
                    <a:gd name="connsiteY13" fmla="*/ 1497806 h 1788318"/>
                    <a:gd name="connsiteX14" fmla="*/ 592931 w 1993106"/>
                    <a:gd name="connsiteY14" fmla="*/ 1535906 h 1788318"/>
                    <a:gd name="connsiteX15" fmla="*/ 707231 w 1993106"/>
                    <a:gd name="connsiteY15" fmla="*/ 1562100 h 1788318"/>
                    <a:gd name="connsiteX16" fmla="*/ 773907 w 1993106"/>
                    <a:gd name="connsiteY16" fmla="*/ 1631157 h 1788318"/>
                    <a:gd name="connsiteX17" fmla="*/ 988219 w 1993106"/>
                    <a:gd name="connsiteY17" fmla="*/ 1721644 h 1788318"/>
                    <a:gd name="connsiteX18" fmla="*/ 1095375 w 1993106"/>
                    <a:gd name="connsiteY18" fmla="*/ 1714500 h 1788318"/>
                    <a:gd name="connsiteX19" fmla="*/ 1173956 w 1993106"/>
                    <a:gd name="connsiteY19" fmla="*/ 1697831 h 1788318"/>
                    <a:gd name="connsiteX20" fmla="*/ 1285875 w 1993106"/>
                    <a:gd name="connsiteY20" fmla="*/ 1774031 h 1788318"/>
                    <a:gd name="connsiteX21" fmla="*/ 1350169 w 1993106"/>
                    <a:gd name="connsiteY21" fmla="*/ 1788318 h 1788318"/>
                    <a:gd name="connsiteX22" fmla="*/ 1412081 w 1993106"/>
                    <a:gd name="connsiteY22" fmla="*/ 1716881 h 1788318"/>
                    <a:gd name="connsiteX23" fmla="*/ 1352550 w 1993106"/>
                    <a:gd name="connsiteY23" fmla="*/ 1671637 h 1788318"/>
                    <a:gd name="connsiteX24" fmla="*/ 1390650 w 1993106"/>
                    <a:gd name="connsiteY24" fmla="*/ 1652588 h 1788318"/>
                    <a:gd name="connsiteX25" fmla="*/ 1338263 w 1993106"/>
                    <a:gd name="connsiteY25" fmla="*/ 1602581 h 1788318"/>
                    <a:gd name="connsiteX26" fmla="*/ 1228725 w 1993106"/>
                    <a:gd name="connsiteY26" fmla="*/ 1462087 h 1788318"/>
                    <a:gd name="connsiteX27" fmla="*/ 1254919 w 1993106"/>
                    <a:gd name="connsiteY27" fmla="*/ 1426369 h 1788318"/>
                    <a:gd name="connsiteX28" fmla="*/ 1188245 w 1993106"/>
                    <a:gd name="connsiteY28" fmla="*/ 1350169 h 1788318"/>
                    <a:gd name="connsiteX29" fmla="*/ 1231106 w 1993106"/>
                    <a:gd name="connsiteY29" fmla="*/ 1278731 h 1788318"/>
                    <a:gd name="connsiteX30" fmla="*/ 1281113 w 1993106"/>
                    <a:gd name="connsiteY30" fmla="*/ 1245394 h 1788318"/>
                    <a:gd name="connsiteX31" fmla="*/ 1335881 w 1993106"/>
                    <a:gd name="connsiteY31" fmla="*/ 1271587 h 1788318"/>
                    <a:gd name="connsiteX32" fmla="*/ 1364456 w 1993106"/>
                    <a:gd name="connsiteY32" fmla="*/ 1228724 h 1788318"/>
                    <a:gd name="connsiteX33" fmla="*/ 1521618 w 1993106"/>
                    <a:gd name="connsiteY33" fmla="*/ 1219200 h 1788318"/>
                    <a:gd name="connsiteX34" fmla="*/ 1597819 w 1993106"/>
                    <a:gd name="connsiteY34" fmla="*/ 1233487 h 1788318"/>
                    <a:gd name="connsiteX35" fmla="*/ 1666875 w 1993106"/>
                    <a:gd name="connsiteY35" fmla="*/ 1202531 h 1788318"/>
                    <a:gd name="connsiteX36" fmla="*/ 1683544 w 1993106"/>
                    <a:gd name="connsiteY36" fmla="*/ 1152525 h 1788318"/>
                    <a:gd name="connsiteX37" fmla="*/ 1764506 w 1993106"/>
                    <a:gd name="connsiteY37" fmla="*/ 1126331 h 1788318"/>
                    <a:gd name="connsiteX38" fmla="*/ 1793082 w 1993106"/>
                    <a:gd name="connsiteY38" fmla="*/ 1052513 h 1788318"/>
                    <a:gd name="connsiteX39" fmla="*/ 1743075 w 1993106"/>
                    <a:gd name="connsiteY39" fmla="*/ 976312 h 1788318"/>
                    <a:gd name="connsiteX40" fmla="*/ 1797844 w 1993106"/>
                    <a:gd name="connsiteY40" fmla="*/ 912019 h 1788318"/>
                    <a:gd name="connsiteX41" fmla="*/ 1859756 w 1993106"/>
                    <a:gd name="connsiteY41" fmla="*/ 885826 h 1788318"/>
                    <a:gd name="connsiteX42" fmla="*/ 1895475 w 1993106"/>
                    <a:gd name="connsiteY42" fmla="*/ 781050 h 1788318"/>
                    <a:gd name="connsiteX43" fmla="*/ 1938337 w 1993106"/>
                    <a:gd name="connsiteY43" fmla="*/ 778669 h 1788318"/>
                    <a:gd name="connsiteX44" fmla="*/ 1993106 w 1993106"/>
                    <a:gd name="connsiteY44" fmla="*/ 728662 h 1788318"/>
                    <a:gd name="connsiteX45" fmla="*/ 1947862 w 1993106"/>
                    <a:gd name="connsiteY45" fmla="*/ 702469 h 1788318"/>
                    <a:gd name="connsiteX46" fmla="*/ 1897857 w 1993106"/>
                    <a:gd name="connsiteY46" fmla="*/ 711993 h 1788318"/>
                    <a:gd name="connsiteX47" fmla="*/ 1897857 w 1993106"/>
                    <a:gd name="connsiteY47" fmla="*/ 664369 h 1788318"/>
                    <a:gd name="connsiteX48" fmla="*/ 1776413 w 1993106"/>
                    <a:gd name="connsiteY48" fmla="*/ 654844 h 1788318"/>
                    <a:gd name="connsiteX49" fmla="*/ 1585913 w 1993106"/>
                    <a:gd name="connsiteY49" fmla="*/ 597694 h 1788318"/>
                    <a:gd name="connsiteX50" fmla="*/ 1226344 w 1993106"/>
                    <a:gd name="connsiteY50" fmla="*/ 600075 h 1788318"/>
                    <a:gd name="connsiteX51" fmla="*/ 1307306 w 1993106"/>
                    <a:gd name="connsiteY51" fmla="*/ 411956 h 1788318"/>
                    <a:gd name="connsiteX52" fmla="*/ 1212056 w 1993106"/>
                    <a:gd name="connsiteY52" fmla="*/ 361950 h 1788318"/>
                    <a:gd name="connsiteX53" fmla="*/ 1195388 w 1993106"/>
                    <a:gd name="connsiteY53" fmla="*/ 273844 h 1788318"/>
                    <a:gd name="connsiteX54" fmla="*/ 1147763 w 1993106"/>
                    <a:gd name="connsiteY54" fmla="*/ 273844 h 1788318"/>
                    <a:gd name="connsiteX55" fmla="*/ 1097756 w 1993106"/>
                    <a:gd name="connsiteY55" fmla="*/ 190499 h 1788318"/>
                    <a:gd name="connsiteX56" fmla="*/ 1050131 w 1993106"/>
                    <a:gd name="connsiteY56" fmla="*/ 176213 h 1788318"/>
                    <a:gd name="connsiteX57" fmla="*/ 1047750 w 1993106"/>
                    <a:gd name="connsiteY57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371475 w 1993106"/>
                    <a:gd name="connsiteY12" fmla="*/ 1412081 h 1788318"/>
                    <a:gd name="connsiteX13" fmla="*/ 442913 w 1993106"/>
                    <a:gd name="connsiteY13" fmla="*/ 1497806 h 1788318"/>
                    <a:gd name="connsiteX14" fmla="*/ 592931 w 1993106"/>
                    <a:gd name="connsiteY14" fmla="*/ 1535906 h 1788318"/>
                    <a:gd name="connsiteX15" fmla="*/ 669131 w 1993106"/>
                    <a:gd name="connsiteY15" fmla="*/ 1593056 h 1788318"/>
                    <a:gd name="connsiteX16" fmla="*/ 707231 w 1993106"/>
                    <a:gd name="connsiteY16" fmla="*/ 1562100 h 1788318"/>
                    <a:gd name="connsiteX17" fmla="*/ 773907 w 1993106"/>
                    <a:gd name="connsiteY17" fmla="*/ 1631157 h 1788318"/>
                    <a:gd name="connsiteX18" fmla="*/ 988219 w 1993106"/>
                    <a:gd name="connsiteY18" fmla="*/ 1721644 h 1788318"/>
                    <a:gd name="connsiteX19" fmla="*/ 1095375 w 1993106"/>
                    <a:gd name="connsiteY19" fmla="*/ 1714500 h 1788318"/>
                    <a:gd name="connsiteX20" fmla="*/ 1173956 w 1993106"/>
                    <a:gd name="connsiteY20" fmla="*/ 1697831 h 1788318"/>
                    <a:gd name="connsiteX21" fmla="*/ 1285875 w 1993106"/>
                    <a:gd name="connsiteY21" fmla="*/ 1774031 h 1788318"/>
                    <a:gd name="connsiteX22" fmla="*/ 1350169 w 1993106"/>
                    <a:gd name="connsiteY22" fmla="*/ 1788318 h 1788318"/>
                    <a:gd name="connsiteX23" fmla="*/ 1412081 w 1993106"/>
                    <a:gd name="connsiteY23" fmla="*/ 1716881 h 1788318"/>
                    <a:gd name="connsiteX24" fmla="*/ 1352550 w 1993106"/>
                    <a:gd name="connsiteY24" fmla="*/ 1671637 h 1788318"/>
                    <a:gd name="connsiteX25" fmla="*/ 1390650 w 1993106"/>
                    <a:gd name="connsiteY25" fmla="*/ 1652588 h 1788318"/>
                    <a:gd name="connsiteX26" fmla="*/ 1338263 w 1993106"/>
                    <a:gd name="connsiteY26" fmla="*/ 1602581 h 1788318"/>
                    <a:gd name="connsiteX27" fmla="*/ 1228725 w 1993106"/>
                    <a:gd name="connsiteY27" fmla="*/ 1462087 h 1788318"/>
                    <a:gd name="connsiteX28" fmla="*/ 1254919 w 1993106"/>
                    <a:gd name="connsiteY28" fmla="*/ 1426369 h 1788318"/>
                    <a:gd name="connsiteX29" fmla="*/ 1188245 w 1993106"/>
                    <a:gd name="connsiteY29" fmla="*/ 1350169 h 1788318"/>
                    <a:gd name="connsiteX30" fmla="*/ 1231106 w 1993106"/>
                    <a:gd name="connsiteY30" fmla="*/ 1278731 h 1788318"/>
                    <a:gd name="connsiteX31" fmla="*/ 1281113 w 1993106"/>
                    <a:gd name="connsiteY31" fmla="*/ 1245394 h 1788318"/>
                    <a:gd name="connsiteX32" fmla="*/ 1335881 w 1993106"/>
                    <a:gd name="connsiteY32" fmla="*/ 1271587 h 1788318"/>
                    <a:gd name="connsiteX33" fmla="*/ 1364456 w 1993106"/>
                    <a:gd name="connsiteY33" fmla="*/ 1228724 h 1788318"/>
                    <a:gd name="connsiteX34" fmla="*/ 1521618 w 1993106"/>
                    <a:gd name="connsiteY34" fmla="*/ 1219200 h 1788318"/>
                    <a:gd name="connsiteX35" fmla="*/ 1597819 w 1993106"/>
                    <a:gd name="connsiteY35" fmla="*/ 1233487 h 1788318"/>
                    <a:gd name="connsiteX36" fmla="*/ 1666875 w 1993106"/>
                    <a:gd name="connsiteY36" fmla="*/ 1202531 h 1788318"/>
                    <a:gd name="connsiteX37" fmla="*/ 1683544 w 1993106"/>
                    <a:gd name="connsiteY37" fmla="*/ 1152525 h 1788318"/>
                    <a:gd name="connsiteX38" fmla="*/ 1764506 w 1993106"/>
                    <a:gd name="connsiteY38" fmla="*/ 1126331 h 1788318"/>
                    <a:gd name="connsiteX39" fmla="*/ 1793082 w 1993106"/>
                    <a:gd name="connsiteY39" fmla="*/ 1052513 h 1788318"/>
                    <a:gd name="connsiteX40" fmla="*/ 1743075 w 1993106"/>
                    <a:gd name="connsiteY40" fmla="*/ 976312 h 1788318"/>
                    <a:gd name="connsiteX41" fmla="*/ 1797844 w 1993106"/>
                    <a:gd name="connsiteY41" fmla="*/ 912019 h 1788318"/>
                    <a:gd name="connsiteX42" fmla="*/ 1859756 w 1993106"/>
                    <a:gd name="connsiteY42" fmla="*/ 885826 h 1788318"/>
                    <a:gd name="connsiteX43" fmla="*/ 1895475 w 1993106"/>
                    <a:gd name="connsiteY43" fmla="*/ 781050 h 1788318"/>
                    <a:gd name="connsiteX44" fmla="*/ 1938337 w 1993106"/>
                    <a:gd name="connsiteY44" fmla="*/ 778669 h 1788318"/>
                    <a:gd name="connsiteX45" fmla="*/ 1993106 w 1993106"/>
                    <a:gd name="connsiteY45" fmla="*/ 728662 h 1788318"/>
                    <a:gd name="connsiteX46" fmla="*/ 1947862 w 1993106"/>
                    <a:gd name="connsiteY46" fmla="*/ 702469 h 1788318"/>
                    <a:gd name="connsiteX47" fmla="*/ 1897857 w 1993106"/>
                    <a:gd name="connsiteY47" fmla="*/ 711993 h 1788318"/>
                    <a:gd name="connsiteX48" fmla="*/ 1897857 w 1993106"/>
                    <a:gd name="connsiteY48" fmla="*/ 664369 h 1788318"/>
                    <a:gd name="connsiteX49" fmla="*/ 1776413 w 1993106"/>
                    <a:gd name="connsiteY49" fmla="*/ 654844 h 1788318"/>
                    <a:gd name="connsiteX50" fmla="*/ 1585913 w 1993106"/>
                    <a:gd name="connsiteY50" fmla="*/ 597694 h 1788318"/>
                    <a:gd name="connsiteX51" fmla="*/ 1226344 w 1993106"/>
                    <a:gd name="connsiteY51" fmla="*/ 600075 h 1788318"/>
                    <a:gd name="connsiteX52" fmla="*/ 1307306 w 1993106"/>
                    <a:gd name="connsiteY52" fmla="*/ 411956 h 1788318"/>
                    <a:gd name="connsiteX53" fmla="*/ 1212056 w 1993106"/>
                    <a:gd name="connsiteY53" fmla="*/ 361950 h 1788318"/>
                    <a:gd name="connsiteX54" fmla="*/ 1195388 w 1993106"/>
                    <a:gd name="connsiteY54" fmla="*/ 273844 h 1788318"/>
                    <a:gd name="connsiteX55" fmla="*/ 1147763 w 1993106"/>
                    <a:gd name="connsiteY55" fmla="*/ 273844 h 1788318"/>
                    <a:gd name="connsiteX56" fmla="*/ 1097756 w 1993106"/>
                    <a:gd name="connsiteY56" fmla="*/ 190499 h 1788318"/>
                    <a:gd name="connsiteX57" fmla="*/ 1050131 w 1993106"/>
                    <a:gd name="connsiteY57" fmla="*/ 176213 h 1788318"/>
                    <a:gd name="connsiteX58" fmla="*/ 1047750 w 1993106"/>
                    <a:gd name="connsiteY58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371475 w 1993106"/>
                    <a:gd name="connsiteY12" fmla="*/ 1412081 h 1788318"/>
                    <a:gd name="connsiteX13" fmla="*/ 442913 w 1993106"/>
                    <a:gd name="connsiteY13" fmla="*/ 1497806 h 1788318"/>
                    <a:gd name="connsiteX14" fmla="*/ 592931 w 1993106"/>
                    <a:gd name="connsiteY14" fmla="*/ 1535906 h 1788318"/>
                    <a:gd name="connsiteX15" fmla="*/ 669131 w 1993106"/>
                    <a:gd name="connsiteY15" fmla="*/ 1593056 h 1788318"/>
                    <a:gd name="connsiteX16" fmla="*/ 707231 w 1993106"/>
                    <a:gd name="connsiteY16" fmla="*/ 1562100 h 1788318"/>
                    <a:gd name="connsiteX17" fmla="*/ 773907 w 1993106"/>
                    <a:gd name="connsiteY17" fmla="*/ 1631157 h 1788318"/>
                    <a:gd name="connsiteX18" fmla="*/ 907256 w 1993106"/>
                    <a:gd name="connsiteY18" fmla="*/ 1638300 h 1788318"/>
                    <a:gd name="connsiteX19" fmla="*/ 988219 w 1993106"/>
                    <a:gd name="connsiteY19" fmla="*/ 1721644 h 1788318"/>
                    <a:gd name="connsiteX20" fmla="*/ 1095375 w 1993106"/>
                    <a:gd name="connsiteY20" fmla="*/ 1714500 h 1788318"/>
                    <a:gd name="connsiteX21" fmla="*/ 1173956 w 1993106"/>
                    <a:gd name="connsiteY21" fmla="*/ 1697831 h 1788318"/>
                    <a:gd name="connsiteX22" fmla="*/ 1285875 w 1993106"/>
                    <a:gd name="connsiteY22" fmla="*/ 1774031 h 1788318"/>
                    <a:gd name="connsiteX23" fmla="*/ 1350169 w 1993106"/>
                    <a:gd name="connsiteY23" fmla="*/ 1788318 h 1788318"/>
                    <a:gd name="connsiteX24" fmla="*/ 1412081 w 1993106"/>
                    <a:gd name="connsiteY24" fmla="*/ 1716881 h 1788318"/>
                    <a:gd name="connsiteX25" fmla="*/ 1352550 w 1993106"/>
                    <a:gd name="connsiteY25" fmla="*/ 1671637 h 1788318"/>
                    <a:gd name="connsiteX26" fmla="*/ 1390650 w 1993106"/>
                    <a:gd name="connsiteY26" fmla="*/ 1652588 h 1788318"/>
                    <a:gd name="connsiteX27" fmla="*/ 1338263 w 1993106"/>
                    <a:gd name="connsiteY27" fmla="*/ 1602581 h 1788318"/>
                    <a:gd name="connsiteX28" fmla="*/ 1228725 w 1993106"/>
                    <a:gd name="connsiteY28" fmla="*/ 1462087 h 1788318"/>
                    <a:gd name="connsiteX29" fmla="*/ 1254919 w 1993106"/>
                    <a:gd name="connsiteY29" fmla="*/ 1426369 h 1788318"/>
                    <a:gd name="connsiteX30" fmla="*/ 1188245 w 1993106"/>
                    <a:gd name="connsiteY30" fmla="*/ 1350169 h 1788318"/>
                    <a:gd name="connsiteX31" fmla="*/ 1231106 w 1993106"/>
                    <a:gd name="connsiteY31" fmla="*/ 1278731 h 1788318"/>
                    <a:gd name="connsiteX32" fmla="*/ 1281113 w 1993106"/>
                    <a:gd name="connsiteY32" fmla="*/ 1245394 h 1788318"/>
                    <a:gd name="connsiteX33" fmla="*/ 1335881 w 1993106"/>
                    <a:gd name="connsiteY33" fmla="*/ 1271587 h 1788318"/>
                    <a:gd name="connsiteX34" fmla="*/ 1364456 w 1993106"/>
                    <a:gd name="connsiteY34" fmla="*/ 1228724 h 1788318"/>
                    <a:gd name="connsiteX35" fmla="*/ 1521618 w 1993106"/>
                    <a:gd name="connsiteY35" fmla="*/ 1219200 h 1788318"/>
                    <a:gd name="connsiteX36" fmla="*/ 1597819 w 1993106"/>
                    <a:gd name="connsiteY36" fmla="*/ 1233487 h 1788318"/>
                    <a:gd name="connsiteX37" fmla="*/ 1666875 w 1993106"/>
                    <a:gd name="connsiteY37" fmla="*/ 1202531 h 1788318"/>
                    <a:gd name="connsiteX38" fmla="*/ 1683544 w 1993106"/>
                    <a:gd name="connsiteY38" fmla="*/ 1152525 h 1788318"/>
                    <a:gd name="connsiteX39" fmla="*/ 1764506 w 1993106"/>
                    <a:gd name="connsiteY39" fmla="*/ 1126331 h 1788318"/>
                    <a:gd name="connsiteX40" fmla="*/ 1793082 w 1993106"/>
                    <a:gd name="connsiteY40" fmla="*/ 1052513 h 1788318"/>
                    <a:gd name="connsiteX41" fmla="*/ 1743075 w 1993106"/>
                    <a:gd name="connsiteY41" fmla="*/ 976312 h 1788318"/>
                    <a:gd name="connsiteX42" fmla="*/ 1797844 w 1993106"/>
                    <a:gd name="connsiteY42" fmla="*/ 912019 h 1788318"/>
                    <a:gd name="connsiteX43" fmla="*/ 1859756 w 1993106"/>
                    <a:gd name="connsiteY43" fmla="*/ 885826 h 1788318"/>
                    <a:gd name="connsiteX44" fmla="*/ 1895475 w 1993106"/>
                    <a:gd name="connsiteY44" fmla="*/ 781050 h 1788318"/>
                    <a:gd name="connsiteX45" fmla="*/ 1938337 w 1993106"/>
                    <a:gd name="connsiteY45" fmla="*/ 778669 h 1788318"/>
                    <a:gd name="connsiteX46" fmla="*/ 1993106 w 1993106"/>
                    <a:gd name="connsiteY46" fmla="*/ 728662 h 1788318"/>
                    <a:gd name="connsiteX47" fmla="*/ 1947862 w 1993106"/>
                    <a:gd name="connsiteY47" fmla="*/ 702469 h 1788318"/>
                    <a:gd name="connsiteX48" fmla="*/ 1897857 w 1993106"/>
                    <a:gd name="connsiteY48" fmla="*/ 711993 h 1788318"/>
                    <a:gd name="connsiteX49" fmla="*/ 1897857 w 1993106"/>
                    <a:gd name="connsiteY49" fmla="*/ 664369 h 1788318"/>
                    <a:gd name="connsiteX50" fmla="*/ 1776413 w 1993106"/>
                    <a:gd name="connsiteY50" fmla="*/ 654844 h 1788318"/>
                    <a:gd name="connsiteX51" fmla="*/ 1585913 w 1993106"/>
                    <a:gd name="connsiteY51" fmla="*/ 597694 h 1788318"/>
                    <a:gd name="connsiteX52" fmla="*/ 1226344 w 1993106"/>
                    <a:gd name="connsiteY52" fmla="*/ 600075 h 1788318"/>
                    <a:gd name="connsiteX53" fmla="*/ 1307306 w 1993106"/>
                    <a:gd name="connsiteY53" fmla="*/ 411956 h 1788318"/>
                    <a:gd name="connsiteX54" fmla="*/ 1212056 w 1993106"/>
                    <a:gd name="connsiteY54" fmla="*/ 361950 h 1788318"/>
                    <a:gd name="connsiteX55" fmla="*/ 1195388 w 1993106"/>
                    <a:gd name="connsiteY55" fmla="*/ 273844 h 1788318"/>
                    <a:gd name="connsiteX56" fmla="*/ 1147763 w 1993106"/>
                    <a:gd name="connsiteY56" fmla="*/ 273844 h 1788318"/>
                    <a:gd name="connsiteX57" fmla="*/ 1097756 w 1993106"/>
                    <a:gd name="connsiteY57" fmla="*/ 190499 h 1788318"/>
                    <a:gd name="connsiteX58" fmla="*/ 1050131 w 1993106"/>
                    <a:gd name="connsiteY58" fmla="*/ 176213 h 1788318"/>
                    <a:gd name="connsiteX59" fmla="*/ 1047750 w 1993106"/>
                    <a:gd name="connsiteY59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371475 w 1993106"/>
                    <a:gd name="connsiteY12" fmla="*/ 1412081 h 1788318"/>
                    <a:gd name="connsiteX13" fmla="*/ 442913 w 1993106"/>
                    <a:gd name="connsiteY13" fmla="*/ 1497806 h 1788318"/>
                    <a:gd name="connsiteX14" fmla="*/ 592931 w 1993106"/>
                    <a:gd name="connsiteY14" fmla="*/ 1535906 h 1788318"/>
                    <a:gd name="connsiteX15" fmla="*/ 669131 w 1993106"/>
                    <a:gd name="connsiteY15" fmla="*/ 1593056 h 1788318"/>
                    <a:gd name="connsiteX16" fmla="*/ 707231 w 1993106"/>
                    <a:gd name="connsiteY16" fmla="*/ 1562100 h 1788318"/>
                    <a:gd name="connsiteX17" fmla="*/ 773907 w 1993106"/>
                    <a:gd name="connsiteY17" fmla="*/ 1631157 h 1788318"/>
                    <a:gd name="connsiteX18" fmla="*/ 907256 w 1993106"/>
                    <a:gd name="connsiteY18" fmla="*/ 1638300 h 1788318"/>
                    <a:gd name="connsiteX19" fmla="*/ 988219 w 1993106"/>
                    <a:gd name="connsiteY19" fmla="*/ 1721644 h 1788318"/>
                    <a:gd name="connsiteX20" fmla="*/ 1071563 w 1993106"/>
                    <a:gd name="connsiteY20" fmla="*/ 1693069 h 1788318"/>
                    <a:gd name="connsiteX21" fmla="*/ 1095375 w 1993106"/>
                    <a:gd name="connsiteY21" fmla="*/ 1714500 h 1788318"/>
                    <a:gd name="connsiteX22" fmla="*/ 1173956 w 1993106"/>
                    <a:gd name="connsiteY22" fmla="*/ 1697831 h 1788318"/>
                    <a:gd name="connsiteX23" fmla="*/ 1285875 w 1993106"/>
                    <a:gd name="connsiteY23" fmla="*/ 1774031 h 1788318"/>
                    <a:gd name="connsiteX24" fmla="*/ 1350169 w 1993106"/>
                    <a:gd name="connsiteY24" fmla="*/ 1788318 h 1788318"/>
                    <a:gd name="connsiteX25" fmla="*/ 1412081 w 1993106"/>
                    <a:gd name="connsiteY25" fmla="*/ 1716881 h 1788318"/>
                    <a:gd name="connsiteX26" fmla="*/ 1352550 w 1993106"/>
                    <a:gd name="connsiteY26" fmla="*/ 1671637 h 1788318"/>
                    <a:gd name="connsiteX27" fmla="*/ 1390650 w 1993106"/>
                    <a:gd name="connsiteY27" fmla="*/ 1652588 h 1788318"/>
                    <a:gd name="connsiteX28" fmla="*/ 1338263 w 1993106"/>
                    <a:gd name="connsiteY28" fmla="*/ 1602581 h 1788318"/>
                    <a:gd name="connsiteX29" fmla="*/ 1228725 w 1993106"/>
                    <a:gd name="connsiteY29" fmla="*/ 1462087 h 1788318"/>
                    <a:gd name="connsiteX30" fmla="*/ 1254919 w 1993106"/>
                    <a:gd name="connsiteY30" fmla="*/ 1426369 h 1788318"/>
                    <a:gd name="connsiteX31" fmla="*/ 1188245 w 1993106"/>
                    <a:gd name="connsiteY31" fmla="*/ 1350169 h 1788318"/>
                    <a:gd name="connsiteX32" fmla="*/ 1231106 w 1993106"/>
                    <a:gd name="connsiteY32" fmla="*/ 1278731 h 1788318"/>
                    <a:gd name="connsiteX33" fmla="*/ 1281113 w 1993106"/>
                    <a:gd name="connsiteY33" fmla="*/ 1245394 h 1788318"/>
                    <a:gd name="connsiteX34" fmla="*/ 1335881 w 1993106"/>
                    <a:gd name="connsiteY34" fmla="*/ 1271587 h 1788318"/>
                    <a:gd name="connsiteX35" fmla="*/ 1364456 w 1993106"/>
                    <a:gd name="connsiteY35" fmla="*/ 1228724 h 1788318"/>
                    <a:gd name="connsiteX36" fmla="*/ 1521618 w 1993106"/>
                    <a:gd name="connsiteY36" fmla="*/ 1219200 h 1788318"/>
                    <a:gd name="connsiteX37" fmla="*/ 1597819 w 1993106"/>
                    <a:gd name="connsiteY37" fmla="*/ 1233487 h 1788318"/>
                    <a:gd name="connsiteX38" fmla="*/ 1666875 w 1993106"/>
                    <a:gd name="connsiteY38" fmla="*/ 1202531 h 1788318"/>
                    <a:gd name="connsiteX39" fmla="*/ 1683544 w 1993106"/>
                    <a:gd name="connsiteY39" fmla="*/ 1152525 h 1788318"/>
                    <a:gd name="connsiteX40" fmla="*/ 1764506 w 1993106"/>
                    <a:gd name="connsiteY40" fmla="*/ 1126331 h 1788318"/>
                    <a:gd name="connsiteX41" fmla="*/ 1793082 w 1993106"/>
                    <a:gd name="connsiteY41" fmla="*/ 1052513 h 1788318"/>
                    <a:gd name="connsiteX42" fmla="*/ 1743075 w 1993106"/>
                    <a:gd name="connsiteY42" fmla="*/ 976312 h 1788318"/>
                    <a:gd name="connsiteX43" fmla="*/ 1797844 w 1993106"/>
                    <a:gd name="connsiteY43" fmla="*/ 912019 h 1788318"/>
                    <a:gd name="connsiteX44" fmla="*/ 1859756 w 1993106"/>
                    <a:gd name="connsiteY44" fmla="*/ 885826 h 1788318"/>
                    <a:gd name="connsiteX45" fmla="*/ 1895475 w 1993106"/>
                    <a:gd name="connsiteY45" fmla="*/ 781050 h 1788318"/>
                    <a:gd name="connsiteX46" fmla="*/ 1938337 w 1993106"/>
                    <a:gd name="connsiteY46" fmla="*/ 778669 h 1788318"/>
                    <a:gd name="connsiteX47" fmla="*/ 1993106 w 1993106"/>
                    <a:gd name="connsiteY47" fmla="*/ 728662 h 1788318"/>
                    <a:gd name="connsiteX48" fmla="*/ 1947862 w 1993106"/>
                    <a:gd name="connsiteY48" fmla="*/ 702469 h 1788318"/>
                    <a:gd name="connsiteX49" fmla="*/ 1897857 w 1993106"/>
                    <a:gd name="connsiteY49" fmla="*/ 711993 h 1788318"/>
                    <a:gd name="connsiteX50" fmla="*/ 1897857 w 1993106"/>
                    <a:gd name="connsiteY50" fmla="*/ 664369 h 1788318"/>
                    <a:gd name="connsiteX51" fmla="*/ 1776413 w 1993106"/>
                    <a:gd name="connsiteY51" fmla="*/ 654844 h 1788318"/>
                    <a:gd name="connsiteX52" fmla="*/ 1585913 w 1993106"/>
                    <a:gd name="connsiteY52" fmla="*/ 597694 h 1788318"/>
                    <a:gd name="connsiteX53" fmla="*/ 1226344 w 1993106"/>
                    <a:gd name="connsiteY53" fmla="*/ 600075 h 1788318"/>
                    <a:gd name="connsiteX54" fmla="*/ 1307306 w 1993106"/>
                    <a:gd name="connsiteY54" fmla="*/ 411956 h 1788318"/>
                    <a:gd name="connsiteX55" fmla="*/ 1212056 w 1993106"/>
                    <a:gd name="connsiteY55" fmla="*/ 361950 h 1788318"/>
                    <a:gd name="connsiteX56" fmla="*/ 1195388 w 1993106"/>
                    <a:gd name="connsiteY56" fmla="*/ 273844 h 1788318"/>
                    <a:gd name="connsiteX57" fmla="*/ 1147763 w 1993106"/>
                    <a:gd name="connsiteY57" fmla="*/ 273844 h 1788318"/>
                    <a:gd name="connsiteX58" fmla="*/ 1097756 w 1993106"/>
                    <a:gd name="connsiteY58" fmla="*/ 190499 h 1788318"/>
                    <a:gd name="connsiteX59" fmla="*/ 1050131 w 1993106"/>
                    <a:gd name="connsiteY59" fmla="*/ 176213 h 1788318"/>
                    <a:gd name="connsiteX60" fmla="*/ 1047750 w 1993106"/>
                    <a:gd name="connsiteY60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371475 w 1993106"/>
                    <a:gd name="connsiteY12" fmla="*/ 1412081 h 1788318"/>
                    <a:gd name="connsiteX13" fmla="*/ 442913 w 1993106"/>
                    <a:gd name="connsiteY13" fmla="*/ 1497806 h 1788318"/>
                    <a:gd name="connsiteX14" fmla="*/ 592931 w 1993106"/>
                    <a:gd name="connsiteY14" fmla="*/ 1535906 h 1788318"/>
                    <a:gd name="connsiteX15" fmla="*/ 669131 w 1993106"/>
                    <a:gd name="connsiteY15" fmla="*/ 1593056 h 1788318"/>
                    <a:gd name="connsiteX16" fmla="*/ 707231 w 1993106"/>
                    <a:gd name="connsiteY16" fmla="*/ 1562100 h 1788318"/>
                    <a:gd name="connsiteX17" fmla="*/ 773907 w 1993106"/>
                    <a:gd name="connsiteY17" fmla="*/ 1631157 h 1788318"/>
                    <a:gd name="connsiteX18" fmla="*/ 907256 w 1993106"/>
                    <a:gd name="connsiteY18" fmla="*/ 1638300 h 1788318"/>
                    <a:gd name="connsiteX19" fmla="*/ 988219 w 1993106"/>
                    <a:gd name="connsiteY19" fmla="*/ 1721644 h 1788318"/>
                    <a:gd name="connsiteX20" fmla="*/ 1026319 w 1993106"/>
                    <a:gd name="connsiteY20" fmla="*/ 1719262 h 1788318"/>
                    <a:gd name="connsiteX21" fmla="*/ 1071563 w 1993106"/>
                    <a:gd name="connsiteY21" fmla="*/ 1693069 h 1788318"/>
                    <a:gd name="connsiteX22" fmla="*/ 1095375 w 1993106"/>
                    <a:gd name="connsiteY22" fmla="*/ 1714500 h 1788318"/>
                    <a:gd name="connsiteX23" fmla="*/ 1173956 w 1993106"/>
                    <a:gd name="connsiteY23" fmla="*/ 1697831 h 1788318"/>
                    <a:gd name="connsiteX24" fmla="*/ 1285875 w 1993106"/>
                    <a:gd name="connsiteY24" fmla="*/ 1774031 h 1788318"/>
                    <a:gd name="connsiteX25" fmla="*/ 1350169 w 1993106"/>
                    <a:gd name="connsiteY25" fmla="*/ 1788318 h 1788318"/>
                    <a:gd name="connsiteX26" fmla="*/ 1412081 w 1993106"/>
                    <a:gd name="connsiteY26" fmla="*/ 1716881 h 1788318"/>
                    <a:gd name="connsiteX27" fmla="*/ 1352550 w 1993106"/>
                    <a:gd name="connsiteY27" fmla="*/ 1671637 h 1788318"/>
                    <a:gd name="connsiteX28" fmla="*/ 1390650 w 1993106"/>
                    <a:gd name="connsiteY28" fmla="*/ 1652588 h 1788318"/>
                    <a:gd name="connsiteX29" fmla="*/ 1338263 w 1993106"/>
                    <a:gd name="connsiteY29" fmla="*/ 1602581 h 1788318"/>
                    <a:gd name="connsiteX30" fmla="*/ 1228725 w 1993106"/>
                    <a:gd name="connsiteY30" fmla="*/ 1462087 h 1788318"/>
                    <a:gd name="connsiteX31" fmla="*/ 1254919 w 1993106"/>
                    <a:gd name="connsiteY31" fmla="*/ 1426369 h 1788318"/>
                    <a:gd name="connsiteX32" fmla="*/ 1188245 w 1993106"/>
                    <a:gd name="connsiteY32" fmla="*/ 1350169 h 1788318"/>
                    <a:gd name="connsiteX33" fmla="*/ 1231106 w 1993106"/>
                    <a:gd name="connsiteY33" fmla="*/ 1278731 h 1788318"/>
                    <a:gd name="connsiteX34" fmla="*/ 1281113 w 1993106"/>
                    <a:gd name="connsiteY34" fmla="*/ 1245394 h 1788318"/>
                    <a:gd name="connsiteX35" fmla="*/ 1335881 w 1993106"/>
                    <a:gd name="connsiteY35" fmla="*/ 1271587 h 1788318"/>
                    <a:gd name="connsiteX36" fmla="*/ 1364456 w 1993106"/>
                    <a:gd name="connsiteY36" fmla="*/ 1228724 h 1788318"/>
                    <a:gd name="connsiteX37" fmla="*/ 1521618 w 1993106"/>
                    <a:gd name="connsiteY37" fmla="*/ 1219200 h 1788318"/>
                    <a:gd name="connsiteX38" fmla="*/ 1597819 w 1993106"/>
                    <a:gd name="connsiteY38" fmla="*/ 1233487 h 1788318"/>
                    <a:gd name="connsiteX39" fmla="*/ 1666875 w 1993106"/>
                    <a:gd name="connsiteY39" fmla="*/ 1202531 h 1788318"/>
                    <a:gd name="connsiteX40" fmla="*/ 1683544 w 1993106"/>
                    <a:gd name="connsiteY40" fmla="*/ 1152525 h 1788318"/>
                    <a:gd name="connsiteX41" fmla="*/ 1764506 w 1993106"/>
                    <a:gd name="connsiteY41" fmla="*/ 1126331 h 1788318"/>
                    <a:gd name="connsiteX42" fmla="*/ 1793082 w 1993106"/>
                    <a:gd name="connsiteY42" fmla="*/ 1052513 h 1788318"/>
                    <a:gd name="connsiteX43" fmla="*/ 1743075 w 1993106"/>
                    <a:gd name="connsiteY43" fmla="*/ 976312 h 1788318"/>
                    <a:gd name="connsiteX44" fmla="*/ 1797844 w 1993106"/>
                    <a:gd name="connsiteY44" fmla="*/ 912019 h 1788318"/>
                    <a:gd name="connsiteX45" fmla="*/ 1859756 w 1993106"/>
                    <a:gd name="connsiteY45" fmla="*/ 885826 h 1788318"/>
                    <a:gd name="connsiteX46" fmla="*/ 1895475 w 1993106"/>
                    <a:gd name="connsiteY46" fmla="*/ 781050 h 1788318"/>
                    <a:gd name="connsiteX47" fmla="*/ 1938337 w 1993106"/>
                    <a:gd name="connsiteY47" fmla="*/ 778669 h 1788318"/>
                    <a:gd name="connsiteX48" fmla="*/ 1993106 w 1993106"/>
                    <a:gd name="connsiteY48" fmla="*/ 728662 h 1788318"/>
                    <a:gd name="connsiteX49" fmla="*/ 1947862 w 1993106"/>
                    <a:gd name="connsiteY49" fmla="*/ 702469 h 1788318"/>
                    <a:gd name="connsiteX50" fmla="*/ 1897857 w 1993106"/>
                    <a:gd name="connsiteY50" fmla="*/ 711993 h 1788318"/>
                    <a:gd name="connsiteX51" fmla="*/ 1897857 w 1993106"/>
                    <a:gd name="connsiteY51" fmla="*/ 664369 h 1788318"/>
                    <a:gd name="connsiteX52" fmla="*/ 1776413 w 1993106"/>
                    <a:gd name="connsiteY52" fmla="*/ 654844 h 1788318"/>
                    <a:gd name="connsiteX53" fmla="*/ 1585913 w 1993106"/>
                    <a:gd name="connsiteY53" fmla="*/ 597694 h 1788318"/>
                    <a:gd name="connsiteX54" fmla="*/ 1226344 w 1993106"/>
                    <a:gd name="connsiteY54" fmla="*/ 600075 h 1788318"/>
                    <a:gd name="connsiteX55" fmla="*/ 1307306 w 1993106"/>
                    <a:gd name="connsiteY55" fmla="*/ 411956 h 1788318"/>
                    <a:gd name="connsiteX56" fmla="*/ 1212056 w 1993106"/>
                    <a:gd name="connsiteY56" fmla="*/ 361950 h 1788318"/>
                    <a:gd name="connsiteX57" fmla="*/ 1195388 w 1993106"/>
                    <a:gd name="connsiteY57" fmla="*/ 273844 h 1788318"/>
                    <a:gd name="connsiteX58" fmla="*/ 1147763 w 1993106"/>
                    <a:gd name="connsiteY58" fmla="*/ 273844 h 1788318"/>
                    <a:gd name="connsiteX59" fmla="*/ 1097756 w 1993106"/>
                    <a:gd name="connsiteY59" fmla="*/ 190499 h 1788318"/>
                    <a:gd name="connsiteX60" fmla="*/ 1050131 w 1993106"/>
                    <a:gd name="connsiteY60" fmla="*/ 176213 h 1788318"/>
                    <a:gd name="connsiteX61" fmla="*/ 1047750 w 1993106"/>
                    <a:gd name="connsiteY61" fmla="*/ 88106 h 1788318"/>
                    <a:gd name="connsiteX0" fmla="*/ 1047750 w 1993106"/>
                    <a:gd name="connsiteY0" fmla="*/ 88106 h 1788318"/>
                    <a:gd name="connsiteX1" fmla="*/ 997744 w 1993106"/>
                    <a:gd name="connsiteY1" fmla="*/ 52387 h 1788318"/>
                    <a:gd name="connsiteX2" fmla="*/ 826294 w 1993106"/>
                    <a:gd name="connsiteY2" fmla="*/ 59531 h 1788318"/>
                    <a:gd name="connsiteX3" fmla="*/ 735806 w 1993106"/>
                    <a:gd name="connsiteY3" fmla="*/ 0 h 1788318"/>
                    <a:gd name="connsiteX4" fmla="*/ 623888 w 1993106"/>
                    <a:gd name="connsiteY4" fmla="*/ 50006 h 1788318"/>
                    <a:gd name="connsiteX5" fmla="*/ 569119 w 1993106"/>
                    <a:gd name="connsiteY5" fmla="*/ 45244 h 1788318"/>
                    <a:gd name="connsiteX6" fmla="*/ 497681 w 1993106"/>
                    <a:gd name="connsiteY6" fmla="*/ 145256 h 1788318"/>
                    <a:gd name="connsiteX7" fmla="*/ 422275 w 1993106"/>
                    <a:gd name="connsiteY7" fmla="*/ 148431 h 1788318"/>
                    <a:gd name="connsiteX8" fmla="*/ 333375 w 1993106"/>
                    <a:gd name="connsiteY8" fmla="*/ 75406 h 1788318"/>
                    <a:gd name="connsiteX9" fmla="*/ 0 w 1993106"/>
                    <a:gd name="connsiteY9" fmla="*/ 364331 h 1788318"/>
                    <a:gd name="connsiteX10" fmla="*/ 47625 w 1993106"/>
                    <a:gd name="connsiteY10" fmla="*/ 1231106 h 1788318"/>
                    <a:gd name="connsiteX11" fmla="*/ 171450 w 1993106"/>
                    <a:gd name="connsiteY11" fmla="*/ 1378743 h 1788318"/>
                    <a:gd name="connsiteX12" fmla="*/ 252413 w 1993106"/>
                    <a:gd name="connsiteY12" fmla="*/ 1414462 h 1788318"/>
                    <a:gd name="connsiteX13" fmla="*/ 371475 w 1993106"/>
                    <a:gd name="connsiteY13" fmla="*/ 1412081 h 1788318"/>
                    <a:gd name="connsiteX14" fmla="*/ 442913 w 1993106"/>
                    <a:gd name="connsiteY14" fmla="*/ 1497806 h 1788318"/>
                    <a:gd name="connsiteX15" fmla="*/ 592931 w 1993106"/>
                    <a:gd name="connsiteY15" fmla="*/ 1535906 h 1788318"/>
                    <a:gd name="connsiteX16" fmla="*/ 669131 w 1993106"/>
                    <a:gd name="connsiteY16" fmla="*/ 1593056 h 1788318"/>
                    <a:gd name="connsiteX17" fmla="*/ 707231 w 1993106"/>
                    <a:gd name="connsiteY17" fmla="*/ 1562100 h 1788318"/>
                    <a:gd name="connsiteX18" fmla="*/ 773907 w 1993106"/>
                    <a:gd name="connsiteY18" fmla="*/ 1631157 h 1788318"/>
                    <a:gd name="connsiteX19" fmla="*/ 907256 w 1993106"/>
                    <a:gd name="connsiteY19" fmla="*/ 1638300 h 1788318"/>
                    <a:gd name="connsiteX20" fmla="*/ 988219 w 1993106"/>
                    <a:gd name="connsiteY20" fmla="*/ 1721644 h 1788318"/>
                    <a:gd name="connsiteX21" fmla="*/ 1026319 w 1993106"/>
                    <a:gd name="connsiteY21" fmla="*/ 1719262 h 1788318"/>
                    <a:gd name="connsiteX22" fmla="*/ 1071563 w 1993106"/>
                    <a:gd name="connsiteY22" fmla="*/ 1693069 h 1788318"/>
                    <a:gd name="connsiteX23" fmla="*/ 1095375 w 1993106"/>
                    <a:gd name="connsiteY23" fmla="*/ 1714500 h 1788318"/>
                    <a:gd name="connsiteX24" fmla="*/ 1173956 w 1993106"/>
                    <a:gd name="connsiteY24" fmla="*/ 1697831 h 1788318"/>
                    <a:gd name="connsiteX25" fmla="*/ 1285875 w 1993106"/>
                    <a:gd name="connsiteY25" fmla="*/ 1774031 h 1788318"/>
                    <a:gd name="connsiteX26" fmla="*/ 1350169 w 1993106"/>
                    <a:gd name="connsiteY26" fmla="*/ 1788318 h 1788318"/>
                    <a:gd name="connsiteX27" fmla="*/ 1412081 w 1993106"/>
                    <a:gd name="connsiteY27" fmla="*/ 1716881 h 1788318"/>
                    <a:gd name="connsiteX28" fmla="*/ 1352550 w 1993106"/>
                    <a:gd name="connsiteY28" fmla="*/ 1671637 h 1788318"/>
                    <a:gd name="connsiteX29" fmla="*/ 1390650 w 1993106"/>
                    <a:gd name="connsiteY29" fmla="*/ 1652588 h 1788318"/>
                    <a:gd name="connsiteX30" fmla="*/ 1338263 w 1993106"/>
                    <a:gd name="connsiteY30" fmla="*/ 1602581 h 1788318"/>
                    <a:gd name="connsiteX31" fmla="*/ 1228725 w 1993106"/>
                    <a:gd name="connsiteY31" fmla="*/ 1462087 h 1788318"/>
                    <a:gd name="connsiteX32" fmla="*/ 1254919 w 1993106"/>
                    <a:gd name="connsiteY32" fmla="*/ 1426369 h 1788318"/>
                    <a:gd name="connsiteX33" fmla="*/ 1188245 w 1993106"/>
                    <a:gd name="connsiteY33" fmla="*/ 1350169 h 1788318"/>
                    <a:gd name="connsiteX34" fmla="*/ 1231106 w 1993106"/>
                    <a:gd name="connsiteY34" fmla="*/ 1278731 h 1788318"/>
                    <a:gd name="connsiteX35" fmla="*/ 1281113 w 1993106"/>
                    <a:gd name="connsiteY35" fmla="*/ 1245394 h 1788318"/>
                    <a:gd name="connsiteX36" fmla="*/ 1335881 w 1993106"/>
                    <a:gd name="connsiteY36" fmla="*/ 1271587 h 1788318"/>
                    <a:gd name="connsiteX37" fmla="*/ 1364456 w 1993106"/>
                    <a:gd name="connsiteY37" fmla="*/ 1228724 h 1788318"/>
                    <a:gd name="connsiteX38" fmla="*/ 1521618 w 1993106"/>
                    <a:gd name="connsiteY38" fmla="*/ 1219200 h 1788318"/>
                    <a:gd name="connsiteX39" fmla="*/ 1597819 w 1993106"/>
                    <a:gd name="connsiteY39" fmla="*/ 1233487 h 1788318"/>
                    <a:gd name="connsiteX40" fmla="*/ 1666875 w 1993106"/>
                    <a:gd name="connsiteY40" fmla="*/ 1202531 h 1788318"/>
                    <a:gd name="connsiteX41" fmla="*/ 1683544 w 1993106"/>
                    <a:gd name="connsiteY41" fmla="*/ 1152525 h 1788318"/>
                    <a:gd name="connsiteX42" fmla="*/ 1764506 w 1993106"/>
                    <a:gd name="connsiteY42" fmla="*/ 1126331 h 1788318"/>
                    <a:gd name="connsiteX43" fmla="*/ 1793082 w 1993106"/>
                    <a:gd name="connsiteY43" fmla="*/ 1052513 h 1788318"/>
                    <a:gd name="connsiteX44" fmla="*/ 1743075 w 1993106"/>
                    <a:gd name="connsiteY44" fmla="*/ 976312 h 1788318"/>
                    <a:gd name="connsiteX45" fmla="*/ 1797844 w 1993106"/>
                    <a:gd name="connsiteY45" fmla="*/ 912019 h 1788318"/>
                    <a:gd name="connsiteX46" fmla="*/ 1859756 w 1993106"/>
                    <a:gd name="connsiteY46" fmla="*/ 885826 h 1788318"/>
                    <a:gd name="connsiteX47" fmla="*/ 1895475 w 1993106"/>
                    <a:gd name="connsiteY47" fmla="*/ 781050 h 1788318"/>
                    <a:gd name="connsiteX48" fmla="*/ 1938337 w 1993106"/>
                    <a:gd name="connsiteY48" fmla="*/ 778669 h 1788318"/>
                    <a:gd name="connsiteX49" fmla="*/ 1993106 w 1993106"/>
                    <a:gd name="connsiteY49" fmla="*/ 728662 h 1788318"/>
                    <a:gd name="connsiteX50" fmla="*/ 1947862 w 1993106"/>
                    <a:gd name="connsiteY50" fmla="*/ 702469 h 1788318"/>
                    <a:gd name="connsiteX51" fmla="*/ 1897857 w 1993106"/>
                    <a:gd name="connsiteY51" fmla="*/ 711993 h 1788318"/>
                    <a:gd name="connsiteX52" fmla="*/ 1897857 w 1993106"/>
                    <a:gd name="connsiteY52" fmla="*/ 664369 h 1788318"/>
                    <a:gd name="connsiteX53" fmla="*/ 1776413 w 1993106"/>
                    <a:gd name="connsiteY53" fmla="*/ 654844 h 1788318"/>
                    <a:gd name="connsiteX54" fmla="*/ 1585913 w 1993106"/>
                    <a:gd name="connsiteY54" fmla="*/ 597694 h 1788318"/>
                    <a:gd name="connsiteX55" fmla="*/ 1226344 w 1993106"/>
                    <a:gd name="connsiteY55" fmla="*/ 600075 h 1788318"/>
                    <a:gd name="connsiteX56" fmla="*/ 1307306 w 1993106"/>
                    <a:gd name="connsiteY56" fmla="*/ 411956 h 1788318"/>
                    <a:gd name="connsiteX57" fmla="*/ 1212056 w 1993106"/>
                    <a:gd name="connsiteY57" fmla="*/ 361950 h 1788318"/>
                    <a:gd name="connsiteX58" fmla="*/ 1195388 w 1993106"/>
                    <a:gd name="connsiteY58" fmla="*/ 273844 h 1788318"/>
                    <a:gd name="connsiteX59" fmla="*/ 1147763 w 1993106"/>
                    <a:gd name="connsiteY59" fmla="*/ 273844 h 1788318"/>
                    <a:gd name="connsiteX60" fmla="*/ 1097756 w 1993106"/>
                    <a:gd name="connsiteY60" fmla="*/ 190499 h 1788318"/>
                    <a:gd name="connsiteX61" fmla="*/ 1050131 w 1993106"/>
                    <a:gd name="connsiteY61" fmla="*/ 176213 h 1788318"/>
                    <a:gd name="connsiteX62" fmla="*/ 1047750 w 1993106"/>
                    <a:gd name="connsiteY62" fmla="*/ 88106 h 1788318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</a:cxnLst>
                  <a:rect l="l" t="t" r="r" b="b"/>
                  <a:pathLst>
                    <a:path w="1993106" h="1788318">
                      <a:moveTo>
                        <a:pt x="1047750" y="88106"/>
                      </a:moveTo>
                      <a:lnTo>
                        <a:pt x="997744" y="52387"/>
                      </a:lnTo>
                      <a:lnTo>
                        <a:pt x="826294" y="59531"/>
                      </a:lnTo>
                      <a:lnTo>
                        <a:pt x="735806" y="0"/>
                      </a:lnTo>
                      <a:lnTo>
                        <a:pt x="623888" y="50006"/>
                      </a:lnTo>
                      <a:lnTo>
                        <a:pt x="569119" y="45244"/>
                      </a:lnTo>
                      <a:lnTo>
                        <a:pt x="497681" y="145256"/>
                      </a:lnTo>
                      <a:lnTo>
                        <a:pt x="422275" y="148431"/>
                      </a:lnTo>
                      <a:lnTo>
                        <a:pt x="333375" y="75406"/>
                      </a:lnTo>
                      <a:lnTo>
                        <a:pt x="0" y="364331"/>
                      </a:lnTo>
                      <a:lnTo>
                        <a:pt x="47625" y="1231106"/>
                      </a:lnTo>
                      <a:lnTo>
                        <a:pt x="171450" y="1378743"/>
                      </a:lnTo>
                      <a:cubicBezTo>
                        <a:pt x="209550" y="1405730"/>
                        <a:pt x="219076" y="1408906"/>
                        <a:pt x="252413" y="1414462"/>
                      </a:cubicBezTo>
                      <a:cubicBezTo>
                        <a:pt x="285751" y="1420018"/>
                        <a:pt x="343694" y="1394619"/>
                        <a:pt x="371475" y="1412081"/>
                      </a:cubicBezTo>
                      <a:cubicBezTo>
                        <a:pt x="412750" y="1434306"/>
                        <a:pt x="401638" y="1475581"/>
                        <a:pt x="442913" y="1497806"/>
                      </a:cubicBezTo>
                      <a:lnTo>
                        <a:pt x="592931" y="1535906"/>
                      </a:lnTo>
                      <a:cubicBezTo>
                        <a:pt x="625872" y="1544240"/>
                        <a:pt x="650081" y="1588690"/>
                        <a:pt x="669131" y="1593056"/>
                      </a:cubicBezTo>
                      <a:cubicBezTo>
                        <a:pt x="688181" y="1597422"/>
                        <a:pt x="685006" y="1548209"/>
                        <a:pt x="707231" y="1562100"/>
                      </a:cubicBezTo>
                      <a:lnTo>
                        <a:pt x="773907" y="1631157"/>
                      </a:lnTo>
                      <a:cubicBezTo>
                        <a:pt x="808832" y="1644650"/>
                        <a:pt x="872331" y="1624807"/>
                        <a:pt x="907256" y="1638300"/>
                      </a:cubicBezTo>
                      <a:lnTo>
                        <a:pt x="988219" y="1721644"/>
                      </a:lnTo>
                      <a:cubicBezTo>
                        <a:pt x="1008460" y="1732756"/>
                        <a:pt x="1012428" y="1724025"/>
                        <a:pt x="1026319" y="1719262"/>
                      </a:cubicBezTo>
                      <a:cubicBezTo>
                        <a:pt x="1040210" y="1714500"/>
                        <a:pt x="1060451" y="1691482"/>
                        <a:pt x="1071563" y="1693069"/>
                      </a:cubicBezTo>
                      <a:lnTo>
                        <a:pt x="1095375" y="1714500"/>
                      </a:lnTo>
                      <a:lnTo>
                        <a:pt x="1173956" y="1697831"/>
                      </a:lnTo>
                      <a:lnTo>
                        <a:pt x="1285875" y="1774031"/>
                      </a:lnTo>
                      <a:lnTo>
                        <a:pt x="1350169" y="1788318"/>
                      </a:lnTo>
                      <a:lnTo>
                        <a:pt x="1412081" y="1716881"/>
                      </a:lnTo>
                      <a:lnTo>
                        <a:pt x="1352550" y="1671637"/>
                      </a:lnTo>
                      <a:lnTo>
                        <a:pt x="1390650" y="1652588"/>
                      </a:lnTo>
                      <a:lnTo>
                        <a:pt x="1338263" y="1602581"/>
                      </a:lnTo>
                      <a:lnTo>
                        <a:pt x="1228725" y="1462087"/>
                      </a:lnTo>
                      <a:lnTo>
                        <a:pt x="1254919" y="1426369"/>
                      </a:lnTo>
                      <a:lnTo>
                        <a:pt x="1188245" y="1350169"/>
                      </a:lnTo>
                      <a:lnTo>
                        <a:pt x="1231106" y="1278731"/>
                      </a:lnTo>
                      <a:lnTo>
                        <a:pt x="1281113" y="1245394"/>
                      </a:lnTo>
                      <a:lnTo>
                        <a:pt x="1335881" y="1271587"/>
                      </a:lnTo>
                      <a:lnTo>
                        <a:pt x="1364456" y="1228724"/>
                      </a:lnTo>
                      <a:lnTo>
                        <a:pt x="1521618" y="1219200"/>
                      </a:lnTo>
                      <a:lnTo>
                        <a:pt x="1597819" y="1233487"/>
                      </a:lnTo>
                      <a:lnTo>
                        <a:pt x="1666875" y="1202531"/>
                      </a:lnTo>
                      <a:lnTo>
                        <a:pt x="1683544" y="1152525"/>
                      </a:lnTo>
                      <a:lnTo>
                        <a:pt x="1764506" y="1126331"/>
                      </a:lnTo>
                      <a:lnTo>
                        <a:pt x="1793082" y="1052513"/>
                      </a:lnTo>
                      <a:lnTo>
                        <a:pt x="1743075" y="976312"/>
                      </a:lnTo>
                      <a:lnTo>
                        <a:pt x="1797844" y="912019"/>
                      </a:lnTo>
                      <a:lnTo>
                        <a:pt x="1859756" y="885826"/>
                      </a:lnTo>
                      <a:lnTo>
                        <a:pt x="1895475" y="781050"/>
                      </a:lnTo>
                      <a:lnTo>
                        <a:pt x="1938337" y="778669"/>
                      </a:lnTo>
                      <a:lnTo>
                        <a:pt x="1993106" y="728662"/>
                      </a:lnTo>
                      <a:lnTo>
                        <a:pt x="1947862" y="702469"/>
                      </a:lnTo>
                      <a:lnTo>
                        <a:pt x="1897857" y="711993"/>
                      </a:lnTo>
                      <a:lnTo>
                        <a:pt x="1897857" y="664369"/>
                      </a:lnTo>
                      <a:lnTo>
                        <a:pt x="1776413" y="654844"/>
                      </a:lnTo>
                      <a:lnTo>
                        <a:pt x="1585913" y="597694"/>
                      </a:lnTo>
                      <a:lnTo>
                        <a:pt x="1226344" y="600075"/>
                      </a:lnTo>
                      <a:lnTo>
                        <a:pt x="1307306" y="411956"/>
                      </a:lnTo>
                      <a:lnTo>
                        <a:pt x="1212056" y="361950"/>
                      </a:lnTo>
                      <a:lnTo>
                        <a:pt x="1195388" y="273844"/>
                      </a:lnTo>
                      <a:lnTo>
                        <a:pt x="1147763" y="273844"/>
                      </a:lnTo>
                      <a:lnTo>
                        <a:pt x="1097756" y="190499"/>
                      </a:lnTo>
                      <a:lnTo>
                        <a:pt x="1050131" y="176213"/>
                      </a:lnTo>
                      <a:cubicBezTo>
                        <a:pt x="1049337" y="146844"/>
                        <a:pt x="1048544" y="117475"/>
                        <a:pt x="1047750" y="88106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8" name="Freeform 97"/>
                <p:cNvSpPr/>
                <p:nvPr/>
              </p:nvSpPr>
              <p:spPr>
                <a:xfrm>
                  <a:off x="1695450" y="3672840"/>
                  <a:ext cx="1557814" cy="1458754"/>
                </a:xfrm>
                <a:custGeom>
                  <a:avLst/>
                  <a:gdLst>
                    <a:gd name="connsiteX0" fmla="*/ 99060 w 1760220"/>
                    <a:gd name="connsiteY0" fmla="*/ 76200 h 1661160"/>
                    <a:gd name="connsiteX1" fmla="*/ 1386840 w 1760220"/>
                    <a:gd name="connsiteY1" fmla="*/ 0 h 1661160"/>
                    <a:gd name="connsiteX2" fmla="*/ 1394460 w 1760220"/>
                    <a:gd name="connsiteY2" fmla="*/ 205740 h 1661160"/>
                    <a:gd name="connsiteX3" fmla="*/ 1386840 w 1760220"/>
                    <a:gd name="connsiteY3" fmla="*/ 457200 h 1661160"/>
                    <a:gd name="connsiteX4" fmla="*/ 1760220 w 1760220"/>
                    <a:gd name="connsiteY4" fmla="*/ 1028700 h 1661160"/>
                    <a:gd name="connsiteX5" fmla="*/ 1615440 w 1760220"/>
                    <a:gd name="connsiteY5" fmla="*/ 1356360 h 1661160"/>
                    <a:gd name="connsiteX6" fmla="*/ 1310640 w 1760220"/>
                    <a:gd name="connsiteY6" fmla="*/ 1661160 h 1661160"/>
                    <a:gd name="connsiteX7" fmla="*/ 411480 w 1760220"/>
                    <a:gd name="connsiteY7" fmla="*/ 1249680 h 1661160"/>
                    <a:gd name="connsiteX8" fmla="*/ 91440 w 1760220"/>
                    <a:gd name="connsiteY8" fmla="*/ 701040 h 1661160"/>
                    <a:gd name="connsiteX9" fmla="*/ 0 w 1760220"/>
                    <a:gd name="connsiteY9" fmla="*/ 213360 h 1661160"/>
                    <a:gd name="connsiteX10" fmla="*/ 99060 w 1760220"/>
                    <a:gd name="connsiteY10" fmla="*/ 76200 h 1661160"/>
                    <a:gd name="connsiteX0" fmla="*/ 7620 w 1668780"/>
                    <a:gd name="connsiteY0" fmla="*/ 76200 h 1661160"/>
                    <a:gd name="connsiteX1" fmla="*/ 1295400 w 1668780"/>
                    <a:gd name="connsiteY1" fmla="*/ 0 h 1661160"/>
                    <a:gd name="connsiteX2" fmla="*/ 1303020 w 1668780"/>
                    <a:gd name="connsiteY2" fmla="*/ 205740 h 1661160"/>
                    <a:gd name="connsiteX3" fmla="*/ 1295400 w 1668780"/>
                    <a:gd name="connsiteY3" fmla="*/ 457200 h 1661160"/>
                    <a:gd name="connsiteX4" fmla="*/ 1668780 w 1668780"/>
                    <a:gd name="connsiteY4" fmla="*/ 1028700 h 1661160"/>
                    <a:gd name="connsiteX5" fmla="*/ 1524000 w 1668780"/>
                    <a:gd name="connsiteY5" fmla="*/ 1356360 h 1661160"/>
                    <a:gd name="connsiteX6" fmla="*/ 1219200 w 1668780"/>
                    <a:gd name="connsiteY6" fmla="*/ 1661160 h 1661160"/>
                    <a:gd name="connsiteX7" fmla="*/ 320040 w 1668780"/>
                    <a:gd name="connsiteY7" fmla="*/ 1249680 h 1661160"/>
                    <a:gd name="connsiteX8" fmla="*/ 0 w 1668780"/>
                    <a:gd name="connsiteY8" fmla="*/ 701040 h 1661160"/>
                    <a:gd name="connsiteX9" fmla="*/ 3810 w 1668780"/>
                    <a:gd name="connsiteY9" fmla="*/ 210979 h 1661160"/>
                    <a:gd name="connsiteX10" fmla="*/ 7620 w 1668780"/>
                    <a:gd name="connsiteY10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74772 w 1664970"/>
                    <a:gd name="connsiteY8" fmla="*/ 415290 h 1661160"/>
                    <a:gd name="connsiteX9" fmla="*/ 0 w 1664970"/>
                    <a:gd name="connsiteY9" fmla="*/ 210979 h 1661160"/>
                    <a:gd name="connsiteX10" fmla="*/ 3810 w 1664970"/>
                    <a:gd name="connsiteY10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102394 w 1664970"/>
                    <a:gd name="connsiteY8" fmla="*/ 525304 h 1661160"/>
                    <a:gd name="connsiteX9" fmla="*/ 74772 w 1664970"/>
                    <a:gd name="connsiteY9" fmla="*/ 415290 h 1661160"/>
                    <a:gd name="connsiteX10" fmla="*/ 0 w 1664970"/>
                    <a:gd name="connsiteY10" fmla="*/ 210979 h 1661160"/>
                    <a:gd name="connsiteX11" fmla="*/ 3810 w 1664970"/>
                    <a:gd name="connsiteY11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121444 w 1664970"/>
                    <a:gd name="connsiteY8" fmla="*/ 477679 h 1661160"/>
                    <a:gd name="connsiteX9" fmla="*/ 74772 w 1664970"/>
                    <a:gd name="connsiteY9" fmla="*/ 415290 h 1661160"/>
                    <a:gd name="connsiteX10" fmla="*/ 0 w 1664970"/>
                    <a:gd name="connsiteY10" fmla="*/ 210979 h 1661160"/>
                    <a:gd name="connsiteX11" fmla="*/ 3810 w 1664970"/>
                    <a:gd name="connsiteY11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164306 w 1664970"/>
                    <a:gd name="connsiteY8" fmla="*/ 656273 h 1661160"/>
                    <a:gd name="connsiteX9" fmla="*/ 121444 w 1664970"/>
                    <a:gd name="connsiteY9" fmla="*/ 477679 h 1661160"/>
                    <a:gd name="connsiteX10" fmla="*/ 74772 w 1664970"/>
                    <a:gd name="connsiteY10" fmla="*/ 415290 h 1661160"/>
                    <a:gd name="connsiteX11" fmla="*/ 0 w 1664970"/>
                    <a:gd name="connsiteY11" fmla="*/ 210979 h 1661160"/>
                    <a:gd name="connsiteX12" fmla="*/ 3810 w 1664970"/>
                    <a:gd name="connsiteY12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130969 w 1664970"/>
                    <a:gd name="connsiteY8" fmla="*/ 632461 h 1661160"/>
                    <a:gd name="connsiteX9" fmla="*/ 121444 w 1664970"/>
                    <a:gd name="connsiteY9" fmla="*/ 477679 h 1661160"/>
                    <a:gd name="connsiteX10" fmla="*/ 74772 w 1664970"/>
                    <a:gd name="connsiteY10" fmla="*/ 415290 h 1661160"/>
                    <a:gd name="connsiteX11" fmla="*/ 0 w 1664970"/>
                    <a:gd name="connsiteY11" fmla="*/ 210979 h 1661160"/>
                    <a:gd name="connsiteX12" fmla="*/ 3810 w 1664970"/>
                    <a:gd name="connsiteY12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157163 w 1664970"/>
                    <a:gd name="connsiteY8" fmla="*/ 722948 h 1661160"/>
                    <a:gd name="connsiteX9" fmla="*/ 130969 w 1664970"/>
                    <a:gd name="connsiteY9" fmla="*/ 632461 h 1661160"/>
                    <a:gd name="connsiteX10" fmla="*/ 121444 w 1664970"/>
                    <a:gd name="connsiteY10" fmla="*/ 477679 h 1661160"/>
                    <a:gd name="connsiteX11" fmla="*/ 74772 w 1664970"/>
                    <a:gd name="connsiteY11" fmla="*/ 415290 h 1661160"/>
                    <a:gd name="connsiteX12" fmla="*/ 0 w 1664970"/>
                    <a:gd name="connsiteY12" fmla="*/ 210979 h 1661160"/>
                    <a:gd name="connsiteX13" fmla="*/ 3810 w 1664970"/>
                    <a:gd name="connsiteY13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209550 w 1664970"/>
                    <a:gd name="connsiteY8" fmla="*/ 663417 h 1661160"/>
                    <a:gd name="connsiteX9" fmla="*/ 130969 w 1664970"/>
                    <a:gd name="connsiteY9" fmla="*/ 632461 h 1661160"/>
                    <a:gd name="connsiteX10" fmla="*/ 121444 w 1664970"/>
                    <a:gd name="connsiteY10" fmla="*/ 477679 h 1661160"/>
                    <a:gd name="connsiteX11" fmla="*/ 74772 w 1664970"/>
                    <a:gd name="connsiteY11" fmla="*/ 415290 h 1661160"/>
                    <a:gd name="connsiteX12" fmla="*/ 0 w 1664970"/>
                    <a:gd name="connsiteY12" fmla="*/ 210979 h 1661160"/>
                    <a:gd name="connsiteX13" fmla="*/ 3810 w 1664970"/>
                    <a:gd name="connsiteY13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235744 w 1664970"/>
                    <a:gd name="connsiteY8" fmla="*/ 815816 h 1661160"/>
                    <a:gd name="connsiteX9" fmla="*/ 209550 w 1664970"/>
                    <a:gd name="connsiteY9" fmla="*/ 663417 h 1661160"/>
                    <a:gd name="connsiteX10" fmla="*/ 130969 w 1664970"/>
                    <a:gd name="connsiteY10" fmla="*/ 632461 h 1661160"/>
                    <a:gd name="connsiteX11" fmla="*/ 121444 w 1664970"/>
                    <a:gd name="connsiteY11" fmla="*/ 477679 h 1661160"/>
                    <a:gd name="connsiteX12" fmla="*/ 74772 w 1664970"/>
                    <a:gd name="connsiteY12" fmla="*/ 415290 h 1661160"/>
                    <a:gd name="connsiteX13" fmla="*/ 0 w 1664970"/>
                    <a:gd name="connsiteY13" fmla="*/ 210979 h 1661160"/>
                    <a:gd name="connsiteX14" fmla="*/ 3810 w 1664970"/>
                    <a:gd name="connsiteY14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230981 w 1664970"/>
                    <a:gd name="connsiteY8" fmla="*/ 780097 h 1661160"/>
                    <a:gd name="connsiteX9" fmla="*/ 209550 w 1664970"/>
                    <a:gd name="connsiteY9" fmla="*/ 663417 h 1661160"/>
                    <a:gd name="connsiteX10" fmla="*/ 130969 w 1664970"/>
                    <a:gd name="connsiteY10" fmla="*/ 632461 h 1661160"/>
                    <a:gd name="connsiteX11" fmla="*/ 121444 w 1664970"/>
                    <a:gd name="connsiteY11" fmla="*/ 477679 h 1661160"/>
                    <a:gd name="connsiteX12" fmla="*/ 74772 w 1664970"/>
                    <a:gd name="connsiteY12" fmla="*/ 415290 h 1661160"/>
                    <a:gd name="connsiteX13" fmla="*/ 0 w 1664970"/>
                    <a:gd name="connsiteY13" fmla="*/ 210979 h 1661160"/>
                    <a:gd name="connsiteX14" fmla="*/ 3810 w 1664970"/>
                    <a:gd name="connsiteY14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276225 w 1664970"/>
                    <a:gd name="connsiteY8" fmla="*/ 1030129 h 1661160"/>
                    <a:gd name="connsiteX9" fmla="*/ 230981 w 1664970"/>
                    <a:gd name="connsiteY9" fmla="*/ 780097 h 1661160"/>
                    <a:gd name="connsiteX10" fmla="*/ 209550 w 1664970"/>
                    <a:gd name="connsiteY10" fmla="*/ 663417 h 1661160"/>
                    <a:gd name="connsiteX11" fmla="*/ 130969 w 1664970"/>
                    <a:gd name="connsiteY11" fmla="*/ 632461 h 1661160"/>
                    <a:gd name="connsiteX12" fmla="*/ 121444 w 1664970"/>
                    <a:gd name="connsiteY12" fmla="*/ 477679 h 1661160"/>
                    <a:gd name="connsiteX13" fmla="*/ 74772 w 1664970"/>
                    <a:gd name="connsiteY13" fmla="*/ 415290 h 1661160"/>
                    <a:gd name="connsiteX14" fmla="*/ 0 w 1664970"/>
                    <a:gd name="connsiteY14" fmla="*/ 210979 h 1661160"/>
                    <a:gd name="connsiteX15" fmla="*/ 3810 w 1664970"/>
                    <a:gd name="connsiteY15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292893 w 1664970"/>
                    <a:gd name="connsiteY8" fmla="*/ 861060 h 1661160"/>
                    <a:gd name="connsiteX9" fmla="*/ 230981 w 1664970"/>
                    <a:gd name="connsiteY9" fmla="*/ 780097 h 1661160"/>
                    <a:gd name="connsiteX10" fmla="*/ 209550 w 1664970"/>
                    <a:gd name="connsiteY10" fmla="*/ 663417 h 1661160"/>
                    <a:gd name="connsiteX11" fmla="*/ 130969 w 1664970"/>
                    <a:gd name="connsiteY11" fmla="*/ 632461 h 1661160"/>
                    <a:gd name="connsiteX12" fmla="*/ 121444 w 1664970"/>
                    <a:gd name="connsiteY12" fmla="*/ 477679 h 1661160"/>
                    <a:gd name="connsiteX13" fmla="*/ 74772 w 1664970"/>
                    <a:gd name="connsiteY13" fmla="*/ 415290 h 1661160"/>
                    <a:gd name="connsiteX14" fmla="*/ 0 w 1664970"/>
                    <a:gd name="connsiteY14" fmla="*/ 210979 h 1661160"/>
                    <a:gd name="connsiteX15" fmla="*/ 3810 w 1664970"/>
                    <a:gd name="connsiteY15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302419 w 1664970"/>
                    <a:gd name="connsiteY8" fmla="*/ 1042035 h 1661160"/>
                    <a:gd name="connsiteX9" fmla="*/ 292893 w 1664970"/>
                    <a:gd name="connsiteY9" fmla="*/ 861060 h 1661160"/>
                    <a:gd name="connsiteX10" fmla="*/ 230981 w 1664970"/>
                    <a:gd name="connsiteY10" fmla="*/ 780097 h 1661160"/>
                    <a:gd name="connsiteX11" fmla="*/ 209550 w 1664970"/>
                    <a:gd name="connsiteY11" fmla="*/ 663417 h 1661160"/>
                    <a:gd name="connsiteX12" fmla="*/ 130969 w 1664970"/>
                    <a:gd name="connsiteY12" fmla="*/ 632461 h 1661160"/>
                    <a:gd name="connsiteX13" fmla="*/ 121444 w 1664970"/>
                    <a:gd name="connsiteY13" fmla="*/ 477679 h 1661160"/>
                    <a:gd name="connsiteX14" fmla="*/ 74772 w 1664970"/>
                    <a:gd name="connsiteY14" fmla="*/ 415290 h 1661160"/>
                    <a:gd name="connsiteX15" fmla="*/ 0 w 1664970"/>
                    <a:gd name="connsiteY15" fmla="*/ 210979 h 1661160"/>
                    <a:gd name="connsiteX16" fmla="*/ 3810 w 1664970"/>
                    <a:gd name="connsiteY16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316230 w 1664970"/>
                    <a:gd name="connsiteY7" fmla="*/ 1249680 h 1661160"/>
                    <a:gd name="connsiteX8" fmla="*/ 290513 w 1664970"/>
                    <a:gd name="connsiteY8" fmla="*/ 956310 h 1661160"/>
                    <a:gd name="connsiteX9" fmla="*/ 292893 w 1664970"/>
                    <a:gd name="connsiteY9" fmla="*/ 861060 h 1661160"/>
                    <a:gd name="connsiteX10" fmla="*/ 230981 w 1664970"/>
                    <a:gd name="connsiteY10" fmla="*/ 780097 h 1661160"/>
                    <a:gd name="connsiteX11" fmla="*/ 209550 w 1664970"/>
                    <a:gd name="connsiteY11" fmla="*/ 663417 h 1661160"/>
                    <a:gd name="connsiteX12" fmla="*/ 130969 w 1664970"/>
                    <a:gd name="connsiteY12" fmla="*/ 632461 h 1661160"/>
                    <a:gd name="connsiteX13" fmla="*/ 121444 w 1664970"/>
                    <a:gd name="connsiteY13" fmla="*/ 477679 h 1661160"/>
                    <a:gd name="connsiteX14" fmla="*/ 74772 w 1664970"/>
                    <a:gd name="connsiteY14" fmla="*/ 415290 h 1661160"/>
                    <a:gd name="connsiteX15" fmla="*/ 0 w 1664970"/>
                    <a:gd name="connsiteY15" fmla="*/ 210979 h 1661160"/>
                    <a:gd name="connsiteX16" fmla="*/ 3810 w 1664970"/>
                    <a:gd name="connsiteY16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463868 w 1664970"/>
                    <a:gd name="connsiteY7" fmla="*/ 1152049 h 1661160"/>
                    <a:gd name="connsiteX8" fmla="*/ 290513 w 1664970"/>
                    <a:gd name="connsiteY8" fmla="*/ 956310 h 1661160"/>
                    <a:gd name="connsiteX9" fmla="*/ 292893 w 1664970"/>
                    <a:gd name="connsiteY9" fmla="*/ 861060 h 1661160"/>
                    <a:gd name="connsiteX10" fmla="*/ 230981 w 1664970"/>
                    <a:gd name="connsiteY10" fmla="*/ 780097 h 1661160"/>
                    <a:gd name="connsiteX11" fmla="*/ 209550 w 1664970"/>
                    <a:gd name="connsiteY11" fmla="*/ 663417 h 1661160"/>
                    <a:gd name="connsiteX12" fmla="*/ 130969 w 1664970"/>
                    <a:gd name="connsiteY12" fmla="*/ 632461 h 1661160"/>
                    <a:gd name="connsiteX13" fmla="*/ 121444 w 1664970"/>
                    <a:gd name="connsiteY13" fmla="*/ 477679 h 1661160"/>
                    <a:gd name="connsiteX14" fmla="*/ 74772 w 1664970"/>
                    <a:gd name="connsiteY14" fmla="*/ 415290 h 1661160"/>
                    <a:gd name="connsiteX15" fmla="*/ 0 w 1664970"/>
                    <a:gd name="connsiteY15" fmla="*/ 210979 h 1661160"/>
                    <a:gd name="connsiteX16" fmla="*/ 3810 w 1664970"/>
                    <a:gd name="connsiteY16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676275 w 1664970"/>
                    <a:gd name="connsiteY7" fmla="*/ 1289685 h 1661160"/>
                    <a:gd name="connsiteX8" fmla="*/ 463868 w 1664970"/>
                    <a:gd name="connsiteY8" fmla="*/ 1152049 h 1661160"/>
                    <a:gd name="connsiteX9" fmla="*/ 290513 w 1664970"/>
                    <a:gd name="connsiteY9" fmla="*/ 956310 h 1661160"/>
                    <a:gd name="connsiteX10" fmla="*/ 292893 w 1664970"/>
                    <a:gd name="connsiteY10" fmla="*/ 861060 h 1661160"/>
                    <a:gd name="connsiteX11" fmla="*/ 230981 w 1664970"/>
                    <a:gd name="connsiteY11" fmla="*/ 780097 h 1661160"/>
                    <a:gd name="connsiteX12" fmla="*/ 209550 w 1664970"/>
                    <a:gd name="connsiteY12" fmla="*/ 663417 h 1661160"/>
                    <a:gd name="connsiteX13" fmla="*/ 130969 w 1664970"/>
                    <a:gd name="connsiteY13" fmla="*/ 632461 h 1661160"/>
                    <a:gd name="connsiteX14" fmla="*/ 121444 w 1664970"/>
                    <a:gd name="connsiteY14" fmla="*/ 477679 h 1661160"/>
                    <a:gd name="connsiteX15" fmla="*/ 74772 w 1664970"/>
                    <a:gd name="connsiteY15" fmla="*/ 415290 h 1661160"/>
                    <a:gd name="connsiteX16" fmla="*/ 0 w 1664970"/>
                    <a:gd name="connsiteY16" fmla="*/ 210979 h 1661160"/>
                    <a:gd name="connsiteX17" fmla="*/ 3810 w 1664970"/>
                    <a:gd name="connsiteY17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583406 w 1664970"/>
                    <a:gd name="connsiteY7" fmla="*/ 1146810 h 1661160"/>
                    <a:gd name="connsiteX8" fmla="*/ 463868 w 1664970"/>
                    <a:gd name="connsiteY8" fmla="*/ 1152049 h 1661160"/>
                    <a:gd name="connsiteX9" fmla="*/ 290513 w 1664970"/>
                    <a:gd name="connsiteY9" fmla="*/ 956310 h 1661160"/>
                    <a:gd name="connsiteX10" fmla="*/ 292893 w 1664970"/>
                    <a:gd name="connsiteY10" fmla="*/ 861060 h 1661160"/>
                    <a:gd name="connsiteX11" fmla="*/ 230981 w 1664970"/>
                    <a:gd name="connsiteY11" fmla="*/ 780097 h 1661160"/>
                    <a:gd name="connsiteX12" fmla="*/ 209550 w 1664970"/>
                    <a:gd name="connsiteY12" fmla="*/ 663417 h 1661160"/>
                    <a:gd name="connsiteX13" fmla="*/ 130969 w 1664970"/>
                    <a:gd name="connsiteY13" fmla="*/ 632461 h 1661160"/>
                    <a:gd name="connsiteX14" fmla="*/ 121444 w 1664970"/>
                    <a:gd name="connsiteY14" fmla="*/ 477679 h 1661160"/>
                    <a:gd name="connsiteX15" fmla="*/ 74772 w 1664970"/>
                    <a:gd name="connsiteY15" fmla="*/ 415290 h 1661160"/>
                    <a:gd name="connsiteX16" fmla="*/ 0 w 1664970"/>
                    <a:gd name="connsiteY16" fmla="*/ 210979 h 1661160"/>
                    <a:gd name="connsiteX17" fmla="*/ 3810 w 1664970"/>
                    <a:gd name="connsiteY17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583406 w 1664970"/>
                    <a:gd name="connsiteY7" fmla="*/ 1146810 h 1661160"/>
                    <a:gd name="connsiteX8" fmla="*/ 516731 w 1664970"/>
                    <a:gd name="connsiteY8" fmla="*/ 1151573 h 1661160"/>
                    <a:gd name="connsiteX9" fmla="*/ 463868 w 1664970"/>
                    <a:gd name="connsiteY9" fmla="*/ 1152049 h 1661160"/>
                    <a:gd name="connsiteX10" fmla="*/ 290513 w 1664970"/>
                    <a:gd name="connsiteY10" fmla="*/ 956310 h 1661160"/>
                    <a:gd name="connsiteX11" fmla="*/ 292893 w 1664970"/>
                    <a:gd name="connsiteY11" fmla="*/ 861060 h 1661160"/>
                    <a:gd name="connsiteX12" fmla="*/ 230981 w 1664970"/>
                    <a:gd name="connsiteY12" fmla="*/ 780097 h 1661160"/>
                    <a:gd name="connsiteX13" fmla="*/ 209550 w 1664970"/>
                    <a:gd name="connsiteY13" fmla="*/ 663417 h 1661160"/>
                    <a:gd name="connsiteX14" fmla="*/ 130969 w 1664970"/>
                    <a:gd name="connsiteY14" fmla="*/ 632461 h 1661160"/>
                    <a:gd name="connsiteX15" fmla="*/ 121444 w 1664970"/>
                    <a:gd name="connsiteY15" fmla="*/ 477679 h 1661160"/>
                    <a:gd name="connsiteX16" fmla="*/ 74772 w 1664970"/>
                    <a:gd name="connsiteY16" fmla="*/ 415290 h 1661160"/>
                    <a:gd name="connsiteX17" fmla="*/ 0 w 1664970"/>
                    <a:gd name="connsiteY17" fmla="*/ 210979 h 1661160"/>
                    <a:gd name="connsiteX18" fmla="*/ 3810 w 1664970"/>
                    <a:gd name="connsiteY18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583406 w 1664970"/>
                    <a:gd name="connsiteY7" fmla="*/ 1146810 h 1661160"/>
                    <a:gd name="connsiteX8" fmla="*/ 516731 w 1664970"/>
                    <a:gd name="connsiteY8" fmla="*/ 1182529 h 1661160"/>
                    <a:gd name="connsiteX9" fmla="*/ 463868 w 1664970"/>
                    <a:gd name="connsiteY9" fmla="*/ 1152049 h 1661160"/>
                    <a:gd name="connsiteX10" fmla="*/ 290513 w 1664970"/>
                    <a:gd name="connsiteY10" fmla="*/ 956310 h 1661160"/>
                    <a:gd name="connsiteX11" fmla="*/ 292893 w 1664970"/>
                    <a:gd name="connsiteY11" fmla="*/ 861060 h 1661160"/>
                    <a:gd name="connsiteX12" fmla="*/ 230981 w 1664970"/>
                    <a:gd name="connsiteY12" fmla="*/ 780097 h 1661160"/>
                    <a:gd name="connsiteX13" fmla="*/ 209550 w 1664970"/>
                    <a:gd name="connsiteY13" fmla="*/ 663417 h 1661160"/>
                    <a:gd name="connsiteX14" fmla="*/ 130969 w 1664970"/>
                    <a:gd name="connsiteY14" fmla="*/ 632461 h 1661160"/>
                    <a:gd name="connsiteX15" fmla="*/ 121444 w 1664970"/>
                    <a:gd name="connsiteY15" fmla="*/ 477679 h 1661160"/>
                    <a:gd name="connsiteX16" fmla="*/ 74772 w 1664970"/>
                    <a:gd name="connsiteY16" fmla="*/ 415290 h 1661160"/>
                    <a:gd name="connsiteX17" fmla="*/ 0 w 1664970"/>
                    <a:gd name="connsiteY17" fmla="*/ 210979 h 1661160"/>
                    <a:gd name="connsiteX18" fmla="*/ 3810 w 1664970"/>
                    <a:gd name="connsiteY18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661988 w 1664970"/>
                    <a:gd name="connsiteY7" fmla="*/ 1215866 h 1661160"/>
                    <a:gd name="connsiteX8" fmla="*/ 583406 w 1664970"/>
                    <a:gd name="connsiteY8" fmla="*/ 1146810 h 1661160"/>
                    <a:gd name="connsiteX9" fmla="*/ 516731 w 1664970"/>
                    <a:gd name="connsiteY9" fmla="*/ 1182529 h 1661160"/>
                    <a:gd name="connsiteX10" fmla="*/ 463868 w 1664970"/>
                    <a:gd name="connsiteY10" fmla="*/ 1152049 h 1661160"/>
                    <a:gd name="connsiteX11" fmla="*/ 290513 w 1664970"/>
                    <a:gd name="connsiteY11" fmla="*/ 956310 h 1661160"/>
                    <a:gd name="connsiteX12" fmla="*/ 292893 w 1664970"/>
                    <a:gd name="connsiteY12" fmla="*/ 861060 h 1661160"/>
                    <a:gd name="connsiteX13" fmla="*/ 230981 w 1664970"/>
                    <a:gd name="connsiteY13" fmla="*/ 780097 h 1661160"/>
                    <a:gd name="connsiteX14" fmla="*/ 209550 w 1664970"/>
                    <a:gd name="connsiteY14" fmla="*/ 663417 h 1661160"/>
                    <a:gd name="connsiteX15" fmla="*/ 130969 w 1664970"/>
                    <a:gd name="connsiteY15" fmla="*/ 632461 h 1661160"/>
                    <a:gd name="connsiteX16" fmla="*/ 121444 w 1664970"/>
                    <a:gd name="connsiteY16" fmla="*/ 477679 h 1661160"/>
                    <a:gd name="connsiteX17" fmla="*/ 74772 w 1664970"/>
                    <a:gd name="connsiteY17" fmla="*/ 415290 h 1661160"/>
                    <a:gd name="connsiteX18" fmla="*/ 0 w 1664970"/>
                    <a:gd name="connsiteY18" fmla="*/ 210979 h 1661160"/>
                    <a:gd name="connsiteX19" fmla="*/ 3810 w 1664970"/>
                    <a:gd name="connsiteY19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716756 w 1664970"/>
                    <a:gd name="connsiteY7" fmla="*/ 1180147 h 1661160"/>
                    <a:gd name="connsiteX8" fmla="*/ 583406 w 1664970"/>
                    <a:gd name="connsiteY8" fmla="*/ 1146810 h 1661160"/>
                    <a:gd name="connsiteX9" fmla="*/ 516731 w 1664970"/>
                    <a:gd name="connsiteY9" fmla="*/ 1182529 h 1661160"/>
                    <a:gd name="connsiteX10" fmla="*/ 463868 w 1664970"/>
                    <a:gd name="connsiteY10" fmla="*/ 1152049 h 1661160"/>
                    <a:gd name="connsiteX11" fmla="*/ 290513 w 1664970"/>
                    <a:gd name="connsiteY11" fmla="*/ 956310 h 1661160"/>
                    <a:gd name="connsiteX12" fmla="*/ 292893 w 1664970"/>
                    <a:gd name="connsiteY12" fmla="*/ 861060 h 1661160"/>
                    <a:gd name="connsiteX13" fmla="*/ 230981 w 1664970"/>
                    <a:gd name="connsiteY13" fmla="*/ 780097 h 1661160"/>
                    <a:gd name="connsiteX14" fmla="*/ 209550 w 1664970"/>
                    <a:gd name="connsiteY14" fmla="*/ 663417 h 1661160"/>
                    <a:gd name="connsiteX15" fmla="*/ 130969 w 1664970"/>
                    <a:gd name="connsiteY15" fmla="*/ 632461 h 1661160"/>
                    <a:gd name="connsiteX16" fmla="*/ 121444 w 1664970"/>
                    <a:gd name="connsiteY16" fmla="*/ 477679 h 1661160"/>
                    <a:gd name="connsiteX17" fmla="*/ 74772 w 1664970"/>
                    <a:gd name="connsiteY17" fmla="*/ 415290 h 1661160"/>
                    <a:gd name="connsiteX18" fmla="*/ 0 w 1664970"/>
                    <a:gd name="connsiteY18" fmla="*/ 210979 h 1661160"/>
                    <a:gd name="connsiteX19" fmla="*/ 3810 w 1664970"/>
                    <a:gd name="connsiteY19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807244 w 1664970"/>
                    <a:gd name="connsiteY7" fmla="*/ 1273016 h 1661160"/>
                    <a:gd name="connsiteX8" fmla="*/ 716756 w 1664970"/>
                    <a:gd name="connsiteY8" fmla="*/ 1180147 h 1661160"/>
                    <a:gd name="connsiteX9" fmla="*/ 583406 w 1664970"/>
                    <a:gd name="connsiteY9" fmla="*/ 1146810 h 1661160"/>
                    <a:gd name="connsiteX10" fmla="*/ 516731 w 1664970"/>
                    <a:gd name="connsiteY10" fmla="*/ 1182529 h 1661160"/>
                    <a:gd name="connsiteX11" fmla="*/ 463868 w 1664970"/>
                    <a:gd name="connsiteY11" fmla="*/ 1152049 h 1661160"/>
                    <a:gd name="connsiteX12" fmla="*/ 290513 w 1664970"/>
                    <a:gd name="connsiteY12" fmla="*/ 956310 h 1661160"/>
                    <a:gd name="connsiteX13" fmla="*/ 292893 w 1664970"/>
                    <a:gd name="connsiteY13" fmla="*/ 861060 h 1661160"/>
                    <a:gd name="connsiteX14" fmla="*/ 230981 w 1664970"/>
                    <a:gd name="connsiteY14" fmla="*/ 780097 h 1661160"/>
                    <a:gd name="connsiteX15" fmla="*/ 209550 w 1664970"/>
                    <a:gd name="connsiteY15" fmla="*/ 663417 h 1661160"/>
                    <a:gd name="connsiteX16" fmla="*/ 130969 w 1664970"/>
                    <a:gd name="connsiteY16" fmla="*/ 632461 h 1661160"/>
                    <a:gd name="connsiteX17" fmla="*/ 121444 w 1664970"/>
                    <a:gd name="connsiteY17" fmla="*/ 477679 h 1661160"/>
                    <a:gd name="connsiteX18" fmla="*/ 74772 w 1664970"/>
                    <a:gd name="connsiteY18" fmla="*/ 415290 h 1661160"/>
                    <a:gd name="connsiteX19" fmla="*/ 0 w 1664970"/>
                    <a:gd name="connsiteY19" fmla="*/ 210979 h 1661160"/>
                    <a:gd name="connsiteX20" fmla="*/ 3810 w 1664970"/>
                    <a:gd name="connsiteY20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804863 w 1664970"/>
                    <a:gd name="connsiteY7" fmla="*/ 1223010 h 1661160"/>
                    <a:gd name="connsiteX8" fmla="*/ 716756 w 1664970"/>
                    <a:gd name="connsiteY8" fmla="*/ 1180147 h 1661160"/>
                    <a:gd name="connsiteX9" fmla="*/ 583406 w 1664970"/>
                    <a:gd name="connsiteY9" fmla="*/ 1146810 h 1661160"/>
                    <a:gd name="connsiteX10" fmla="*/ 516731 w 1664970"/>
                    <a:gd name="connsiteY10" fmla="*/ 1182529 h 1661160"/>
                    <a:gd name="connsiteX11" fmla="*/ 463868 w 1664970"/>
                    <a:gd name="connsiteY11" fmla="*/ 1152049 h 1661160"/>
                    <a:gd name="connsiteX12" fmla="*/ 290513 w 1664970"/>
                    <a:gd name="connsiteY12" fmla="*/ 956310 h 1661160"/>
                    <a:gd name="connsiteX13" fmla="*/ 292893 w 1664970"/>
                    <a:gd name="connsiteY13" fmla="*/ 861060 h 1661160"/>
                    <a:gd name="connsiteX14" fmla="*/ 230981 w 1664970"/>
                    <a:gd name="connsiteY14" fmla="*/ 780097 h 1661160"/>
                    <a:gd name="connsiteX15" fmla="*/ 209550 w 1664970"/>
                    <a:gd name="connsiteY15" fmla="*/ 663417 h 1661160"/>
                    <a:gd name="connsiteX16" fmla="*/ 130969 w 1664970"/>
                    <a:gd name="connsiteY16" fmla="*/ 632461 h 1661160"/>
                    <a:gd name="connsiteX17" fmla="*/ 121444 w 1664970"/>
                    <a:gd name="connsiteY17" fmla="*/ 477679 h 1661160"/>
                    <a:gd name="connsiteX18" fmla="*/ 74772 w 1664970"/>
                    <a:gd name="connsiteY18" fmla="*/ 415290 h 1661160"/>
                    <a:gd name="connsiteX19" fmla="*/ 0 w 1664970"/>
                    <a:gd name="connsiteY19" fmla="*/ 210979 h 1661160"/>
                    <a:gd name="connsiteX20" fmla="*/ 3810 w 1664970"/>
                    <a:gd name="connsiteY20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900113 w 1664970"/>
                    <a:gd name="connsiteY7" fmla="*/ 1330166 h 1661160"/>
                    <a:gd name="connsiteX8" fmla="*/ 804863 w 1664970"/>
                    <a:gd name="connsiteY8" fmla="*/ 1223010 h 1661160"/>
                    <a:gd name="connsiteX9" fmla="*/ 716756 w 1664970"/>
                    <a:gd name="connsiteY9" fmla="*/ 1180147 h 1661160"/>
                    <a:gd name="connsiteX10" fmla="*/ 583406 w 1664970"/>
                    <a:gd name="connsiteY10" fmla="*/ 1146810 h 1661160"/>
                    <a:gd name="connsiteX11" fmla="*/ 516731 w 1664970"/>
                    <a:gd name="connsiteY11" fmla="*/ 1182529 h 1661160"/>
                    <a:gd name="connsiteX12" fmla="*/ 463868 w 1664970"/>
                    <a:gd name="connsiteY12" fmla="*/ 1152049 h 1661160"/>
                    <a:gd name="connsiteX13" fmla="*/ 290513 w 1664970"/>
                    <a:gd name="connsiteY13" fmla="*/ 956310 h 1661160"/>
                    <a:gd name="connsiteX14" fmla="*/ 292893 w 1664970"/>
                    <a:gd name="connsiteY14" fmla="*/ 861060 h 1661160"/>
                    <a:gd name="connsiteX15" fmla="*/ 230981 w 1664970"/>
                    <a:gd name="connsiteY15" fmla="*/ 780097 h 1661160"/>
                    <a:gd name="connsiteX16" fmla="*/ 209550 w 1664970"/>
                    <a:gd name="connsiteY16" fmla="*/ 663417 h 1661160"/>
                    <a:gd name="connsiteX17" fmla="*/ 130969 w 1664970"/>
                    <a:gd name="connsiteY17" fmla="*/ 632461 h 1661160"/>
                    <a:gd name="connsiteX18" fmla="*/ 121444 w 1664970"/>
                    <a:gd name="connsiteY18" fmla="*/ 477679 h 1661160"/>
                    <a:gd name="connsiteX19" fmla="*/ 74772 w 1664970"/>
                    <a:gd name="connsiteY19" fmla="*/ 415290 h 1661160"/>
                    <a:gd name="connsiteX20" fmla="*/ 0 w 1664970"/>
                    <a:gd name="connsiteY20" fmla="*/ 210979 h 1661160"/>
                    <a:gd name="connsiteX21" fmla="*/ 3810 w 1664970"/>
                    <a:gd name="connsiteY21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797719 w 1664970"/>
                    <a:gd name="connsiteY7" fmla="*/ 1294447 h 1661160"/>
                    <a:gd name="connsiteX8" fmla="*/ 804863 w 1664970"/>
                    <a:gd name="connsiteY8" fmla="*/ 1223010 h 1661160"/>
                    <a:gd name="connsiteX9" fmla="*/ 716756 w 1664970"/>
                    <a:gd name="connsiteY9" fmla="*/ 1180147 h 1661160"/>
                    <a:gd name="connsiteX10" fmla="*/ 583406 w 1664970"/>
                    <a:gd name="connsiteY10" fmla="*/ 1146810 h 1661160"/>
                    <a:gd name="connsiteX11" fmla="*/ 516731 w 1664970"/>
                    <a:gd name="connsiteY11" fmla="*/ 1182529 h 1661160"/>
                    <a:gd name="connsiteX12" fmla="*/ 463868 w 1664970"/>
                    <a:gd name="connsiteY12" fmla="*/ 1152049 h 1661160"/>
                    <a:gd name="connsiteX13" fmla="*/ 290513 w 1664970"/>
                    <a:gd name="connsiteY13" fmla="*/ 956310 h 1661160"/>
                    <a:gd name="connsiteX14" fmla="*/ 292893 w 1664970"/>
                    <a:gd name="connsiteY14" fmla="*/ 861060 h 1661160"/>
                    <a:gd name="connsiteX15" fmla="*/ 230981 w 1664970"/>
                    <a:gd name="connsiteY15" fmla="*/ 780097 h 1661160"/>
                    <a:gd name="connsiteX16" fmla="*/ 209550 w 1664970"/>
                    <a:gd name="connsiteY16" fmla="*/ 663417 h 1661160"/>
                    <a:gd name="connsiteX17" fmla="*/ 130969 w 1664970"/>
                    <a:gd name="connsiteY17" fmla="*/ 632461 h 1661160"/>
                    <a:gd name="connsiteX18" fmla="*/ 121444 w 1664970"/>
                    <a:gd name="connsiteY18" fmla="*/ 477679 h 1661160"/>
                    <a:gd name="connsiteX19" fmla="*/ 74772 w 1664970"/>
                    <a:gd name="connsiteY19" fmla="*/ 415290 h 1661160"/>
                    <a:gd name="connsiteX20" fmla="*/ 0 w 1664970"/>
                    <a:gd name="connsiteY20" fmla="*/ 210979 h 1661160"/>
                    <a:gd name="connsiteX21" fmla="*/ 3810 w 1664970"/>
                    <a:gd name="connsiteY21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983456 w 1664970"/>
                    <a:gd name="connsiteY7" fmla="*/ 1453991 h 1661160"/>
                    <a:gd name="connsiteX8" fmla="*/ 797719 w 1664970"/>
                    <a:gd name="connsiteY8" fmla="*/ 1294447 h 1661160"/>
                    <a:gd name="connsiteX9" fmla="*/ 804863 w 1664970"/>
                    <a:gd name="connsiteY9" fmla="*/ 1223010 h 1661160"/>
                    <a:gd name="connsiteX10" fmla="*/ 716756 w 1664970"/>
                    <a:gd name="connsiteY10" fmla="*/ 1180147 h 1661160"/>
                    <a:gd name="connsiteX11" fmla="*/ 583406 w 1664970"/>
                    <a:gd name="connsiteY11" fmla="*/ 1146810 h 1661160"/>
                    <a:gd name="connsiteX12" fmla="*/ 516731 w 1664970"/>
                    <a:gd name="connsiteY12" fmla="*/ 1182529 h 1661160"/>
                    <a:gd name="connsiteX13" fmla="*/ 463868 w 1664970"/>
                    <a:gd name="connsiteY13" fmla="*/ 1152049 h 1661160"/>
                    <a:gd name="connsiteX14" fmla="*/ 290513 w 1664970"/>
                    <a:gd name="connsiteY14" fmla="*/ 956310 h 1661160"/>
                    <a:gd name="connsiteX15" fmla="*/ 292893 w 1664970"/>
                    <a:gd name="connsiteY15" fmla="*/ 861060 h 1661160"/>
                    <a:gd name="connsiteX16" fmla="*/ 230981 w 1664970"/>
                    <a:gd name="connsiteY16" fmla="*/ 780097 h 1661160"/>
                    <a:gd name="connsiteX17" fmla="*/ 209550 w 1664970"/>
                    <a:gd name="connsiteY17" fmla="*/ 663417 h 1661160"/>
                    <a:gd name="connsiteX18" fmla="*/ 130969 w 1664970"/>
                    <a:gd name="connsiteY18" fmla="*/ 632461 h 1661160"/>
                    <a:gd name="connsiteX19" fmla="*/ 121444 w 1664970"/>
                    <a:gd name="connsiteY19" fmla="*/ 477679 h 1661160"/>
                    <a:gd name="connsiteX20" fmla="*/ 74772 w 1664970"/>
                    <a:gd name="connsiteY20" fmla="*/ 415290 h 1661160"/>
                    <a:gd name="connsiteX21" fmla="*/ 0 w 1664970"/>
                    <a:gd name="connsiteY21" fmla="*/ 210979 h 1661160"/>
                    <a:gd name="connsiteX22" fmla="*/ 3810 w 1664970"/>
                    <a:gd name="connsiteY22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892968 w 1664970"/>
                    <a:gd name="connsiteY7" fmla="*/ 1358741 h 1661160"/>
                    <a:gd name="connsiteX8" fmla="*/ 797719 w 1664970"/>
                    <a:gd name="connsiteY8" fmla="*/ 1294447 h 1661160"/>
                    <a:gd name="connsiteX9" fmla="*/ 804863 w 1664970"/>
                    <a:gd name="connsiteY9" fmla="*/ 1223010 h 1661160"/>
                    <a:gd name="connsiteX10" fmla="*/ 716756 w 1664970"/>
                    <a:gd name="connsiteY10" fmla="*/ 1180147 h 1661160"/>
                    <a:gd name="connsiteX11" fmla="*/ 583406 w 1664970"/>
                    <a:gd name="connsiteY11" fmla="*/ 1146810 h 1661160"/>
                    <a:gd name="connsiteX12" fmla="*/ 516731 w 1664970"/>
                    <a:gd name="connsiteY12" fmla="*/ 1182529 h 1661160"/>
                    <a:gd name="connsiteX13" fmla="*/ 463868 w 1664970"/>
                    <a:gd name="connsiteY13" fmla="*/ 1152049 h 1661160"/>
                    <a:gd name="connsiteX14" fmla="*/ 290513 w 1664970"/>
                    <a:gd name="connsiteY14" fmla="*/ 956310 h 1661160"/>
                    <a:gd name="connsiteX15" fmla="*/ 292893 w 1664970"/>
                    <a:gd name="connsiteY15" fmla="*/ 861060 h 1661160"/>
                    <a:gd name="connsiteX16" fmla="*/ 230981 w 1664970"/>
                    <a:gd name="connsiteY16" fmla="*/ 780097 h 1661160"/>
                    <a:gd name="connsiteX17" fmla="*/ 209550 w 1664970"/>
                    <a:gd name="connsiteY17" fmla="*/ 663417 h 1661160"/>
                    <a:gd name="connsiteX18" fmla="*/ 130969 w 1664970"/>
                    <a:gd name="connsiteY18" fmla="*/ 632461 h 1661160"/>
                    <a:gd name="connsiteX19" fmla="*/ 121444 w 1664970"/>
                    <a:gd name="connsiteY19" fmla="*/ 477679 h 1661160"/>
                    <a:gd name="connsiteX20" fmla="*/ 74772 w 1664970"/>
                    <a:gd name="connsiteY20" fmla="*/ 415290 h 1661160"/>
                    <a:gd name="connsiteX21" fmla="*/ 0 w 1664970"/>
                    <a:gd name="connsiteY21" fmla="*/ 210979 h 1661160"/>
                    <a:gd name="connsiteX22" fmla="*/ 3810 w 1664970"/>
                    <a:gd name="connsiteY22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1038225 w 1664970"/>
                    <a:gd name="connsiteY7" fmla="*/ 1496854 h 1661160"/>
                    <a:gd name="connsiteX8" fmla="*/ 892968 w 1664970"/>
                    <a:gd name="connsiteY8" fmla="*/ 1358741 h 1661160"/>
                    <a:gd name="connsiteX9" fmla="*/ 797719 w 1664970"/>
                    <a:gd name="connsiteY9" fmla="*/ 1294447 h 1661160"/>
                    <a:gd name="connsiteX10" fmla="*/ 804863 w 1664970"/>
                    <a:gd name="connsiteY10" fmla="*/ 1223010 h 1661160"/>
                    <a:gd name="connsiteX11" fmla="*/ 716756 w 1664970"/>
                    <a:gd name="connsiteY11" fmla="*/ 1180147 h 1661160"/>
                    <a:gd name="connsiteX12" fmla="*/ 583406 w 1664970"/>
                    <a:gd name="connsiteY12" fmla="*/ 1146810 h 1661160"/>
                    <a:gd name="connsiteX13" fmla="*/ 516731 w 1664970"/>
                    <a:gd name="connsiteY13" fmla="*/ 1182529 h 1661160"/>
                    <a:gd name="connsiteX14" fmla="*/ 463868 w 1664970"/>
                    <a:gd name="connsiteY14" fmla="*/ 1152049 h 1661160"/>
                    <a:gd name="connsiteX15" fmla="*/ 290513 w 1664970"/>
                    <a:gd name="connsiteY15" fmla="*/ 956310 h 1661160"/>
                    <a:gd name="connsiteX16" fmla="*/ 292893 w 1664970"/>
                    <a:gd name="connsiteY16" fmla="*/ 861060 h 1661160"/>
                    <a:gd name="connsiteX17" fmla="*/ 230981 w 1664970"/>
                    <a:gd name="connsiteY17" fmla="*/ 780097 h 1661160"/>
                    <a:gd name="connsiteX18" fmla="*/ 209550 w 1664970"/>
                    <a:gd name="connsiteY18" fmla="*/ 663417 h 1661160"/>
                    <a:gd name="connsiteX19" fmla="*/ 130969 w 1664970"/>
                    <a:gd name="connsiteY19" fmla="*/ 632461 h 1661160"/>
                    <a:gd name="connsiteX20" fmla="*/ 121444 w 1664970"/>
                    <a:gd name="connsiteY20" fmla="*/ 477679 h 1661160"/>
                    <a:gd name="connsiteX21" fmla="*/ 74772 w 1664970"/>
                    <a:gd name="connsiteY21" fmla="*/ 415290 h 1661160"/>
                    <a:gd name="connsiteX22" fmla="*/ 0 w 1664970"/>
                    <a:gd name="connsiteY22" fmla="*/ 210979 h 1661160"/>
                    <a:gd name="connsiteX23" fmla="*/ 3810 w 1664970"/>
                    <a:gd name="connsiteY23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940594 w 1664970"/>
                    <a:gd name="connsiteY7" fmla="*/ 1339691 h 1661160"/>
                    <a:gd name="connsiteX8" fmla="*/ 892968 w 1664970"/>
                    <a:gd name="connsiteY8" fmla="*/ 1358741 h 1661160"/>
                    <a:gd name="connsiteX9" fmla="*/ 797719 w 1664970"/>
                    <a:gd name="connsiteY9" fmla="*/ 1294447 h 1661160"/>
                    <a:gd name="connsiteX10" fmla="*/ 804863 w 1664970"/>
                    <a:gd name="connsiteY10" fmla="*/ 1223010 h 1661160"/>
                    <a:gd name="connsiteX11" fmla="*/ 716756 w 1664970"/>
                    <a:gd name="connsiteY11" fmla="*/ 1180147 h 1661160"/>
                    <a:gd name="connsiteX12" fmla="*/ 583406 w 1664970"/>
                    <a:gd name="connsiteY12" fmla="*/ 1146810 h 1661160"/>
                    <a:gd name="connsiteX13" fmla="*/ 516731 w 1664970"/>
                    <a:gd name="connsiteY13" fmla="*/ 1182529 h 1661160"/>
                    <a:gd name="connsiteX14" fmla="*/ 463868 w 1664970"/>
                    <a:gd name="connsiteY14" fmla="*/ 1152049 h 1661160"/>
                    <a:gd name="connsiteX15" fmla="*/ 290513 w 1664970"/>
                    <a:gd name="connsiteY15" fmla="*/ 956310 h 1661160"/>
                    <a:gd name="connsiteX16" fmla="*/ 292893 w 1664970"/>
                    <a:gd name="connsiteY16" fmla="*/ 861060 h 1661160"/>
                    <a:gd name="connsiteX17" fmla="*/ 230981 w 1664970"/>
                    <a:gd name="connsiteY17" fmla="*/ 780097 h 1661160"/>
                    <a:gd name="connsiteX18" fmla="*/ 209550 w 1664970"/>
                    <a:gd name="connsiteY18" fmla="*/ 663417 h 1661160"/>
                    <a:gd name="connsiteX19" fmla="*/ 130969 w 1664970"/>
                    <a:gd name="connsiteY19" fmla="*/ 632461 h 1661160"/>
                    <a:gd name="connsiteX20" fmla="*/ 121444 w 1664970"/>
                    <a:gd name="connsiteY20" fmla="*/ 477679 h 1661160"/>
                    <a:gd name="connsiteX21" fmla="*/ 74772 w 1664970"/>
                    <a:gd name="connsiteY21" fmla="*/ 415290 h 1661160"/>
                    <a:gd name="connsiteX22" fmla="*/ 0 w 1664970"/>
                    <a:gd name="connsiteY22" fmla="*/ 210979 h 1661160"/>
                    <a:gd name="connsiteX23" fmla="*/ 3810 w 1664970"/>
                    <a:gd name="connsiteY23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1078706 w 1664970"/>
                    <a:gd name="connsiteY7" fmla="*/ 1511141 h 1661160"/>
                    <a:gd name="connsiteX8" fmla="*/ 940594 w 1664970"/>
                    <a:gd name="connsiteY8" fmla="*/ 1339691 h 1661160"/>
                    <a:gd name="connsiteX9" fmla="*/ 892968 w 1664970"/>
                    <a:gd name="connsiteY9" fmla="*/ 1358741 h 1661160"/>
                    <a:gd name="connsiteX10" fmla="*/ 797719 w 1664970"/>
                    <a:gd name="connsiteY10" fmla="*/ 1294447 h 1661160"/>
                    <a:gd name="connsiteX11" fmla="*/ 804863 w 1664970"/>
                    <a:gd name="connsiteY11" fmla="*/ 1223010 h 1661160"/>
                    <a:gd name="connsiteX12" fmla="*/ 716756 w 1664970"/>
                    <a:gd name="connsiteY12" fmla="*/ 1180147 h 1661160"/>
                    <a:gd name="connsiteX13" fmla="*/ 583406 w 1664970"/>
                    <a:gd name="connsiteY13" fmla="*/ 1146810 h 1661160"/>
                    <a:gd name="connsiteX14" fmla="*/ 516731 w 1664970"/>
                    <a:gd name="connsiteY14" fmla="*/ 1182529 h 1661160"/>
                    <a:gd name="connsiteX15" fmla="*/ 463868 w 1664970"/>
                    <a:gd name="connsiteY15" fmla="*/ 1152049 h 1661160"/>
                    <a:gd name="connsiteX16" fmla="*/ 290513 w 1664970"/>
                    <a:gd name="connsiteY16" fmla="*/ 956310 h 1661160"/>
                    <a:gd name="connsiteX17" fmla="*/ 292893 w 1664970"/>
                    <a:gd name="connsiteY17" fmla="*/ 861060 h 1661160"/>
                    <a:gd name="connsiteX18" fmla="*/ 230981 w 1664970"/>
                    <a:gd name="connsiteY18" fmla="*/ 780097 h 1661160"/>
                    <a:gd name="connsiteX19" fmla="*/ 209550 w 1664970"/>
                    <a:gd name="connsiteY19" fmla="*/ 663417 h 1661160"/>
                    <a:gd name="connsiteX20" fmla="*/ 130969 w 1664970"/>
                    <a:gd name="connsiteY20" fmla="*/ 632461 h 1661160"/>
                    <a:gd name="connsiteX21" fmla="*/ 121444 w 1664970"/>
                    <a:gd name="connsiteY21" fmla="*/ 477679 h 1661160"/>
                    <a:gd name="connsiteX22" fmla="*/ 74772 w 1664970"/>
                    <a:gd name="connsiteY22" fmla="*/ 415290 h 1661160"/>
                    <a:gd name="connsiteX23" fmla="*/ 0 w 1664970"/>
                    <a:gd name="connsiteY23" fmla="*/ 210979 h 1661160"/>
                    <a:gd name="connsiteX24" fmla="*/ 3810 w 1664970"/>
                    <a:gd name="connsiteY24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1042987 w 1664970"/>
                    <a:gd name="connsiteY7" fmla="*/ 1368266 h 1661160"/>
                    <a:gd name="connsiteX8" fmla="*/ 940594 w 1664970"/>
                    <a:gd name="connsiteY8" fmla="*/ 1339691 h 1661160"/>
                    <a:gd name="connsiteX9" fmla="*/ 892968 w 1664970"/>
                    <a:gd name="connsiteY9" fmla="*/ 1358741 h 1661160"/>
                    <a:gd name="connsiteX10" fmla="*/ 797719 w 1664970"/>
                    <a:gd name="connsiteY10" fmla="*/ 1294447 h 1661160"/>
                    <a:gd name="connsiteX11" fmla="*/ 804863 w 1664970"/>
                    <a:gd name="connsiteY11" fmla="*/ 1223010 h 1661160"/>
                    <a:gd name="connsiteX12" fmla="*/ 716756 w 1664970"/>
                    <a:gd name="connsiteY12" fmla="*/ 1180147 h 1661160"/>
                    <a:gd name="connsiteX13" fmla="*/ 583406 w 1664970"/>
                    <a:gd name="connsiteY13" fmla="*/ 1146810 h 1661160"/>
                    <a:gd name="connsiteX14" fmla="*/ 516731 w 1664970"/>
                    <a:gd name="connsiteY14" fmla="*/ 1182529 h 1661160"/>
                    <a:gd name="connsiteX15" fmla="*/ 463868 w 1664970"/>
                    <a:gd name="connsiteY15" fmla="*/ 1152049 h 1661160"/>
                    <a:gd name="connsiteX16" fmla="*/ 290513 w 1664970"/>
                    <a:gd name="connsiteY16" fmla="*/ 956310 h 1661160"/>
                    <a:gd name="connsiteX17" fmla="*/ 292893 w 1664970"/>
                    <a:gd name="connsiteY17" fmla="*/ 861060 h 1661160"/>
                    <a:gd name="connsiteX18" fmla="*/ 230981 w 1664970"/>
                    <a:gd name="connsiteY18" fmla="*/ 780097 h 1661160"/>
                    <a:gd name="connsiteX19" fmla="*/ 209550 w 1664970"/>
                    <a:gd name="connsiteY19" fmla="*/ 663417 h 1661160"/>
                    <a:gd name="connsiteX20" fmla="*/ 130969 w 1664970"/>
                    <a:gd name="connsiteY20" fmla="*/ 632461 h 1661160"/>
                    <a:gd name="connsiteX21" fmla="*/ 121444 w 1664970"/>
                    <a:gd name="connsiteY21" fmla="*/ 477679 h 1661160"/>
                    <a:gd name="connsiteX22" fmla="*/ 74772 w 1664970"/>
                    <a:gd name="connsiteY22" fmla="*/ 415290 h 1661160"/>
                    <a:gd name="connsiteX23" fmla="*/ 0 w 1664970"/>
                    <a:gd name="connsiteY23" fmla="*/ 210979 h 1661160"/>
                    <a:gd name="connsiteX24" fmla="*/ 3810 w 1664970"/>
                    <a:gd name="connsiteY24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1145381 w 1664970"/>
                    <a:gd name="connsiteY7" fmla="*/ 1551623 h 1661160"/>
                    <a:gd name="connsiteX8" fmla="*/ 1042987 w 1664970"/>
                    <a:gd name="connsiteY8" fmla="*/ 1368266 h 1661160"/>
                    <a:gd name="connsiteX9" fmla="*/ 940594 w 1664970"/>
                    <a:gd name="connsiteY9" fmla="*/ 1339691 h 1661160"/>
                    <a:gd name="connsiteX10" fmla="*/ 892968 w 1664970"/>
                    <a:gd name="connsiteY10" fmla="*/ 1358741 h 1661160"/>
                    <a:gd name="connsiteX11" fmla="*/ 797719 w 1664970"/>
                    <a:gd name="connsiteY11" fmla="*/ 1294447 h 1661160"/>
                    <a:gd name="connsiteX12" fmla="*/ 804863 w 1664970"/>
                    <a:gd name="connsiteY12" fmla="*/ 1223010 h 1661160"/>
                    <a:gd name="connsiteX13" fmla="*/ 716756 w 1664970"/>
                    <a:gd name="connsiteY13" fmla="*/ 1180147 h 1661160"/>
                    <a:gd name="connsiteX14" fmla="*/ 583406 w 1664970"/>
                    <a:gd name="connsiteY14" fmla="*/ 1146810 h 1661160"/>
                    <a:gd name="connsiteX15" fmla="*/ 516731 w 1664970"/>
                    <a:gd name="connsiteY15" fmla="*/ 1182529 h 1661160"/>
                    <a:gd name="connsiteX16" fmla="*/ 463868 w 1664970"/>
                    <a:gd name="connsiteY16" fmla="*/ 1152049 h 1661160"/>
                    <a:gd name="connsiteX17" fmla="*/ 290513 w 1664970"/>
                    <a:gd name="connsiteY17" fmla="*/ 956310 h 1661160"/>
                    <a:gd name="connsiteX18" fmla="*/ 292893 w 1664970"/>
                    <a:gd name="connsiteY18" fmla="*/ 861060 h 1661160"/>
                    <a:gd name="connsiteX19" fmla="*/ 230981 w 1664970"/>
                    <a:gd name="connsiteY19" fmla="*/ 780097 h 1661160"/>
                    <a:gd name="connsiteX20" fmla="*/ 209550 w 1664970"/>
                    <a:gd name="connsiteY20" fmla="*/ 663417 h 1661160"/>
                    <a:gd name="connsiteX21" fmla="*/ 130969 w 1664970"/>
                    <a:gd name="connsiteY21" fmla="*/ 632461 h 1661160"/>
                    <a:gd name="connsiteX22" fmla="*/ 121444 w 1664970"/>
                    <a:gd name="connsiteY22" fmla="*/ 477679 h 1661160"/>
                    <a:gd name="connsiteX23" fmla="*/ 74772 w 1664970"/>
                    <a:gd name="connsiteY23" fmla="*/ 415290 h 1661160"/>
                    <a:gd name="connsiteX24" fmla="*/ 0 w 1664970"/>
                    <a:gd name="connsiteY24" fmla="*/ 210979 h 1661160"/>
                    <a:gd name="connsiteX25" fmla="*/ 3810 w 1664970"/>
                    <a:gd name="connsiteY25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1014412 w 1664970"/>
                    <a:gd name="connsiteY7" fmla="*/ 1403986 h 1661160"/>
                    <a:gd name="connsiteX8" fmla="*/ 1042987 w 1664970"/>
                    <a:gd name="connsiteY8" fmla="*/ 1368266 h 1661160"/>
                    <a:gd name="connsiteX9" fmla="*/ 940594 w 1664970"/>
                    <a:gd name="connsiteY9" fmla="*/ 1339691 h 1661160"/>
                    <a:gd name="connsiteX10" fmla="*/ 892968 w 1664970"/>
                    <a:gd name="connsiteY10" fmla="*/ 1358741 h 1661160"/>
                    <a:gd name="connsiteX11" fmla="*/ 797719 w 1664970"/>
                    <a:gd name="connsiteY11" fmla="*/ 1294447 h 1661160"/>
                    <a:gd name="connsiteX12" fmla="*/ 804863 w 1664970"/>
                    <a:gd name="connsiteY12" fmla="*/ 1223010 h 1661160"/>
                    <a:gd name="connsiteX13" fmla="*/ 716756 w 1664970"/>
                    <a:gd name="connsiteY13" fmla="*/ 1180147 h 1661160"/>
                    <a:gd name="connsiteX14" fmla="*/ 583406 w 1664970"/>
                    <a:gd name="connsiteY14" fmla="*/ 1146810 h 1661160"/>
                    <a:gd name="connsiteX15" fmla="*/ 516731 w 1664970"/>
                    <a:gd name="connsiteY15" fmla="*/ 1182529 h 1661160"/>
                    <a:gd name="connsiteX16" fmla="*/ 463868 w 1664970"/>
                    <a:gd name="connsiteY16" fmla="*/ 1152049 h 1661160"/>
                    <a:gd name="connsiteX17" fmla="*/ 290513 w 1664970"/>
                    <a:gd name="connsiteY17" fmla="*/ 956310 h 1661160"/>
                    <a:gd name="connsiteX18" fmla="*/ 292893 w 1664970"/>
                    <a:gd name="connsiteY18" fmla="*/ 861060 h 1661160"/>
                    <a:gd name="connsiteX19" fmla="*/ 230981 w 1664970"/>
                    <a:gd name="connsiteY19" fmla="*/ 780097 h 1661160"/>
                    <a:gd name="connsiteX20" fmla="*/ 209550 w 1664970"/>
                    <a:gd name="connsiteY20" fmla="*/ 663417 h 1661160"/>
                    <a:gd name="connsiteX21" fmla="*/ 130969 w 1664970"/>
                    <a:gd name="connsiteY21" fmla="*/ 632461 h 1661160"/>
                    <a:gd name="connsiteX22" fmla="*/ 121444 w 1664970"/>
                    <a:gd name="connsiteY22" fmla="*/ 477679 h 1661160"/>
                    <a:gd name="connsiteX23" fmla="*/ 74772 w 1664970"/>
                    <a:gd name="connsiteY23" fmla="*/ 415290 h 1661160"/>
                    <a:gd name="connsiteX24" fmla="*/ 0 w 1664970"/>
                    <a:gd name="connsiteY24" fmla="*/ 210979 h 1661160"/>
                    <a:gd name="connsiteX25" fmla="*/ 3810 w 1664970"/>
                    <a:gd name="connsiteY25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1126331 w 1664970"/>
                    <a:gd name="connsiteY7" fmla="*/ 1551623 h 1661160"/>
                    <a:gd name="connsiteX8" fmla="*/ 1014412 w 1664970"/>
                    <a:gd name="connsiteY8" fmla="*/ 1403986 h 1661160"/>
                    <a:gd name="connsiteX9" fmla="*/ 1042987 w 1664970"/>
                    <a:gd name="connsiteY9" fmla="*/ 1368266 h 1661160"/>
                    <a:gd name="connsiteX10" fmla="*/ 940594 w 1664970"/>
                    <a:gd name="connsiteY10" fmla="*/ 1339691 h 1661160"/>
                    <a:gd name="connsiteX11" fmla="*/ 892968 w 1664970"/>
                    <a:gd name="connsiteY11" fmla="*/ 1358741 h 1661160"/>
                    <a:gd name="connsiteX12" fmla="*/ 797719 w 1664970"/>
                    <a:gd name="connsiteY12" fmla="*/ 1294447 h 1661160"/>
                    <a:gd name="connsiteX13" fmla="*/ 804863 w 1664970"/>
                    <a:gd name="connsiteY13" fmla="*/ 1223010 h 1661160"/>
                    <a:gd name="connsiteX14" fmla="*/ 716756 w 1664970"/>
                    <a:gd name="connsiteY14" fmla="*/ 1180147 h 1661160"/>
                    <a:gd name="connsiteX15" fmla="*/ 583406 w 1664970"/>
                    <a:gd name="connsiteY15" fmla="*/ 1146810 h 1661160"/>
                    <a:gd name="connsiteX16" fmla="*/ 516731 w 1664970"/>
                    <a:gd name="connsiteY16" fmla="*/ 1182529 h 1661160"/>
                    <a:gd name="connsiteX17" fmla="*/ 463868 w 1664970"/>
                    <a:gd name="connsiteY17" fmla="*/ 1152049 h 1661160"/>
                    <a:gd name="connsiteX18" fmla="*/ 290513 w 1664970"/>
                    <a:gd name="connsiteY18" fmla="*/ 956310 h 1661160"/>
                    <a:gd name="connsiteX19" fmla="*/ 292893 w 1664970"/>
                    <a:gd name="connsiteY19" fmla="*/ 861060 h 1661160"/>
                    <a:gd name="connsiteX20" fmla="*/ 230981 w 1664970"/>
                    <a:gd name="connsiteY20" fmla="*/ 780097 h 1661160"/>
                    <a:gd name="connsiteX21" fmla="*/ 209550 w 1664970"/>
                    <a:gd name="connsiteY21" fmla="*/ 663417 h 1661160"/>
                    <a:gd name="connsiteX22" fmla="*/ 130969 w 1664970"/>
                    <a:gd name="connsiteY22" fmla="*/ 632461 h 1661160"/>
                    <a:gd name="connsiteX23" fmla="*/ 121444 w 1664970"/>
                    <a:gd name="connsiteY23" fmla="*/ 477679 h 1661160"/>
                    <a:gd name="connsiteX24" fmla="*/ 74772 w 1664970"/>
                    <a:gd name="connsiteY24" fmla="*/ 415290 h 1661160"/>
                    <a:gd name="connsiteX25" fmla="*/ 0 w 1664970"/>
                    <a:gd name="connsiteY25" fmla="*/ 210979 h 1661160"/>
                    <a:gd name="connsiteX26" fmla="*/ 3810 w 1664970"/>
                    <a:gd name="connsiteY26" fmla="*/ 76200 h 1661160"/>
                    <a:gd name="connsiteX0" fmla="*/ 3810 w 1664970"/>
                    <a:gd name="connsiteY0" fmla="*/ 76200 h 1661160"/>
                    <a:gd name="connsiteX1" fmla="*/ 1291590 w 1664970"/>
                    <a:gd name="connsiteY1" fmla="*/ 0 h 1661160"/>
                    <a:gd name="connsiteX2" fmla="*/ 1299210 w 1664970"/>
                    <a:gd name="connsiteY2" fmla="*/ 205740 h 1661160"/>
                    <a:gd name="connsiteX3" fmla="*/ 1291590 w 1664970"/>
                    <a:gd name="connsiteY3" fmla="*/ 457200 h 1661160"/>
                    <a:gd name="connsiteX4" fmla="*/ 1664970 w 1664970"/>
                    <a:gd name="connsiteY4" fmla="*/ 1028700 h 1661160"/>
                    <a:gd name="connsiteX5" fmla="*/ 1520190 w 1664970"/>
                    <a:gd name="connsiteY5" fmla="*/ 1356360 h 1661160"/>
                    <a:gd name="connsiteX6" fmla="*/ 1215390 w 1664970"/>
                    <a:gd name="connsiteY6" fmla="*/ 1661160 h 1661160"/>
                    <a:gd name="connsiteX7" fmla="*/ 1064418 w 1664970"/>
                    <a:gd name="connsiteY7" fmla="*/ 1458754 h 1661160"/>
                    <a:gd name="connsiteX8" fmla="*/ 1014412 w 1664970"/>
                    <a:gd name="connsiteY8" fmla="*/ 1403986 h 1661160"/>
                    <a:gd name="connsiteX9" fmla="*/ 1042987 w 1664970"/>
                    <a:gd name="connsiteY9" fmla="*/ 1368266 h 1661160"/>
                    <a:gd name="connsiteX10" fmla="*/ 940594 w 1664970"/>
                    <a:gd name="connsiteY10" fmla="*/ 1339691 h 1661160"/>
                    <a:gd name="connsiteX11" fmla="*/ 892968 w 1664970"/>
                    <a:gd name="connsiteY11" fmla="*/ 1358741 h 1661160"/>
                    <a:gd name="connsiteX12" fmla="*/ 797719 w 1664970"/>
                    <a:gd name="connsiteY12" fmla="*/ 1294447 h 1661160"/>
                    <a:gd name="connsiteX13" fmla="*/ 804863 w 1664970"/>
                    <a:gd name="connsiteY13" fmla="*/ 1223010 h 1661160"/>
                    <a:gd name="connsiteX14" fmla="*/ 716756 w 1664970"/>
                    <a:gd name="connsiteY14" fmla="*/ 1180147 h 1661160"/>
                    <a:gd name="connsiteX15" fmla="*/ 583406 w 1664970"/>
                    <a:gd name="connsiteY15" fmla="*/ 1146810 h 1661160"/>
                    <a:gd name="connsiteX16" fmla="*/ 516731 w 1664970"/>
                    <a:gd name="connsiteY16" fmla="*/ 1182529 h 1661160"/>
                    <a:gd name="connsiteX17" fmla="*/ 463868 w 1664970"/>
                    <a:gd name="connsiteY17" fmla="*/ 1152049 h 1661160"/>
                    <a:gd name="connsiteX18" fmla="*/ 290513 w 1664970"/>
                    <a:gd name="connsiteY18" fmla="*/ 956310 h 1661160"/>
                    <a:gd name="connsiteX19" fmla="*/ 292893 w 1664970"/>
                    <a:gd name="connsiteY19" fmla="*/ 861060 h 1661160"/>
                    <a:gd name="connsiteX20" fmla="*/ 230981 w 1664970"/>
                    <a:gd name="connsiteY20" fmla="*/ 780097 h 1661160"/>
                    <a:gd name="connsiteX21" fmla="*/ 209550 w 1664970"/>
                    <a:gd name="connsiteY21" fmla="*/ 663417 h 1661160"/>
                    <a:gd name="connsiteX22" fmla="*/ 130969 w 1664970"/>
                    <a:gd name="connsiteY22" fmla="*/ 632461 h 1661160"/>
                    <a:gd name="connsiteX23" fmla="*/ 121444 w 1664970"/>
                    <a:gd name="connsiteY23" fmla="*/ 477679 h 1661160"/>
                    <a:gd name="connsiteX24" fmla="*/ 74772 w 1664970"/>
                    <a:gd name="connsiteY24" fmla="*/ 415290 h 1661160"/>
                    <a:gd name="connsiteX25" fmla="*/ 0 w 1664970"/>
                    <a:gd name="connsiteY25" fmla="*/ 210979 h 1661160"/>
                    <a:gd name="connsiteX26" fmla="*/ 3810 w 1664970"/>
                    <a:gd name="connsiteY26" fmla="*/ 76200 h 1661160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91590 w 1664970"/>
                    <a:gd name="connsiteY3" fmla="*/ 457200 h 1458754"/>
                    <a:gd name="connsiteX4" fmla="*/ 1664970 w 1664970"/>
                    <a:gd name="connsiteY4" fmla="*/ 1028700 h 1458754"/>
                    <a:gd name="connsiteX5" fmla="*/ 1520190 w 1664970"/>
                    <a:gd name="connsiteY5" fmla="*/ 1356360 h 1458754"/>
                    <a:gd name="connsiteX6" fmla="*/ 1170146 w 1664970"/>
                    <a:gd name="connsiteY6" fmla="*/ 1458754 h 1458754"/>
                    <a:gd name="connsiteX7" fmla="*/ 1064418 w 1664970"/>
                    <a:gd name="connsiteY7" fmla="*/ 1458754 h 1458754"/>
                    <a:gd name="connsiteX8" fmla="*/ 1014412 w 1664970"/>
                    <a:gd name="connsiteY8" fmla="*/ 1403986 h 1458754"/>
                    <a:gd name="connsiteX9" fmla="*/ 1042987 w 1664970"/>
                    <a:gd name="connsiteY9" fmla="*/ 1368266 h 1458754"/>
                    <a:gd name="connsiteX10" fmla="*/ 940594 w 1664970"/>
                    <a:gd name="connsiteY10" fmla="*/ 1339691 h 1458754"/>
                    <a:gd name="connsiteX11" fmla="*/ 892968 w 1664970"/>
                    <a:gd name="connsiteY11" fmla="*/ 1358741 h 1458754"/>
                    <a:gd name="connsiteX12" fmla="*/ 797719 w 1664970"/>
                    <a:gd name="connsiteY12" fmla="*/ 1294447 h 1458754"/>
                    <a:gd name="connsiteX13" fmla="*/ 804863 w 1664970"/>
                    <a:gd name="connsiteY13" fmla="*/ 1223010 h 1458754"/>
                    <a:gd name="connsiteX14" fmla="*/ 716756 w 1664970"/>
                    <a:gd name="connsiteY14" fmla="*/ 1180147 h 1458754"/>
                    <a:gd name="connsiteX15" fmla="*/ 583406 w 1664970"/>
                    <a:gd name="connsiteY15" fmla="*/ 1146810 h 1458754"/>
                    <a:gd name="connsiteX16" fmla="*/ 516731 w 1664970"/>
                    <a:gd name="connsiteY16" fmla="*/ 1182529 h 1458754"/>
                    <a:gd name="connsiteX17" fmla="*/ 463868 w 1664970"/>
                    <a:gd name="connsiteY17" fmla="*/ 1152049 h 1458754"/>
                    <a:gd name="connsiteX18" fmla="*/ 290513 w 1664970"/>
                    <a:gd name="connsiteY18" fmla="*/ 956310 h 1458754"/>
                    <a:gd name="connsiteX19" fmla="*/ 292893 w 1664970"/>
                    <a:gd name="connsiteY19" fmla="*/ 861060 h 1458754"/>
                    <a:gd name="connsiteX20" fmla="*/ 230981 w 1664970"/>
                    <a:gd name="connsiteY20" fmla="*/ 780097 h 1458754"/>
                    <a:gd name="connsiteX21" fmla="*/ 209550 w 1664970"/>
                    <a:gd name="connsiteY21" fmla="*/ 663417 h 1458754"/>
                    <a:gd name="connsiteX22" fmla="*/ 130969 w 1664970"/>
                    <a:gd name="connsiteY22" fmla="*/ 632461 h 1458754"/>
                    <a:gd name="connsiteX23" fmla="*/ 121444 w 1664970"/>
                    <a:gd name="connsiteY23" fmla="*/ 477679 h 1458754"/>
                    <a:gd name="connsiteX24" fmla="*/ 74772 w 1664970"/>
                    <a:gd name="connsiteY24" fmla="*/ 415290 h 1458754"/>
                    <a:gd name="connsiteX25" fmla="*/ 0 w 1664970"/>
                    <a:gd name="connsiteY25" fmla="*/ 210979 h 1458754"/>
                    <a:gd name="connsiteX26" fmla="*/ 3810 w 1664970"/>
                    <a:gd name="connsiteY26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664970 w 1664970"/>
                    <a:gd name="connsiteY4" fmla="*/ 1028700 h 1458754"/>
                    <a:gd name="connsiteX5" fmla="*/ 1520190 w 1664970"/>
                    <a:gd name="connsiteY5" fmla="*/ 1356360 h 1458754"/>
                    <a:gd name="connsiteX6" fmla="*/ 1170146 w 1664970"/>
                    <a:gd name="connsiteY6" fmla="*/ 1458754 h 1458754"/>
                    <a:gd name="connsiteX7" fmla="*/ 1064418 w 1664970"/>
                    <a:gd name="connsiteY7" fmla="*/ 1458754 h 1458754"/>
                    <a:gd name="connsiteX8" fmla="*/ 1014412 w 1664970"/>
                    <a:gd name="connsiteY8" fmla="*/ 1403986 h 1458754"/>
                    <a:gd name="connsiteX9" fmla="*/ 1042987 w 1664970"/>
                    <a:gd name="connsiteY9" fmla="*/ 1368266 h 1458754"/>
                    <a:gd name="connsiteX10" fmla="*/ 940594 w 1664970"/>
                    <a:gd name="connsiteY10" fmla="*/ 1339691 h 1458754"/>
                    <a:gd name="connsiteX11" fmla="*/ 892968 w 1664970"/>
                    <a:gd name="connsiteY11" fmla="*/ 1358741 h 1458754"/>
                    <a:gd name="connsiteX12" fmla="*/ 797719 w 1664970"/>
                    <a:gd name="connsiteY12" fmla="*/ 1294447 h 1458754"/>
                    <a:gd name="connsiteX13" fmla="*/ 804863 w 1664970"/>
                    <a:gd name="connsiteY13" fmla="*/ 1223010 h 1458754"/>
                    <a:gd name="connsiteX14" fmla="*/ 716756 w 1664970"/>
                    <a:gd name="connsiteY14" fmla="*/ 1180147 h 1458754"/>
                    <a:gd name="connsiteX15" fmla="*/ 583406 w 1664970"/>
                    <a:gd name="connsiteY15" fmla="*/ 1146810 h 1458754"/>
                    <a:gd name="connsiteX16" fmla="*/ 516731 w 1664970"/>
                    <a:gd name="connsiteY16" fmla="*/ 1182529 h 1458754"/>
                    <a:gd name="connsiteX17" fmla="*/ 463868 w 1664970"/>
                    <a:gd name="connsiteY17" fmla="*/ 1152049 h 1458754"/>
                    <a:gd name="connsiteX18" fmla="*/ 290513 w 1664970"/>
                    <a:gd name="connsiteY18" fmla="*/ 956310 h 1458754"/>
                    <a:gd name="connsiteX19" fmla="*/ 292893 w 1664970"/>
                    <a:gd name="connsiteY19" fmla="*/ 861060 h 1458754"/>
                    <a:gd name="connsiteX20" fmla="*/ 230981 w 1664970"/>
                    <a:gd name="connsiteY20" fmla="*/ 780097 h 1458754"/>
                    <a:gd name="connsiteX21" fmla="*/ 209550 w 1664970"/>
                    <a:gd name="connsiteY21" fmla="*/ 663417 h 1458754"/>
                    <a:gd name="connsiteX22" fmla="*/ 130969 w 1664970"/>
                    <a:gd name="connsiteY22" fmla="*/ 632461 h 1458754"/>
                    <a:gd name="connsiteX23" fmla="*/ 121444 w 1664970"/>
                    <a:gd name="connsiteY23" fmla="*/ 477679 h 1458754"/>
                    <a:gd name="connsiteX24" fmla="*/ 74772 w 1664970"/>
                    <a:gd name="connsiteY24" fmla="*/ 415290 h 1458754"/>
                    <a:gd name="connsiteX25" fmla="*/ 0 w 1664970"/>
                    <a:gd name="connsiteY25" fmla="*/ 210979 h 1458754"/>
                    <a:gd name="connsiteX26" fmla="*/ 3810 w 1664970"/>
                    <a:gd name="connsiteY26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404938 w 1664970"/>
                    <a:gd name="connsiteY4" fmla="*/ 601504 h 1458754"/>
                    <a:gd name="connsiteX5" fmla="*/ 1664970 w 1664970"/>
                    <a:gd name="connsiteY5" fmla="*/ 1028700 h 1458754"/>
                    <a:gd name="connsiteX6" fmla="*/ 1520190 w 1664970"/>
                    <a:gd name="connsiteY6" fmla="*/ 1356360 h 1458754"/>
                    <a:gd name="connsiteX7" fmla="*/ 1170146 w 1664970"/>
                    <a:gd name="connsiteY7" fmla="*/ 1458754 h 1458754"/>
                    <a:gd name="connsiteX8" fmla="*/ 1064418 w 1664970"/>
                    <a:gd name="connsiteY8" fmla="*/ 1458754 h 1458754"/>
                    <a:gd name="connsiteX9" fmla="*/ 1014412 w 1664970"/>
                    <a:gd name="connsiteY9" fmla="*/ 1403986 h 1458754"/>
                    <a:gd name="connsiteX10" fmla="*/ 1042987 w 1664970"/>
                    <a:gd name="connsiteY10" fmla="*/ 1368266 h 1458754"/>
                    <a:gd name="connsiteX11" fmla="*/ 940594 w 1664970"/>
                    <a:gd name="connsiteY11" fmla="*/ 1339691 h 1458754"/>
                    <a:gd name="connsiteX12" fmla="*/ 892968 w 1664970"/>
                    <a:gd name="connsiteY12" fmla="*/ 1358741 h 1458754"/>
                    <a:gd name="connsiteX13" fmla="*/ 797719 w 1664970"/>
                    <a:gd name="connsiteY13" fmla="*/ 1294447 h 1458754"/>
                    <a:gd name="connsiteX14" fmla="*/ 804863 w 1664970"/>
                    <a:gd name="connsiteY14" fmla="*/ 1223010 h 1458754"/>
                    <a:gd name="connsiteX15" fmla="*/ 716756 w 1664970"/>
                    <a:gd name="connsiteY15" fmla="*/ 1180147 h 1458754"/>
                    <a:gd name="connsiteX16" fmla="*/ 583406 w 1664970"/>
                    <a:gd name="connsiteY16" fmla="*/ 1146810 h 1458754"/>
                    <a:gd name="connsiteX17" fmla="*/ 516731 w 1664970"/>
                    <a:gd name="connsiteY17" fmla="*/ 1182529 h 1458754"/>
                    <a:gd name="connsiteX18" fmla="*/ 463868 w 1664970"/>
                    <a:gd name="connsiteY18" fmla="*/ 1152049 h 1458754"/>
                    <a:gd name="connsiteX19" fmla="*/ 290513 w 1664970"/>
                    <a:gd name="connsiteY19" fmla="*/ 956310 h 1458754"/>
                    <a:gd name="connsiteX20" fmla="*/ 292893 w 1664970"/>
                    <a:gd name="connsiteY20" fmla="*/ 861060 h 1458754"/>
                    <a:gd name="connsiteX21" fmla="*/ 230981 w 1664970"/>
                    <a:gd name="connsiteY21" fmla="*/ 780097 h 1458754"/>
                    <a:gd name="connsiteX22" fmla="*/ 209550 w 1664970"/>
                    <a:gd name="connsiteY22" fmla="*/ 663417 h 1458754"/>
                    <a:gd name="connsiteX23" fmla="*/ 130969 w 1664970"/>
                    <a:gd name="connsiteY23" fmla="*/ 632461 h 1458754"/>
                    <a:gd name="connsiteX24" fmla="*/ 121444 w 1664970"/>
                    <a:gd name="connsiteY24" fmla="*/ 477679 h 1458754"/>
                    <a:gd name="connsiteX25" fmla="*/ 74772 w 1664970"/>
                    <a:gd name="connsiteY25" fmla="*/ 415290 h 1458754"/>
                    <a:gd name="connsiteX26" fmla="*/ 0 w 1664970"/>
                    <a:gd name="connsiteY26" fmla="*/ 210979 h 1458754"/>
                    <a:gd name="connsiteX27" fmla="*/ 3810 w 1664970"/>
                    <a:gd name="connsiteY27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664970 w 1664970"/>
                    <a:gd name="connsiteY5" fmla="*/ 1028700 h 1458754"/>
                    <a:gd name="connsiteX6" fmla="*/ 1520190 w 1664970"/>
                    <a:gd name="connsiteY6" fmla="*/ 1356360 h 1458754"/>
                    <a:gd name="connsiteX7" fmla="*/ 1170146 w 1664970"/>
                    <a:gd name="connsiteY7" fmla="*/ 1458754 h 1458754"/>
                    <a:gd name="connsiteX8" fmla="*/ 1064418 w 1664970"/>
                    <a:gd name="connsiteY8" fmla="*/ 1458754 h 1458754"/>
                    <a:gd name="connsiteX9" fmla="*/ 1014412 w 1664970"/>
                    <a:gd name="connsiteY9" fmla="*/ 1403986 h 1458754"/>
                    <a:gd name="connsiteX10" fmla="*/ 1042987 w 1664970"/>
                    <a:gd name="connsiteY10" fmla="*/ 1368266 h 1458754"/>
                    <a:gd name="connsiteX11" fmla="*/ 940594 w 1664970"/>
                    <a:gd name="connsiteY11" fmla="*/ 1339691 h 1458754"/>
                    <a:gd name="connsiteX12" fmla="*/ 892968 w 1664970"/>
                    <a:gd name="connsiteY12" fmla="*/ 1358741 h 1458754"/>
                    <a:gd name="connsiteX13" fmla="*/ 797719 w 1664970"/>
                    <a:gd name="connsiteY13" fmla="*/ 1294447 h 1458754"/>
                    <a:gd name="connsiteX14" fmla="*/ 804863 w 1664970"/>
                    <a:gd name="connsiteY14" fmla="*/ 1223010 h 1458754"/>
                    <a:gd name="connsiteX15" fmla="*/ 716756 w 1664970"/>
                    <a:gd name="connsiteY15" fmla="*/ 1180147 h 1458754"/>
                    <a:gd name="connsiteX16" fmla="*/ 583406 w 1664970"/>
                    <a:gd name="connsiteY16" fmla="*/ 1146810 h 1458754"/>
                    <a:gd name="connsiteX17" fmla="*/ 516731 w 1664970"/>
                    <a:gd name="connsiteY17" fmla="*/ 1182529 h 1458754"/>
                    <a:gd name="connsiteX18" fmla="*/ 463868 w 1664970"/>
                    <a:gd name="connsiteY18" fmla="*/ 1152049 h 1458754"/>
                    <a:gd name="connsiteX19" fmla="*/ 290513 w 1664970"/>
                    <a:gd name="connsiteY19" fmla="*/ 956310 h 1458754"/>
                    <a:gd name="connsiteX20" fmla="*/ 292893 w 1664970"/>
                    <a:gd name="connsiteY20" fmla="*/ 861060 h 1458754"/>
                    <a:gd name="connsiteX21" fmla="*/ 230981 w 1664970"/>
                    <a:gd name="connsiteY21" fmla="*/ 780097 h 1458754"/>
                    <a:gd name="connsiteX22" fmla="*/ 209550 w 1664970"/>
                    <a:gd name="connsiteY22" fmla="*/ 663417 h 1458754"/>
                    <a:gd name="connsiteX23" fmla="*/ 130969 w 1664970"/>
                    <a:gd name="connsiteY23" fmla="*/ 632461 h 1458754"/>
                    <a:gd name="connsiteX24" fmla="*/ 121444 w 1664970"/>
                    <a:gd name="connsiteY24" fmla="*/ 477679 h 1458754"/>
                    <a:gd name="connsiteX25" fmla="*/ 74772 w 1664970"/>
                    <a:gd name="connsiteY25" fmla="*/ 415290 h 1458754"/>
                    <a:gd name="connsiteX26" fmla="*/ 0 w 1664970"/>
                    <a:gd name="connsiteY26" fmla="*/ 210979 h 1458754"/>
                    <a:gd name="connsiteX27" fmla="*/ 3810 w 1664970"/>
                    <a:gd name="connsiteY27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450181 w 1664970"/>
                    <a:gd name="connsiteY5" fmla="*/ 722948 h 1458754"/>
                    <a:gd name="connsiteX6" fmla="*/ 1664970 w 1664970"/>
                    <a:gd name="connsiteY6" fmla="*/ 1028700 h 1458754"/>
                    <a:gd name="connsiteX7" fmla="*/ 1520190 w 1664970"/>
                    <a:gd name="connsiteY7" fmla="*/ 1356360 h 1458754"/>
                    <a:gd name="connsiteX8" fmla="*/ 1170146 w 1664970"/>
                    <a:gd name="connsiteY8" fmla="*/ 1458754 h 1458754"/>
                    <a:gd name="connsiteX9" fmla="*/ 1064418 w 1664970"/>
                    <a:gd name="connsiteY9" fmla="*/ 1458754 h 1458754"/>
                    <a:gd name="connsiteX10" fmla="*/ 1014412 w 1664970"/>
                    <a:gd name="connsiteY10" fmla="*/ 1403986 h 1458754"/>
                    <a:gd name="connsiteX11" fmla="*/ 1042987 w 1664970"/>
                    <a:gd name="connsiteY11" fmla="*/ 1368266 h 1458754"/>
                    <a:gd name="connsiteX12" fmla="*/ 940594 w 1664970"/>
                    <a:gd name="connsiteY12" fmla="*/ 1339691 h 1458754"/>
                    <a:gd name="connsiteX13" fmla="*/ 892968 w 1664970"/>
                    <a:gd name="connsiteY13" fmla="*/ 1358741 h 1458754"/>
                    <a:gd name="connsiteX14" fmla="*/ 797719 w 1664970"/>
                    <a:gd name="connsiteY14" fmla="*/ 1294447 h 1458754"/>
                    <a:gd name="connsiteX15" fmla="*/ 804863 w 1664970"/>
                    <a:gd name="connsiteY15" fmla="*/ 1223010 h 1458754"/>
                    <a:gd name="connsiteX16" fmla="*/ 716756 w 1664970"/>
                    <a:gd name="connsiteY16" fmla="*/ 1180147 h 1458754"/>
                    <a:gd name="connsiteX17" fmla="*/ 583406 w 1664970"/>
                    <a:gd name="connsiteY17" fmla="*/ 1146810 h 1458754"/>
                    <a:gd name="connsiteX18" fmla="*/ 516731 w 1664970"/>
                    <a:gd name="connsiteY18" fmla="*/ 1182529 h 1458754"/>
                    <a:gd name="connsiteX19" fmla="*/ 463868 w 1664970"/>
                    <a:gd name="connsiteY19" fmla="*/ 1152049 h 1458754"/>
                    <a:gd name="connsiteX20" fmla="*/ 290513 w 1664970"/>
                    <a:gd name="connsiteY20" fmla="*/ 956310 h 1458754"/>
                    <a:gd name="connsiteX21" fmla="*/ 292893 w 1664970"/>
                    <a:gd name="connsiteY21" fmla="*/ 861060 h 1458754"/>
                    <a:gd name="connsiteX22" fmla="*/ 230981 w 1664970"/>
                    <a:gd name="connsiteY22" fmla="*/ 780097 h 1458754"/>
                    <a:gd name="connsiteX23" fmla="*/ 209550 w 1664970"/>
                    <a:gd name="connsiteY23" fmla="*/ 663417 h 1458754"/>
                    <a:gd name="connsiteX24" fmla="*/ 130969 w 1664970"/>
                    <a:gd name="connsiteY24" fmla="*/ 632461 h 1458754"/>
                    <a:gd name="connsiteX25" fmla="*/ 121444 w 1664970"/>
                    <a:gd name="connsiteY25" fmla="*/ 477679 h 1458754"/>
                    <a:gd name="connsiteX26" fmla="*/ 74772 w 1664970"/>
                    <a:gd name="connsiteY26" fmla="*/ 415290 h 1458754"/>
                    <a:gd name="connsiteX27" fmla="*/ 0 w 1664970"/>
                    <a:gd name="connsiteY27" fmla="*/ 210979 h 1458754"/>
                    <a:gd name="connsiteX28" fmla="*/ 3810 w 1664970"/>
                    <a:gd name="connsiteY28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664970 w 1664970"/>
                    <a:gd name="connsiteY6" fmla="*/ 1028700 h 1458754"/>
                    <a:gd name="connsiteX7" fmla="*/ 1520190 w 1664970"/>
                    <a:gd name="connsiteY7" fmla="*/ 1356360 h 1458754"/>
                    <a:gd name="connsiteX8" fmla="*/ 1170146 w 1664970"/>
                    <a:gd name="connsiteY8" fmla="*/ 1458754 h 1458754"/>
                    <a:gd name="connsiteX9" fmla="*/ 1064418 w 1664970"/>
                    <a:gd name="connsiteY9" fmla="*/ 1458754 h 1458754"/>
                    <a:gd name="connsiteX10" fmla="*/ 1014412 w 1664970"/>
                    <a:gd name="connsiteY10" fmla="*/ 1403986 h 1458754"/>
                    <a:gd name="connsiteX11" fmla="*/ 1042987 w 1664970"/>
                    <a:gd name="connsiteY11" fmla="*/ 1368266 h 1458754"/>
                    <a:gd name="connsiteX12" fmla="*/ 940594 w 1664970"/>
                    <a:gd name="connsiteY12" fmla="*/ 1339691 h 1458754"/>
                    <a:gd name="connsiteX13" fmla="*/ 892968 w 1664970"/>
                    <a:gd name="connsiteY13" fmla="*/ 1358741 h 1458754"/>
                    <a:gd name="connsiteX14" fmla="*/ 797719 w 1664970"/>
                    <a:gd name="connsiteY14" fmla="*/ 1294447 h 1458754"/>
                    <a:gd name="connsiteX15" fmla="*/ 804863 w 1664970"/>
                    <a:gd name="connsiteY15" fmla="*/ 1223010 h 1458754"/>
                    <a:gd name="connsiteX16" fmla="*/ 716756 w 1664970"/>
                    <a:gd name="connsiteY16" fmla="*/ 1180147 h 1458754"/>
                    <a:gd name="connsiteX17" fmla="*/ 583406 w 1664970"/>
                    <a:gd name="connsiteY17" fmla="*/ 1146810 h 1458754"/>
                    <a:gd name="connsiteX18" fmla="*/ 516731 w 1664970"/>
                    <a:gd name="connsiteY18" fmla="*/ 1182529 h 1458754"/>
                    <a:gd name="connsiteX19" fmla="*/ 463868 w 1664970"/>
                    <a:gd name="connsiteY19" fmla="*/ 1152049 h 1458754"/>
                    <a:gd name="connsiteX20" fmla="*/ 290513 w 1664970"/>
                    <a:gd name="connsiteY20" fmla="*/ 956310 h 1458754"/>
                    <a:gd name="connsiteX21" fmla="*/ 292893 w 1664970"/>
                    <a:gd name="connsiteY21" fmla="*/ 861060 h 1458754"/>
                    <a:gd name="connsiteX22" fmla="*/ 230981 w 1664970"/>
                    <a:gd name="connsiteY22" fmla="*/ 780097 h 1458754"/>
                    <a:gd name="connsiteX23" fmla="*/ 209550 w 1664970"/>
                    <a:gd name="connsiteY23" fmla="*/ 663417 h 1458754"/>
                    <a:gd name="connsiteX24" fmla="*/ 130969 w 1664970"/>
                    <a:gd name="connsiteY24" fmla="*/ 632461 h 1458754"/>
                    <a:gd name="connsiteX25" fmla="*/ 121444 w 1664970"/>
                    <a:gd name="connsiteY25" fmla="*/ 477679 h 1458754"/>
                    <a:gd name="connsiteX26" fmla="*/ 74772 w 1664970"/>
                    <a:gd name="connsiteY26" fmla="*/ 415290 h 1458754"/>
                    <a:gd name="connsiteX27" fmla="*/ 0 w 1664970"/>
                    <a:gd name="connsiteY27" fmla="*/ 210979 h 1458754"/>
                    <a:gd name="connsiteX28" fmla="*/ 3810 w 1664970"/>
                    <a:gd name="connsiteY28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414463 w 1664970"/>
                    <a:gd name="connsiteY6" fmla="*/ 751523 h 1458754"/>
                    <a:gd name="connsiteX7" fmla="*/ 1664970 w 1664970"/>
                    <a:gd name="connsiteY7" fmla="*/ 1028700 h 1458754"/>
                    <a:gd name="connsiteX8" fmla="*/ 1520190 w 1664970"/>
                    <a:gd name="connsiteY8" fmla="*/ 1356360 h 1458754"/>
                    <a:gd name="connsiteX9" fmla="*/ 1170146 w 1664970"/>
                    <a:gd name="connsiteY9" fmla="*/ 1458754 h 1458754"/>
                    <a:gd name="connsiteX10" fmla="*/ 1064418 w 1664970"/>
                    <a:gd name="connsiteY10" fmla="*/ 1458754 h 1458754"/>
                    <a:gd name="connsiteX11" fmla="*/ 1014412 w 1664970"/>
                    <a:gd name="connsiteY11" fmla="*/ 1403986 h 1458754"/>
                    <a:gd name="connsiteX12" fmla="*/ 1042987 w 1664970"/>
                    <a:gd name="connsiteY12" fmla="*/ 1368266 h 1458754"/>
                    <a:gd name="connsiteX13" fmla="*/ 940594 w 1664970"/>
                    <a:gd name="connsiteY13" fmla="*/ 1339691 h 1458754"/>
                    <a:gd name="connsiteX14" fmla="*/ 892968 w 1664970"/>
                    <a:gd name="connsiteY14" fmla="*/ 1358741 h 1458754"/>
                    <a:gd name="connsiteX15" fmla="*/ 797719 w 1664970"/>
                    <a:gd name="connsiteY15" fmla="*/ 1294447 h 1458754"/>
                    <a:gd name="connsiteX16" fmla="*/ 804863 w 1664970"/>
                    <a:gd name="connsiteY16" fmla="*/ 1223010 h 1458754"/>
                    <a:gd name="connsiteX17" fmla="*/ 716756 w 1664970"/>
                    <a:gd name="connsiteY17" fmla="*/ 1180147 h 1458754"/>
                    <a:gd name="connsiteX18" fmla="*/ 583406 w 1664970"/>
                    <a:gd name="connsiteY18" fmla="*/ 1146810 h 1458754"/>
                    <a:gd name="connsiteX19" fmla="*/ 516731 w 1664970"/>
                    <a:gd name="connsiteY19" fmla="*/ 1182529 h 1458754"/>
                    <a:gd name="connsiteX20" fmla="*/ 463868 w 1664970"/>
                    <a:gd name="connsiteY20" fmla="*/ 1152049 h 1458754"/>
                    <a:gd name="connsiteX21" fmla="*/ 290513 w 1664970"/>
                    <a:gd name="connsiteY21" fmla="*/ 956310 h 1458754"/>
                    <a:gd name="connsiteX22" fmla="*/ 292893 w 1664970"/>
                    <a:gd name="connsiteY22" fmla="*/ 861060 h 1458754"/>
                    <a:gd name="connsiteX23" fmla="*/ 230981 w 1664970"/>
                    <a:gd name="connsiteY23" fmla="*/ 780097 h 1458754"/>
                    <a:gd name="connsiteX24" fmla="*/ 209550 w 1664970"/>
                    <a:gd name="connsiteY24" fmla="*/ 663417 h 1458754"/>
                    <a:gd name="connsiteX25" fmla="*/ 130969 w 1664970"/>
                    <a:gd name="connsiteY25" fmla="*/ 632461 h 1458754"/>
                    <a:gd name="connsiteX26" fmla="*/ 121444 w 1664970"/>
                    <a:gd name="connsiteY26" fmla="*/ 477679 h 1458754"/>
                    <a:gd name="connsiteX27" fmla="*/ 74772 w 1664970"/>
                    <a:gd name="connsiteY27" fmla="*/ 415290 h 1458754"/>
                    <a:gd name="connsiteX28" fmla="*/ 0 w 1664970"/>
                    <a:gd name="connsiteY28" fmla="*/ 210979 h 1458754"/>
                    <a:gd name="connsiteX29" fmla="*/ 3810 w 1664970"/>
                    <a:gd name="connsiteY29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119188 w 1664970"/>
                    <a:gd name="connsiteY6" fmla="*/ 482442 h 1458754"/>
                    <a:gd name="connsiteX7" fmla="*/ 1664970 w 1664970"/>
                    <a:gd name="connsiteY7" fmla="*/ 1028700 h 1458754"/>
                    <a:gd name="connsiteX8" fmla="*/ 1520190 w 1664970"/>
                    <a:gd name="connsiteY8" fmla="*/ 1356360 h 1458754"/>
                    <a:gd name="connsiteX9" fmla="*/ 1170146 w 1664970"/>
                    <a:gd name="connsiteY9" fmla="*/ 1458754 h 1458754"/>
                    <a:gd name="connsiteX10" fmla="*/ 1064418 w 1664970"/>
                    <a:gd name="connsiteY10" fmla="*/ 1458754 h 1458754"/>
                    <a:gd name="connsiteX11" fmla="*/ 1014412 w 1664970"/>
                    <a:gd name="connsiteY11" fmla="*/ 1403986 h 1458754"/>
                    <a:gd name="connsiteX12" fmla="*/ 1042987 w 1664970"/>
                    <a:gd name="connsiteY12" fmla="*/ 1368266 h 1458754"/>
                    <a:gd name="connsiteX13" fmla="*/ 940594 w 1664970"/>
                    <a:gd name="connsiteY13" fmla="*/ 1339691 h 1458754"/>
                    <a:gd name="connsiteX14" fmla="*/ 892968 w 1664970"/>
                    <a:gd name="connsiteY14" fmla="*/ 1358741 h 1458754"/>
                    <a:gd name="connsiteX15" fmla="*/ 797719 w 1664970"/>
                    <a:gd name="connsiteY15" fmla="*/ 1294447 h 1458754"/>
                    <a:gd name="connsiteX16" fmla="*/ 804863 w 1664970"/>
                    <a:gd name="connsiteY16" fmla="*/ 1223010 h 1458754"/>
                    <a:gd name="connsiteX17" fmla="*/ 716756 w 1664970"/>
                    <a:gd name="connsiteY17" fmla="*/ 1180147 h 1458754"/>
                    <a:gd name="connsiteX18" fmla="*/ 583406 w 1664970"/>
                    <a:gd name="connsiteY18" fmla="*/ 1146810 h 1458754"/>
                    <a:gd name="connsiteX19" fmla="*/ 516731 w 1664970"/>
                    <a:gd name="connsiteY19" fmla="*/ 1182529 h 1458754"/>
                    <a:gd name="connsiteX20" fmla="*/ 463868 w 1664970"/>
                    <a:gd name="connsiteY20" fmla="*/ 1152049 h 1458754"/>
                    <a:gd name="connsiteX21" fmla="*/ 290513 w 1664970"/>
                    <a:gd name="connsiteY21" fmla="*/ 956310 h 1458754"/>
                    <a:gd name="connsiteX22" fmla="*/ 292893 w 1664970"/>
                    <a:gd name="connsiteY22" fmla="*/ 861060 h 1458754"/>
                    <a:gd name="connsiteX23" fmla="*/ 230981 w 1664970"/>
                    <a:gd name="connsiteY23" fmla="*/ 780097 h 1458754"/>
                    <a:gd name="connsiteX24" fmla="*/ 209550 w 1664970"/>
                    <a:gd name="connsiteY24" fmla="*/ 663417 h 1458754"/>
                    <a:gd name="connsiteX25" fmla="*/ 130969 w 1664970"/>
                    <a:gd name="connsiteY25" fmla="*/ 632461 h 1458754"/>
                    <a:gd name="connsiteX26" fmla="*/ 121444 w 1664970"/>
                    <a:gd name="connsiteY26" fmla="*/ 477679 h 1458754"/>
                    <a:gd name="connsiteX27" fmla="*/ 74772 w 1664970"/>
                    <a:gd name="connsiteY27" fmla="*/ 415290 h 1458754"/>
                    <a:gd name="connsiteX28" fmla="*/ 0 w 1664970"/>
                    <a:gd name="connsiteY28" fmla="*/ 210979 h 1458754"/>
                    <a:gd name="connsiteX29" fmla="*/ 3810 w 1664970"/>
                    <a:gd name="connsiteY29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119188 w 1664970"/>
                    <a:gd name="connsiteY6" fmla="*/ 482442 h 1458754"/>
                    <a:gd name="connsiteX7" fmla="*/ 1376363 w 1664970"/>
                    <a:gd name="connsiteY7" fmla="*/ 744379 h 1458754"/>
                    <a:gd name="connsiteX8" fmla="*/ 1664970 w 1664970"/>
                    <a:gd name="connsiteY8" fmla="*/ 1028700 h 1458754"/>
                    <a:gd name="connsiteX9" fmla="*/ 1520190 w 1664970"/>
                    <a:gd name="connsiteY9" fmla="*/ 1356360 h 1458754"/>
                    <a:gd name="connsiteX10" fmla="*/ 1170146 w 1664970"/>
                    <a:gd name="connsiteY10" fmla="*/ 1458754 h 1458754"/>
                    <a:gd name="connsiteX11" fmla="*/ 1064418 w 1664970"/>
                    <a:gd name="connsiteY11" fmla="*/ 1458754 h 1458754"/>
                    <a:gd name="connsiteX12" fmla="*/ 1014412 w 1664970"/>
                    <a:gd name="connsiteY12" fmla="*/ 1403986 h 1458754"/>
                    <a:gd name="connsiteX13" fmla="*/ 1042987 w 1664970"/>
                    <a:gd name="connsiteY13" fmla="*/ 1368266 h 1458754"/>
                    <a:gd name="connsiteX14" fmla="*/ 940594 w 1664970"/>
                    <a:gd name="connsiteY14" fmla="*/ 1339691 h 1458754"/>
                    <a:gd name="connsiteX15" fmla="*/ 892968 w 1664970"/>
                    <a:gd name="connsiteY15" fmla="*/ 1358741 h 1458754"/>
                    <a:gd name="connsiteX16" fmla="*/ 797719 w 1664970"/>
                    <a:gd name="connsiteY16" fmla="*/ 1294447 h 1458754"/>
                    <a:gd name="connsiteX17" fmla="*/ 804863 w 1664970"/>
                    <a:gd name="connsiteY17" fmla="*/ 1223010 h 1458754"/>
                    <a:gd name="connsiteX18" fmla="*/ 716756 w 1664970"/>
                    <a:gd name="connsiteY18" fmla="*/ 1180147 h 1458754"/>
                    <a:gd name="connsiteX19" fmla="*/ 583406 w 1664970"/>
                    <a:gd name="connsiteY19" fmla="*/ 1146810 h 1458754"/>
                    <a:gd name="connsiteX20" fmla="*/ 516731 w 1664970"/>
                    <a:gd name="connsiteY20" fmla="*/ 1182529 h 1458754"/>
                    <a:gd name="connsiteX21" fmla="*/ 463868 w 1664970"/>
                    <a:gd name="connsiteY21" fmla="*/ 1152049 h 1458754"/>
                    <a:gd name="connsiteX22" fmla="*/ 290513 w 1664970"/>
                    <a:gd name="connsiteY22" fmla="*/ 956310 h 1458754"/>
                    <a:gd name="connsiteX23" fmla="*/ 292893 w 1664970"/>
                    <a:gd name="connsiteY23" fmla="*/ 861060 h 1458754"/>
                    <a:gd name="connsiteX24" fmla="*/ 230981 w 1664970"/>
                    <a:gd name="connsiteY24" fmla="*/ 780097 h 1458754"/>
                    <a:gd name="connsiteX25" fmla="*/ 209550 w 1664970"/>
                    <a:gd name="connsiteY25" fmla="*/ 663417 h 1458754"/>
                    <a:gd name="connsiteX26" fmla="*/ 130969 w 1664970"/>
                    <a:gd name="connsiteY26" fmla="*/ 632461 h 1458754"/>
                    <a:gd name="connsiteX27" fmla="*/ 121444 w 1664970"/>
                    <a:gd name="connsiteY27" fmla="*/ 477679 h 1458754"/>
                    <a:gd name="connsiteX28" fmla="*/ 74772 w 1664970"/>
                    <a:gd name="connsiteY28" fmla="*/ 415290 h 1458754"/>
                    <a:gd name="connsiteX29" fmla="*/ 0 w 1664970"/>
                    <a:gd name="connsiteY29" fmla="*/ 210979 h 1458754"/>
                    <a:gd name="connsiteX30" fmla="*/ 3810 w 1664970"/>
                    <a:gd name="connsiteY30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119188 w 1664970"/>
                    <a:gd name="connsiteY6" fmla="*/ 482442 h 1458754"/>
                    <a:gd name="connsiteX7" fmla="*/ 1059657 w 1664970"/>
                    <a:gd name="connsiteY7" fmla="*/ 644367 h 1458754"/>
                    <a:gd name="connsiteX8" fmla="*/ 1664970 w 1664970"/>
                    <a:gd name="connsiteY8" fmla="*/ 1028700 h 1458754"/>
                    <a:gd name="connsiteX9" fmla="*/ 1520190 w 1664970"/>
                    <a:gd name="connsiteY9" fmla="*/ 1356360 h 1458754"/>
                    <a:gd name="connsiteX10" fmla="*/ 1170146 w 1664970"/>
                    <a:gd name="connsiteY10" fmla="*/ 1458754 h 1458754"/>
                    <a:gd name="connsiteX11" fmla="*/ 1064418 w 1664970"/>
                    <a:gd name="connsiteY11" fmla="*/ 1458754 h 1458754"/>
                    <a:gd name="connsiteX12" fmla="*/ 1014412 w 1664970"/>
                    <a:gd name="connsiteY12" fmla="*/ 1403986 h 1458754"/>
                    <a:gd name="connsiteX13" fmla="*/ 1042987 w 1664970"/>
                    <a:gd name="connsiteY13" fmla="*/ 1368266 h 1458754"/>
                    <a:gd name="connsiteX14" fmla="*/ 940594 w 1664970"/>
                    <a:gd name="connsiteY14" fmla="*/ 1339691 h 1458754"/>
                    <a:gd name="connsiteX15" fmla="*/ 892968 w 1664970"/>
                    <a:gd name="connsiteY15" fmla="*/ 1358741 h 1458754"/>
                    <a:gd name="connsiteX16" fmla="*/ 797719 w 1664970"/>
                    <a:gd name="connsiteY16" fmla="*/ 1294447 h 1458754"/>
                    <a:gd name="connsiteX17" fmla="*/ 804863 w 1664970"/>
                    <a:gd name="connsiteY17" fmla="*/ 1223010 h 1458754"/>
                    <a:gd name="connsiteX18" fmla="*/ 716756 w 1664970"/>
                    <a:gd name="connsiteY18" fmla="*/ 1180147 h 1458754"/>
                    <a:gd name="connsiteX19" fmla="*/ 583406 w 1664970"/>
                    <a:gd name="connsiteY19" fmla="*/ 1146810 h 1458754"/>
                    <a:gd name="connsiteX20" fmla="*/ 516731 w 1664970"/>
                    <a:gd name="connsiteY20" fmla="*/ 1182529 h 1458754"/>
                    <a:gd name="connsiteX21" fmla="*/ 463868 w 1664970"/>
                    <a:gd name="connsiteY21" fmla="*/ 1152049 h 1458754"/>
                    <a:gd name="connsiteX22" fmla="*/ 290513 w 1664970"/>
                    <a:gd name="connsiteY22" fmla="*/ 956310 h 1458754"/>
                    <a:gd name="connsiteX23" fmla="*/ 292893 w 1664970"/>
                    <a:gd name="connsiteY23" fmla="*/ 861060 h 1458754"/>
                    <a:gd name="connsiteX24" fmla="*/ 230981 w 1664970"/>
                    <a:gd name="connsiteY24" fmla="*/ 780097 h 1458754"/>
                    <a:gd name="connsiteX25" fmla="*/ 209550 w 1664970"/>
                    <a:gd name="connsiteY25" fmla="*/ 663417 h 1458754"/>
                    <a:gd name="connsiteX26" fmla="*/ 130969 w 1664970"/>
                    <a:gd name="connsiteY26" fmla="*/ 632461 h 1458754"/>
                    <a:gd name="connsiteX27" fmla="*/ 121444 w 1664970"/>
                    <a:gd name="connsiteY27" fmla="*/ 477679 h 1458754"/>
                    <a:gd name="connsiteX28" fmla="*/ 74772 w 1664970"/>
                    <a:gd name="connsiteY28" fmla="*/ 415290 h 1458754"/>
                    <a:gd name="connsiteX29" fmla="*/ 0 w 1664970"/>
                    <a:gd name="connsiteY29" fmla="*/ 210979 h 1458754"/>
                    <a:gd name="connsiteX30" fmla="*/ 3810 w 1664970"/>
                    <a:gd name="connsiteY30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119188 w 1664970"/>
                    <a:gd name="connsiteY6" fmla="*/ 482442 h 1458754"/>
                    <a:gd name="connsiteX7" fmla="*/ 1059657 w 1664970"/>
                    <a:gd name="connsiteY7" fmla="*/ 644367 h 1458754"/>
                    <a:gd name="connsiteX8" fmla="*/ 1443038 w 1664970"/>
                    <a:gd name="connsiteY8" fmla="*/ 892016 h 1458754"/>
                    <a:gd name="connsiteX9" fmla="*/ 1664970 w 1664970"/>
                    <a:gd name="connsiteY9" fmla="*/ 1028700 h 1458754"/>
                    <a:gd name="connsiteX10" fmla="*/ 1520190 w 1664970"/>
                    <a:gd name="connsiteY10" fmla="*/ 1356360 h 1458754"/>
                    <a:gd name="connsiteX11" fmla="*/ 1170146 w 1664970"/>
                    <a:gd name="connsiteY11" fmla="*/ 1458754 h 1458754"/>
                    <a:gd name="connsiteX12" fmla="*/ 1064418 w 1664970"/>
                    <a:gd name="connsiteY12" fmla="*/ 1458754 h 1458754"/>
                    <a:gd name="connsiteX13" fmla="*/ 1014412 w 1664970"/>
                    <a:gd name="connsiteY13" fmla="*/ 1403986 h 1458754"/>
                    <a:gd name="connsiteX14" fmla="*/ 1042987 w 1664970"/>
                    <a:gd name="connsiteY14" fmla="*/ 1368266 h 1458754"/>
                    <a:gd name="connsiteX15" fmla="*/ 940594 w 1664970"/>
                    <a:gd name="connsiteY15" fmla="*/ 1339691 h 1458754"/>
                    <a:gd name="connsiteX16" fmla="*/ 892968 w 1664970"/>
                    <a:gd name="connsiteY16" fmla="*/ 1358741 h 1458754"/>
                    <a:gd name="connsiteX17" fmla="*/ 797719 w 1664970"/>
                    <a:gd name="connsiteY17" fmla="*/ 1294447 h 1458754"/>
                    <a:gd name="connsiteX18" fmla="*/ 804863 w 1664970"/>
                    <a:gd name="connsiteY18" fmla="*/ 1223010 h 1458754"/>
                    <a:gd name="connsiteX19" fmla="*/ 716756 w 1664970"/>
                    <a:gd name="connsiteY19" fmla="*/ 1180147 h 1458754"/>
                    <a:gd name="connsiteX20" fmla="*/ 583406 w 1664970"/>
                    <a:gd name="connsiteY20" fmla="*/ 1146810 h 1458754"/>
                    <a:gd name="connsiteX21" fmla="*/ 516731 w 1664970"/>
                    <a:gd name="connsiteY21" fmla="*/ 1182529 h 1458754"/>
                    <a:gd name="connsiteX22" fmla="*/ 463868 w 1664970"/>
                    <a:gd name="connsiteY22" fmla="*/ 1152049 h 1458754"/>
                    <a:gd name="connsiteX23" fmla="*/ 290513 w 1664970"/>
                    <a:gd name="connsiteY23" fmla="*/ 956310 h 1458754"/>
                    <a:gd name="connsiteX24" fmla="*/ 292893 w 1664970"/>
                    <a:gd name="connsiteY24" fmla="*/ 861060 h 1458754"/>
                    <a:gd name="connsiteX25" fmla="*/ 230981 w 1664970"/>
                    <a:gd name="connsiteY25" fmla="*/ 780097 h 1458754"/>
                    <a:gd name="connsiteX26" fmla="*/ 209550 w 1664970"/>
                    <a:gd name="connsiteY26" fmla="*/ 663417 h 1458754"/>
                    <a:gd name="connsiteX27" fmla="*/ 130969 w 1664970"/>
                    <a:gd name="connsiteY27" fmla="*/ 632461 h 1458754"/>
                    <a:gd name="connsiteX28" fmla="*/ 121444 w 1664970"/>
                    <a:gd name="connsiteY28" fmla="*/ 477679 h 1458754"/>
                    <a:gd name="connsiteX29" fmla="*/ 74772 w 1664970"/>
                    <a:gd name="connsiteY29" fmla="*/ 415290 h 1458754"/>
                    <a:gd name="connsiteX30" fmla="*/ 0 w 1664970"/>
                    <a:gd name="connsiteY30" fmla="*/ 210979 h 1458754"/>
                    <a:gd name="connsiteX31" fmla="*/ 3810 w 1664970"/>
                    <a:gd name="connsiteY31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119188 w 1664970"/>
                    <a:gd name="connsiteY6" fmla="*/ 482442 h 1458754"/>
                    <a:gd name="connsiteX7" fmla="*/ 1059657 w 1664970"/>
                    <a:gd name="connsiteY7" fmla="*/ 644367 h 1458754"/>
                    <a:gd name="connsiteX8" fmla="*/ 1231107 w 1664970"/>
                    <a:gd name="connsiteY8" fmla="*/ 730091 h 1458754"/>
                    <a:gd name="connsiteX9" fmla="*/ 1664970 w 1664970"/>
                    <a:gd name="connsiteY9" fmla="*/ 1028700 h 1458754"/>
                    <a:gd name="connsiteX10" fmla="*/ 1520190 w 1664970"/>
                    <a:gd name="connsiteY10" fmla="*/ 1356360 h 1458754"/>
                    <a:gd name="connsiteX11" fmla="*/ 1170146 w 1664970"/>
                    <a:gd name="connsiteY11" fmla="*/ 1458754 h 1458754"/>
                    <a:gd name="connsiteX12" fmla="*/ 1064418 w 1664970"/>
                    <a:gd name="connsiteY12" fmla="*/ 1458754 h 1458754"/>
                    <a:gd name="connsiteX13" fmla="*/ 1014412 w 1664970"/>
                    <a:gd name="connsiteY13" fmla="*/ 1403986 h 1458754"/>
                    <a:gd name="connsiteX14" fmla="*/ 1042987 w 1664970"/>
                    <a:gd name="connsiteY14" fmla="*/ 1368266 h 1458754"/>
                    <a:gd name="connsiteX15" fmla="*/ 940594 w 1664970"/>
                    <a:gd name="connsiteY15" fmla="*/ 1339691 h 1458754"/>
                    <a:gd name="connsiteX16" fmla="*/ 892968 w 1664970"/>
                    <a:gd name="connsiteY16" fmla="*/ 1358741 h 1458754"/>
                    <a:gd name="connsiteX17" fmla="*/ 797719 w 1664970"/>
                    <a:gd name="connsiteY17" fmla="*/ 1294447 h 1458754"/>
                    <a:gd name="connsiteX18" fmla="*/ 804863 w 1664970"/>
                    <a:gd name="connsiteY18" fmla="*/ 1223010 h 1458754"/>
                    <a:gd name="connsiteX19" fmla="*/ 716756 w 1664970"/>
                    <a:gd name="connsiteY19" fmla="*/ 1180147 h 1458754"/>
                    <a:gd name="connsiteX20" fmla="*/ 583406 w 1664970"/>
                    <a:gd name="connsiteY20" fmla="*/ 1146810 h 1458754"/>
                    <a:gd name="connsiteX21" fmla="*/ 516731 w 1664970"/>
                    <a:gd name="connsiteY21" fmla="*/ 1182529 h 1458754"/>
                    <a:gd name="connsiteX22" fmla="*/ 463868 w 1664970"/>
                    <a:gd name="connsiteY22" fmla="*/ 1152049 h 1458754"/>
                    <a:gd name="connsiteX23" fmla="*/ 290513 w 1664970"/>
                    <a:gd name="connsiteY23" fmla="*/ 956310 h 1458754"/>
                    <a:gd name="connsiteX24" fmla="*/ 292893 w 1664970"/>
                    <a:gd name="connsiteY24" fmla="*/ 861060 h 1458754"/>
                    <a:gd name="connsiteX25" fmla="*/ 230981 w 1664970"/>
                    <a:gd name="connsiteY25" fmla="*/ 780097 h 1458754"/>
                    <a:gd name="connsiteX26" fmla="*/ 209550 w 1664970"/>
                    <a:gd name="connsiteY26" fmla="*/ 663417 h 1458754"/>
                    <a:gd name="connsiteX27" fmla="*/ 130969 w 1664970"/>
                    <a:gd name="connsiteY27" fmla="*/ 632461 h 1458754"/>
                    <a:gd name="connsiteX28" fmla="*/ 121444 w 1664970"/>
                    <a:gd name="connsiteY28" fmla="*/ 477679 h 1458754"/>
                    <a:gd name="connsiteX29" fmla="*/ 74772 w 1664970"/>
                    <a:gd name="connsiteY29" fmla="*/ 415290 h 1458754"/>
                    <a:gd name="connsiteX30" fmla="*/ 0 w 1664970"/>
                    <a:gd name="connsiteY30" fmla="*/ 210979 h 1458754"/>
                    <a:gd name="connsiteX31" fmla="*/ 3810 w 1664970"/>
                    <a:gd name="connsiteY31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119188 w 1664970"/>
                    <a:gd name="connsiteY6" fmla="*/ 482442 h 1458754"/>
                    <a:gd name="connsiteX7" fmla="*/ 1059657 w 1664970"/>
                    <a:gd name="connsiteY7" fmla="*/ 644367 h 1458754"/>
                    <a:gd name="connsiteX8" fmla="*/ 1231107 w 1664970"/>
                    <a:gd name="connsiteY8" fmla="*/ 730091 h 1458754"/>
                    <a:gd name="connsiteX9" fmla="*/ 1619250 w 1664970"/>
                    <a:gd name="connsiteY9" fmla="*/ 999173 h 1458754"/>
                    <a:gd name="connsiteX10" fmla="*/ 1664970 w 1664970"/>
                    <a:gd name="connsiteY10" fmla="*/ 1028700 h 1458754"/>
                    <a:gd name="connsiteX11" fmla="*/ 1520190 w 1664970"/>
                    <a:gd name="connsiteY11" fmla="*/ 1356360 h 1458754"/>
                    <a:gd name="connsiteX12" fmla="*/ 1170146 w 1664970"/>
                    <a:gd name="connsiteY12" fmla="*/ 1458754 h 1458754"/>
                    <a:gd name="connsiteX13" fmla="*/ 1064418 w 1664970"/>
                    <a:gd name="connsiteY13" fmla="*/ 1458754 h 1458754"/>
                    <a:gd name="connsiteX14" fmla="*/ 1014412 w 1664970"/>
                    <a:gd name="connsiteY14" fmla="*/ 1403986 h 1458754"/>
                    <a:gd name="connsiteX15" fmla="*/ 1042987 w 1664970"/>
                    <a:gd name="connsiteY15" fmla="*/ 1368266 h 1458754"/>
                    <a:gd name="connsiteX16" fmla="*/ 940594 w 1664970"/>
                    <a:gd name="connsiteY16" fmla="*/ 1339691 h 1458754"/>
                    <a:gd name="connsiteX17" fmla="*/ 892968 w 1664970"/>
                    <a:gd name="connsiteY17" fmla="*/ 1358741 h 1458754"/>
                    <a:gd name="connsiteX18" fmla="*/ 797719 w 1664970"/>
                    <a:gd name="connsiteY18" fmla="*/ 1294447 h 1458754"/>
                    <a:gd name="connsiteX19" fmla="*/ 804863 w 1664970"/>
                    <a:gd name="connsiteY19" fmla="*/ 1223010 h 1458754"/>
                    <a:gd name="connsiteX20" fmla="*/ 716756 w 1664970"/>
                    <a:gd name="connsiteY20" fmla="*/ 1180147 h 1458754"/>
                    <a:gd name="connsiteX21" fmla="*/ 583406 w 1664970"/>
                    <a:gd name="connsiteY21" fmla="*/ 1146810 h 1458754"/>
                    <a:gd name="connsiteX22" fmla="*/ 516731 w 1664970"/>
                    <a:gd name="connsiteY22" fmla="*/ 1182529 h 1458754"/>
                    <a:gd name="connsiteX23" fmla="*/ 463868 w 1664970"/>
                    <a:gd name="connsiteY23" fmla="*/ 1152049 h 1458754"/>
                    <a:gd name="connsiteX24" fmla="*/ 290513 w 1664970"/>
                    <a:gd name="connsiteY24" fmla="*/ 956310 h 1458754"/>
                    <a:gd name="connsiteX25" fmla="*/ 292893 w 1664970"/>
                    <a:gd name="connsiteY25" fmla="*/ 861060 h 1458754"/>
                    <a:gd name="connsiteX26" fmla="*/ 230981 w 1664970"/>
                    <a:gd name="connsiteY26" fmla="*/ 780097 h 1458754"/>
                    <a:gd name="connsiteX27" fmla="*/ 209550 w 1664970"/>
                    <a:gd name="connsiteY27" fmla="*/ 663417 h 1458754"/>
                    <a:gd name="connsiteX28" fmla="*/ 130969 w 1664970"/>
                    <a:gd name="connsiteY28" fmla="*/ 632461 h 1458754"/>
                    <a:gd name="connsiteX29" fmla="*/ 121444 w 1664970"/>
                    <a:gd name="connsiteY29" fmla="*/ 477679 h 1458754"/>
                    <a:gd name="connsiteX30" fmla="*/ 74772 w 1664970"/>
                    <a:gd name="connsiteY30" fmla="*/ 415290 h 1458754"/>
                    <a:gd name="connsiteX31" fmla="*/ 0 w 1664970"/>
                    <a:gd name="connsiteY31" fmla="*/ 210979 h 1458754"/>
                    <a:gd name="connsiteX32" fmla="*/ 3810 w 1664970"/>
                    <a:gd name="connsiteY32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119188 w 1664970"/>
                    <a:gd name="connsiteY6" fmla="*/ 482442 h 1458754"/>
                    <a:gd name="connsiteX7" fmla="*/ 1059657 w 1664970"/>
                    <a:gd name="connsiteY7" fmla="*/ 644367 h 1458754"/>
                    <a:gd name="connsiteX8" fmla="*/ 1231107 w 1664970"/>
                    <a:gd name="connsiteY8" fmla="*/ 730091 h 1458754"/>
                    <a:gd name="connsiteX9" fmla="*/ 1385888 w 1664970"/>
                    <a:gd name="connsiteY9" fmla="*/ 839629 h 1458754"/>
                    <a:gd name="connsiteX10" fmla="*/ 1664970 w 1664970"/>
                    <a:gd name="connsiteY10" fmla="*/ 1028700 h 1458754"/>
                    <a:gd name="connsiteX11" fmla="*/ 1520190 w 1664970"/>
                    <a:gd name="connsiteY11" fmla="*/ 1356360 h 1458754"/>
                    <a:gd name="connsiteX12" fmla="*/ 1170146 w 1664970"/>
                    <a:gd name="connsiteY12" fmla="*/ 1458754 h 1458754"/>
                    <a:gd name="connsiteX13" fmla="*/ 1064418 w 1664970"/>
                    <a:gd name="connsiteY13" fmla="*/ 1458754 h 1458754"/>
                    <a:gd name="connsiteX14" fmla="*/ 1014412 w 1664970"/>
                    <a:gd name="connsiteY14" fmla="*/ 1403986 h 1458754"/>
                    <a:gd name="connsiteX15" fmla="*/ 1042987 w 1664970"/>
                    <a:gd name="connsiteY15" fmla="*/ 1368266 h 1458754"/>
                    <a:gd name="connsiteX16" fmla="*/ 940594 w 1664970"/>
                    <a:gd name="connsiteY16" fmla="*/ 1339691 h 1458754"/>
                    <a:gd name="connsiteX17" fmla="*/ 892968 w 1664970"/>
                    <a:gd name="connsiteY17" fmla="*/ 1358741 h 1458754"/>
                    <a:gd name="connsiteX18" fmla="*/ 797719 w 1664970"/>
                    <a:gd name="connsiteY18" fmla="*/ 1294447 h 1458754"/>
                    <a:gd name="connsiteX19" fmla="*/ 804863 w 1664970"/>
                    <a:gd name="connsiteY19" fmla="*/ 1223010 h 1458754"/>
                    <a:gd name="connsiteX20" fmla="*/ 716756 w 1664970"/>
                    <a:gd name="connsiteY20" fmla="*/ 1180147 h 1458754"/>
                    <a:gd name="connsiteX21" fmla="*/ 583406 w 1664970"/>
                    <a:gd name="connsiteY21" fmla="*/ 1146810 h 1458754"/>
                    <a:gd name="connsiteX22" fmla="*/ 516731 w 1664970"/>
                    <a:gd name="connsiteY22" fmla="*/ 1182529 h 1458754"/>
                    <a:gd name="connsiteX23" fmla="*/ 463868 w 1664970"/>
                    <a:gd name="connsiteY23" fmla="*/ 1152049 h 1458754"/>
                    <a:gd name="connsiteX24" fmla="*/ 290513 w 1664970"/>
                    <a:gd name="connsiteY24" fmla="*/ 956310 h 1458754"/>
                    <a:gd name="connsiteX25" fmla="*/ 292893 w 1664970"/>
                    <a:gd name="connsiteY25" fmla="*/ 861060 h 1458754"/>
                    <a:gd name="connsiteX26" fmla="*/ 230981 w 1664970"/>
                    <a:gd name="connsiteY26" fmla="*/ 780097 h 1458754"/>
                    <a:gd name="connsiteX27" fmla="*/ 209550 w 1664970"/>
                    <a:gd name="connsiteY27" fmla="*/ 663417 h 1458754"/>
                    <a:gd name="connsiteX28" fmla="*/ 130969 w 1664970"/>
                    <a:gd name="connsiteY28" fmla="*/ 632461 h 1458754"/>
                    <a:gd name="connsiteX29" fmla="*/ 121444 w 1664970"/>
                    <a:gd name="connsiteY29" fmla="*/ 477679 h 1458754"/>
                    <a:gd name="connsiteX30" fmla="*/ 74772 w 1664970"/>
                    <a:gd name="connsiteY30" fmla="*/ 415290 h 1458754"/>
                    <a:gd name="connsiteX31" fmla="*/ 0 w 1664970"/>
                    <a:gd name="connsiteY31" fmla="*/ 210979 h 1458754"/>
                    <a:gd name="connsiteX32" fmla="*/ 3810 w 1664970"/>
                    <a:gd name="connsiteY32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119188 w 1664970"/>
                    <a:gd name="connsiteY6" fmla="*/ 482442 h 1458754"/>
                    <a:gd name="connsiteX7" fmla="*/ 1059657 w 1664970"/>
                    <a:gd name="connsiteY7" fmla="*/ 644367 h 1458754"/>
                    <a:gd name="connsiteX8" fmla="*/ 1231107 w 1664970"/>
                    <a:gd name="connsiteY8" fmla="*/ 730091 h 1458754"/>
                    <a:gd name="connsiteX9" fmla="*/ 1385888 w 1664970"/>
                    <a:gd name="connsiteY9" fmla="*/ 839629 h 1458754"/>
                    <a:gd name="connsiteX10" fmla="*/ 1616869 w 1664970"/>
                    <a:gd name="connsiteY10" fmla="*/ 1001554 h 1458754"/>
                    <a:gd name="connsiteX11" fmla="*/ 1664970 w 1664970"/>
                    <a:gd name="connsiteY11" fmla="*/ 1028700 h 1458754"/>
                    <a:gd name="connsiteX12" fmla="*/ 1520190 w 1664970"/>
                    <a:gd name="connsiteY12" fmla="*/ 1356360 h 1458754"/>
                    <a:gd name="connsiteX13" fmla="*/ 1170146 w 1664970"/>
                    <a:gd name="connsiteY13" fmla="*/ 1458754 h 1458754"/>
                    <a:gd name="connsiteX14" fmla="*/ 1064418 w 1664970"/>
                    <a:gd name="connsiteY14" fmla="*/ 1458754 h 1458754"/>
                    <a:gd name="connsiteX15" fmla="*/ 1014412 w 1664970"/>
                    <a:gd name="connsiteY15" fmla="*/ 1403986 h 1458754"/>
                    <a:gd name="connsiteX16" fmla="*/ 1042987 w 1664970"/>
                    <a:gd name="connsiteY16" fmla="*/ 1368266 h 1458754"/>
                    <a:gd name="connsiteX17" fmla="*/ 940594 w 1664970"/>
                    <a:gd name="connsiteY17" fmla="*/ 1339691 h 1458754"/>
                    <a:gd name="connsiteX18" fmla="*/ 892968 w 1664970"/>
                    <a:gd name="connsiteY18" fmla="*/ 1358741 h 1458754"/>
                    <a:gd name="connsiteX19" fmla="*/ 797719 w 1664970"/>
                    <a:gd name="connsiteY19" fmla="*/ 1294447 h 1458754"/>
                    <a:gd name="connsiteX20" fmla="*/ 804863 w 1664970"/>
                    <a:gd name="connsiteY20" fmla="*/ 1223010 h 1458754"/>
                    <a:gd name="connsiteX21" fmla="*/ 716756 w 1664970"/>
                    <a:gd name="connsiteY21" fmla="*/ 1180147 h 1458754"/>
                    <a:gd name="connsiteX22" fmla="*/ 583406 w 1664970"/>
                    <a:gd name="connsiteY22" fmla="*/ 1146810 h 1458754"/>
                    <a:gd name="connsiteX23" fmla="*/ 516731 w 1664970"/>
                    <a:gd name="connsiteY23" fmla="*/ 1182529 h 1458754"/>
                    <a:gd name="connsiteX24" fmla="*/ 463868 w 1664970"/>
                    <a:gd name="connsiteY24" fmla="*/ 1152049 h 1458754"/>
                    <a:gd name="connsiteX25" fmla="*/ 290513 w 1664970"/>
                    <a:gd name="connsiteY25" fmla="*/ 956310 h 1458754"/>
                    <a:gd name="connsiteX26" fmla="*/ 292893 w 1664970"/>
                    <a:gd name="connsiteY26" fmla="*/ 861060 h 1458754"/>
                    <a:gd name="connsiteX27" fmla="*/ 230981 w 1664970"/>
                    <a:gd name="connsiteY27" fmla="*/ 780097 h 1458754"/>
                    <a:gd name="connsiteX28" fmla="*/ 209550 w 1664970"/>
                    <a:gd name="connsiteY28" fmla="*/ 663417 h 1458754"/>
                    <a:gd name="connsiteX29" fmla="*/ 130969 w 1664970"/>
                    <a:gd name="connsiteY29" fmla="*/ 632461 h 1458754"/>
                    <a:gd name="connsiteX30" fmla="*/ 121444 w 1664970"/>
                    <a:gd name="connsiteY30" fmla="*/ 477679 h 1458754"/>
                    <a:gd name="connsiteX31" fmla="*/ 74772 w 1664970"/>
                    <a:gd name="connsiteY31" fmla="*/ 415290 h 1458754"/>
                    <a:gd name="connsiteX32" fmla="*/ 0 w 1664970"/>
                    <a:gd name="connsiteY32" fmla="*/ 210979 h 1458754"/>
                    <a:gd name="connsiteX33" fmla="*/ 3810 w 1664970"/>
                    <a:gd name="connsiteY33" fmla="*/ 76200 h 1458754"/>
                    <a:gd name="connsiteX0" fmla="*/ 3810 w 1664970"/>
                    <a:gd name="connsiteY0" fmla="*/ 76200 h 1458754"/>
                    <a:gd name="connsiteX1" fmla="*/ 1291590 w 1664970"/>
                    <a:gd name="connsiteY1" fmla="*/ 0 h 1458754"/>
                    <a:gd name="connsiteX2" fmla="*/ 1299210 w 1664970"/>
                    <a:gd name="connsiteY2" fmla="*/ 205740 h 1458754"/>
                    <a:gd name="connsiteX3" fmla="*/ 1236821 w 1664970"/>
                    <a:gd name="connsiteY3" fmla="*/ 311943 h 1458754"/>
                    <a:gd name="connsiteX4" fmla="*/ 1228725 w 1664970"/>
                    <a:gd name="connsiteY4" fmla="*/ 425292 h 1458754"/>
                    <a:gd name="connsiteX5" fmla="*/ 1185863 w 1664970"/>
                    <a:gd name="connsiteY5" fmla="*/ 494348 h 1458754"/>
                    <a:gd name="connsiteX6" fmla="*/ 1119188 w 1664970"/>
                    <a:gd name="connsiteY6" fmla="*/ 482442 h 1458754"/>
                    <a:gd name="connsiteX7" fmla="*/ 1059657 w 1664970"/>
                    <a:gd name="connsiteY7" fmla="*/ 644367 h 1458754"/>
                    <a:gd name="connsiteX8" fmla="*/ 1231107 w 1664970"/>
                    <a:gd name="connsiteY8" fmla="*/ 730091 h 1458754"/>
                    <a:gd name="connsiteX9" fmla="*/ 1385888 w 1664970"/>
                    <a:gd name="connsiteY9" fmla="*/ 839629 h 1458754"/>
                    <a:gd name="connsiteX10" fmla="*/ 1516856 w 1664970"/>
                    <a:gd name="connsiteY10" fmla="*/ 1001554 h 1458754"/>
                    <a:gd name="connsiteX11" fmla="*/ 1664970 w 1664970"/>
                    <a:gd name="connsiteY11" fmla="*/ 1028700 h 1458754"/>
                    <a:gd name="connsiteX12" fmla="*/ 1520190 w 1664970"/>
                    <a:gd name="connsiteY12" fmla="*/ 1356360 h 1458754"/>
                    <a:gd name="connsiteX13" fmla="*/ 1170146 w 1664970"/>
                    <a:gd name="connsiteY13" fmla="*/ 1458754 h 1458754"/>
                    <a:gd name="connsiteX14" fmla="*/ 1064418 w 1664970"/>
                    <a:gd name="connsiteY14" fmla="*/ 1458754 h 1458754"/>
                    <a:gd name="connsiteX15" fmla="*/ 1014412 w 1664970"/>
                    <a:gd name="connsiteY15" fmla="*/ 1403986 h 1458754"/>
                    <a:gd name="connsiteX16" fmla="*/ 1042987 w 1664970"/>
                    <a:gd name="connsiteY16" fmla="*/ 1368266 h 1458754"/>
                    <a:gd name="connsiteX17" fmla="*/ 940594 w 1664970"/>
                    <a:gd name="connsiteY17" fmla="*/ 1339691 h 1458754"/>
                    <a:gd name="connsiteX18" fmla="*/ 892968 w 1664970"/>
                    <a:gd name="connsiteY18" fmla="*/ 1358741 h 1458754"/>
                    <a:gd name="connsiteX19" fmla="*/ 797719 w 1664970"/>
                    <a:gd name="connsiteY19" fmla="*/ 1294447 h 1458754"/>
                    <a:gd name="connsiteX20" fmla="*/ 804863 w 1664970"/>
                    <a:gd name="connsiteY20" fmla="*/ 1223010 h 1458754"/>
                    <a:gd name="connsiteX21" fmla="*/ 716756 w 1664970"/>
                    <a:gd name="connsiteY21" fmla="*/ 1180147 h 1458754"/>
                    <a:gd name="connsiteX22" fmla="*/ 583406 w 1664970"/>
                    <a:gd name="connsiteY22" fmla="*/ 1146810 h 1458754"/>
                    <a:gd name="connsiteX23" fmla="*/ 516731 w 1664970"/>
                    <a:gd name="connsiteY23" fmla="*/ 1182529 h 1458754"/>
                    <a:gd name="connsiteX24" fmla="*/ 463868 w 1664970"/>
                    <a:gd name="connsiteY24" fmla="*/ 1152049 h 1458754"/>
                    <a:gd name="connsiteX25" fmla="*/ 290513 w 1664970"/>
                    <a:gd name="connsiteY25" fmla="*/ 956310 h 1458754"/>
                    <a:gd name="connsiteX26" fmla="*/ 292893 w 1664970"/>
                    <a:gd name="connsiteY26" fmla="*/ 861060 h 1458754"/>
                    <a:gd name="connsiteX27" fmla="*/ 230981 w 1664970"/>
                    <a:gd name="connsiteY27" fmla="*/ 780097 h 1458754"/>
                    <a:gd name="connsiteX28" fmla="*/ 209550 w 1664970"/>
                    <a:gd name="connsiteY28" fmla="*/ 663417 h 1458754"/>
                    <a:gd name="connsiteX29" fmla="*/ 130969 w 1664970"/>
                    <a:gd name="connsiteY29" fmla="*/ 632461 h 1458754"/>
                    <a:gd name="connsiteX30" fmla="*/ 121444 w 1664970"/>
                    <a:gd name="connsiteY30" fmla="*/ 477679 h 1458754"/>
                    <a:gd name="connsiteX31" fmla="*/ 74772 w 1664970"/>
                    <a:gd name="connsiteY31" fmla="*/ 415290 h 1458754"/>
                    <a:gd name="connsiteX32" fmla="*/ 0 w 1664970"/>
                    <a:gd name="connsiteY32" fmla="*/ 210979 h 1458754"/>
                    <a:gd name="connsiteX33" fmla="*/ 3810 w 1664970"/>
                    <a:gd name="connsiteY33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520190 w 1557814"/>
                    <a:gd name="connsiteY12" fmla="*/ 1356360 h 1458754"/>
                    <a:gd name="connsiteX13" fmla="*/ 1170146 w 1557814"/>
                    <a:gd name="connsiteY13" fmla="*/ 1458754 h 1458754"/>
                    <a:gd name="connsiteX14" fmla="*/ 1064418 w 1557814"/>
                    <a:gd name="connsiteY14" fmla="*/ 1458754 h 1458754"/>
                    <a:gd name="connsiteX15" fmla="*/ 1014412 w 1557814"/>
                    <a:gd name="connsiteY15" fmla="*/ 1403986 h 1458754"/>
                    <a:gd name="connsiteX16" fmla="*/ 1042987 w 1557814"/>
                    <a:gd name="connsiteY16" fmla="*/ 1368266 h 1458754"/>
                    <a:gd name="connsiteX17" fmla="*/ 940594 w 1557814"/>
                    <a:gd name="connsiteY17" fmla="*/ 1339691 h 1458754"/>
                    <a:gd name="connsiteX18" fmla="*/ 892968 w 1557814"/>
                    <a:gd name="connsiteY18" fmla="*/ 1358741 h 1458754"/>
                    <a:gd name="connsiteX19" fmla="*/ 797719 w 1557814"/>
                    <a:gd name="connsiteY19" fmla="*/ 1294447 h 1458754"/>
                    <a:gd name="connsiteX20" fmla="*/ 804863 w 1557814"/>
                    <a:gd name="connsiteY20" fmla="*/ 1223010 h 1458754"/>
                    <a:gd name="connsiteX21" fmla="*/ 716756 w 1557814"/>
                    <a:gd name="connsiteY21" fmla="*/ 1180147 h 1458754"/>
                    <a:gd name="connsiteX22" fmla="*/ 583406 w 1557814"/>
                    <a:gd name="connsiteY22" fmla="*/ 1146810 h 1458754"/>
                    <a:gd name="connsiteX23" fmla="*/ 516731 w 1557814"/>
                    <a:gd name="connsiteY23" fmla="*/ 1182529 h 1458754"/>
                    <a:gd name="connsiteX24" fmla="*/ 463868 w 1557814"/>
                    <a:gd name="connsiteY24" fmla="*/ 1152049 h 1458754"/>
                    <a:gd name="connsiteX25" fmla="*/ 290513 w 1557814"/>
                    <a:gd name="connsiteY25" fmla="*/ 956310 h 1458754"/>
                    <a:gd name="connsiteX26" fmla="*/ 292893 w 1557814"/>
                    <a:gd name="connsiteY26" fmla="*/ 861060 h 1458754"/>
                    <a:gd name="connsiteX27" fmla="*/ 230981 w 1557814"/>
                    <a:gd name="connsiteY27" fmla="*/ 780097 h 1458754"/>
                    <a:gd name="connsiteX28" fmla="*/ 209550 w 1557814"/>
                    <a:gd name="connsiteY28" fmla="*/ 663417 h 1458754"/>
                    <a:gd name="connsiteX29" fmla="*/ 130969 w 1557814"/>
                    <a:gd name="connsiteY29" fmla="*/ 632461 h 1458754"/>
                    <a:gd name="connsiteX30" fmla="*/ 121444 w 1557814"/>
                    <a:gd name="connsiteY30" fmla="*/ 477679 h 1458754"/>
                    <a:gd name="connsiteX31" fmla="*/ 74772 w 1557814"/>
                    <a:gd name="connsiteY31" fmla="*/ 415290 h 1458754"/>
                    <a:gd name="connsiteX32" fmla="*/ 0 w 1557814"/>
                    <a:gd name="connsiteY32" fmla="*/ 210979 h 1458754"/>
                    <a:gd name="connsiteX33" fmla="*/ 3810 w 1557814"/>
                    <a:gd name="connsiteY33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170146 w 1557814"/>
                    <a:gd name="connsiteY13" fmla="*/ 1458754 h 1458754"/>
                    <a:gd name="connsiteX14" fmla="*/ 1064418 w 1557814"/>
                    <a:gd name="connsiteY14" fmla="*/ 1458754 h 1458754"/>
                    <a:gd name="connsiteX15" fmla="*/ 1014412 w 1557814"/>
                    <a:gd name="connsiteY15" fmla="*/ 1403986 h 1458754"/>
                    <a:gd name="connsiteX16" fmla="*/ 1042987 w 1557814"/>
                    <a:gd name="connsiteY16" fmla="*/ 1368266 h 1458754"/>
                    <a:gd name="connsiteX17" fmla="*/ 940594 w 1557814"/>
                    <a:gd name="connsiteY17" fmla="*/ 1339691 h 1458754"/>
                    <a:gd name="connsiteX18" fmla="*/ 892968 w 1557814"/>
                    <a:gd name="connsiteY18" fmla="*/ 1358741 h 1458754"/>
                    <a:gd name="connsiteX19" fmla="*/ 797719 w 1557814"/>
                    <a:gd name="connsiteY19" fmla="*/ 1294447 h 1458754"/>
                    <a:gd name="connsiteX20" fmla="*/ 804863 w 1557814"/>
                    <a:gd name="connsiteY20" fmla="*/ 1223010 h 1458754"/>
                    <a:gd name="connsiteX21" fmla="*/ 716756 w 1557814"/>
                    <a:gd name="connsiteY21" fmla="*/ 1180147 h 1458754"/>
                    <a:gd name="connsiteX22" fmla="*/ 583406 w 1557814"/>
                    <a:gd name="connsiteY22" fmla="*/ 1146810 h 1458754"/>
                    <a:gd name="connsiteX23" fmla="*/ 516731 w 1557814"/>
                    <a:gd name="connsiteY23" fmla="*/ 1182529 h 1458754"/>
                    <a:gd name="connsiteX24" fmla="*/ 463868 w 1557814"/>
                    <a:gd name="connsiteY24" fmla="*/ 1152049 h 1458754"/>
                    <a:gd name="connsiteX25" fmla="*/ 290513 w 1557814"/>
                    <a:gd name="connsiteY25" fmla="*/ 956310 h 1458754"/>
                    <a:gd name="connsiteX26" fmla="*/ 292893 w 1557814"/>
                    <a:gd name="connsiteY26" fmla="*/ 861060 h 1458754"/>
                    <a:gd name="connsiteX27" fmla="*/ 230981 w 1557814"/>
                    <a:gd name="connsiteY27" fmla="*/ 780097 h 1458754"/>
                    <a:gd name="connsiteX28" fmla="*/ 209550 w 1557814"/>
                    <a:gd name="connsiteY28" fmla="*/ 663417 h 1458754"/>
                    <a:gd name="connsiteX29" fmla="*/ 130969 w 1557814"/>
                    <a:gd name="connsiteY29" fmla="*/ 632461 h 1458754"/>
                    <a:gd name="connsiteX30" fmla="*/ 121444 w 1557814"/>
                    <a:gd name="connsiteY30" fmla="*/ 477679 h 1458754"/>
                    <a:gd name="connsiteX31" fmla="*/ 74772 w 1557814"/>
                    <a:gd name="connsiteY31" fmla="*/ 415290 h 1458754"/>
                    <a:gd name="connsiteX32" fmla="*/ 0 w 1557814"/>
                    <a:gd name="connsiteY32" fmla="*/ 210979 h 1458754"/>
                    <a:gd name="connsiteX33" fmla="*/ 3810 w 1557814"/>
                    <a:gd name="connsiteY33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250156 w 1557814"/>
                    <a:gd name="connsiteY13" fmla="*/ 1361123 h 1458754"/>
                    <a:gd name="connsiteX14" fmla="*/ 1170146 w 1557814"/>
                    <a:gd name="connsiteY14" fmla="*/ 1458754 h 1458754"/>
                    <a:gd name="connsiteX15" fmla="*/ 1064418 w 1557814"/>
                    <a:gd name="connsiteY15" fmla="*/ 1458754 h 1458754"/>
                    <a:gd name="connsiteX16" fmla="*/ 1014412 w 1557814"/>
                    <a:gd name="connsiteY16" fmla="*/ 1403986 h 1458754"/>
                    <a:gd name="connsiteX17" fmla="*/ 1042987 w 1557814"/>
                    <a:gd name="connsiteY17" fmla="*/ 1368266 h 1458754"/>
                    <a:gd name="connsiteX18" fmla="*/ 940594 w 1557814"/>
                    <a:gd name="connsiteY18" fmla="*/ 1339691 h 1458754"/>
                    <a:gd name="connsiteX19" fmla="*/ 892968 w 1557814"/>
                    <a:gd name="connsiteY19" fmla="*/ 1358741 h 1458754"/>
                    <a:gd name="connsiteX20" fmla="*/ 797719 w 1557814"/>
                    <a:gd name="connsiteY20" fmla="*/ 1294447 h 1458754"/>
                    <a:gd name="connsiteX21" fmla="*/ 804863 w 1557814"/>
                    <a:gd name="connsiteY21" fmla="*/ 1223010 h 1458754"/>
                    <a:gd name="connsiteX22" fmla="*/ 716756 w 1557814"/>
                    <a:gd name="connsiteY22" fmla="*/ 1180147 h 1458754"/>
                    <a:gd name="connsiteX23" fmla="*/ 583406 w 1557814"/>
                    <a:gd name="connsiteY23" fmla="*/ 1146810 h 1458754"/>
                    <a:gd name="connsiteX24" fmla="*/ 516731 w 1557814"/>
                    <a:gd name="connsiteY24" fmla="*/ 1182529 h 1458754"/>
                    <a:gd name="connsiteX25" fmla="*/ 463868 w 1557814"/>
                    <a:gd name="connsiteY25" fmla="*/ 1152049 h 1458754"/>
                    <a:gd name="connsiteX26" fmla="*/ 290513 w 1557814"/>
                    <a:gd name="connsiteY26" fmla="*/ 956310 h 1458754"/>
                    <a:gd name="connsiteX27" fmla="*/ 292893 w 1557814"/>
                    <a:gd name="connsiteY27" fmla="*/ 861060 h 1458754"/>
                    <a:gd name="connsiteX28" fmla="*/ 230981 w 1557814"/>
                    <a:gd name="connsiteY28" fmla="*/ 780097 h 1458754"/>
                    <a:gd name="connsiteX29" fmla="*/ 209550 w 1557814"/>
                    <a:gd name="connsiteY29" fmla="*/ 663417 h 1458754"/>
                    <a:gd name="connsiteX30" fmla="*/ 130969 w 1557814"/>
                    <a:gd name="connsiteY30" fmla="*/ 632461 h 1458754"/>
                    <a:gd name="connsiteX31" fmla="*/ 121444 w 1557814"/>
                    <a:gd name="connsiteY31" fmla="*/ 477679 h 1458754"/>
                    <a:gd name="connsiteX32" fmla="*/ 74772 w 1557814"/>
                    <a:gd name="connsiteY32" fmla="*/ 415290 h 1458754"/>
                    <a:gd name="connsiteX33" fmla="*/ 0 w 1557814"/>
                    <a:gd name="connsiteY33" fmla="*/ 210979 h 1458754"/>
                    <a:gd name="connsiteX34" fmla="*/ 3810 w 1557814"/>
                    <a:gd name="connsiteY34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152525 w 1557814"/>
                    <a:gd name="connsiteY13" fmla="*/ 1408748 h 1458754"/>
                    <a:gd name="connsiteX14" fmla="*/ 1170146 w 1557814"/>
                    <a:gd name="connsiteY14" fmla="*/ 1458754 h 1458754"/>
                    <a:gd name="connsiteX15" fmla="*/ 1064418 w 1557814"/>
                    <a:gd name="connsiteY15" fmla="*/ 1458754 h 1458754"/>
                    <a:gd name="connsiteX16" fmla="*/ 1014412 w 1557814"/>
                    <a:gd name="connsiteY16" fmla="*/ 1403986 h 1458754"/>
                    <a:gd name="connsiteX17" fmla="*/ 1042987 w 1557814"/>
                    <a:gd name="connsiteY17" fmla="*/ 1368266 h 1458754"/>
                    <a:gd name="connsiteX18" fmla="*/ 940594 w 1557814"/>
                    <a:gd name="connsiteY18" fmla="*/ 1339691 h 1458754"/>
                    <a:gd name="connsiteX19" fmla="*/ 892968 w 1557814"/>
                    <a:gd name="connsiteY19" fmla="*/ 1358741 h 1458754"/>
                    <a:gd name="connsiteX20" fmla="*/ 797719 w 1557814"/>
                    <a:gd name="connsiteY20" fmla="*/ 1294447 h 1458754"/>
                    <a:gd name="connsiteX21" fmla="*/ 804863 w 1557814"/>
                    <a:gd name="connsiteY21" fmla="*/ 1223010 h 1458754"/>
                    <a:gd name="connsiteX22" fmla="*/ 716756 w 1557814"/>
                    <a:gd name="connsiteY22" fmla="*/ 1180147 h 1458754"/>
                    <a:gd name="connsiteX23" fmla="*/ 583406 w 1557814"/>
                    <a:gd name="connsiteY23" fmla="*/ 1146810 h 1458754"/>
                    <a:gd name="connsiteX24" fmla="*/ 516731 w 1557814"/>
                    <a:gd name="connsiteY24" fmla="*/ 1182529 h 1458754"/>
                    <a:gd name="connsiteX25" fmla="*/ 463868 w 1557814"/>
                    <a:gd name="connsiteY25" fmla="*/ 1152049 h 1458754"/>
                    <a:gd name="connsiteX26" fmla="*/ 290513 w 1557814"/>
                    <a:gd name="connsiteY26" fmla="*/ 956310 h 1458754"/>
                    <a:gd name="connsiteX27" fmla="*/ 292893 w 1557814"/>
                    <a:gd name="connsiteY27" fmla="*/ 861060 h 1458754"/>
                    <a:gd name="connsiteX28" fmla="*/ 230981 w 1557814"/>
                    <a:gd name="connsiteY28" fmla="*/ 780097 h 1458754"/>
                    <a:gd name="connsiteX29" fmla="*/ 209550 w 1557814"/>
                    <a:gd name="connsiteY29" fmla="*/ 663417 h 1458754"/>
                    <a:gd name="connsiteX30" fmla="*/ 130969 w 1557814"/>
                    <a:gd name="connsiteY30" fmla="*/ 632461 h 1458754"/>
                    <a:gd name="connsiteX31" fmla="*/ 121444 w 1557814"/>
                    <a:gd name="connsiteY31" fmla="*/ 477679 h 1458754"/>
                    <a:gd name="connsiteX32" fmla="*/ 74772 w 1557814"/>
                    <a:gd name="connsiteY32" fmla="*/ 415290 h 1458754"/>
                    <a:gd name="connsiteX33" fmla="*/ 0 w 1557814"/>
                    <a:gd name="connsiteY33" fmla="*/ 210979 h 1458754"/>
                    <a:gd name="connsiteX34" fmla="*/ 3810 w 1557814"/>
                    <a:gd name="connsiteY34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207294 w 1557814"/>
                    <a:gd name="connsiteY13" fmla="*/ 1356360 h 1458754"/>
                    <a:gd name="connsiteX14" fmla="*/ 1152525 w 1557814"/>
                    <a:gd name="connsiteY14" fmla="*/ 1408748 h 1458754"/>
                    <a:gd name="connsiteX15" fmla="*/ 1170146 w 1557814"/>
                    <a:gd name="connsiteY15" fmla="*/ 1458754 h 1458754"/>
                    <a:gd name="connsiteX16" fmla="*/ 1064418 w 1557814"/>
                    <a:gd name="connsiteY16" fmla="*/ 1458754 h 1458754"/>
                    <a:gd name="connsiteX17" fmla="*/ 1014412 w 1557814"/>
                    <a:gd name="connsiteY17" fmla="*/ 1403986 h 1458754"/>
                    <a:gd name="connsiteX18" fmla="*/ 1042987 w 1557814"/>
                    <a:gd name="connsiteY18" fmla="*/ 1368266 h 1458754"/>
                    <a:gd name="connsiteX19" fmla="*/ 940594 w 1557814"/>
                    <a:gd name="connsiteY19" fmla="*/ 1339691 h 1458754"/>
                    <a:gd name="connsiteX20" fmla="*/ 892968 w 1557814"/>
                    <a:gd name="connsiteY20" fmla="*/ 1358741 h 1458754"/>
                    <a:gd name="connsiteX21" fmla="*/ 797719 w 1557814"/>
                    <a:gd name="connsiteY21" fmla="*/ 1294447 h 1458754"/>
                    <a:gd name="connsiteX22" fmla="*/ 804863 w 1557814"/>
                    <a:gd name="connsiteY22" fmla="*/ 1223010 h 1458754"/>
                    <a:gd name="connsiteX23" fmla="*/ 716756 w 1557814"/>
                    <a:gd name="connsiteY23" fmla="*/ 1180147 h 1458754"/>
                    <a:gd name="connsiteX24" fmla="*/ 583406 w 1557814"/>
                    <a:gd name="connsiteY24" fmla="*/ 1146810 h 1458754"/>
                    <a:gd name="connsiteX25" fmla="*/ 516731 w 1557814"/>
                    <a:gd name="connsiteY25" fmla="*/ 1182529 h 1458754"/>
                    <a:gd name="connsiteX26" fmla="*/ 463868 w 1557814"/>
                    <a:gd name="connsiteY26" fmla="*/ 1152049 h 1458754"/>
                    <a:gd name="connsiteX27" fmla="*/ 290513 w 1557814"/>
                    <a:gd name="connsiteY27" fmla="*/ 956310 h 1458754"/>
                    <a:gd name="connsiteX28" fmla="*/ 292893 w 1557814"/>
                    <a:gd name="connsiteY28" fmla="*/ 861060 h 1458754"/>
                    <a:gd name="connsiteX29" fmla="*/ 230981 w 1557814"/>
                    <a:gd name="connsiteY29" fmla="*/ 780097 h 1458754"/>
                    <a:gd name="connsiteX30" fmla="*/ 209550 w 1557814"/>
                    <a:gd name="connsiteY30" fmla="*/ 663417 h 1458754"/>
                    <a:gd name="connsiteX31" fmla="*/ 130969 w 1557814"/>
                    <a:gd name="connsiteY31" fmla="*/ 632461 h 1458754"/>
                    <a:gd name="connsiteX32" fmla="*/ 121444 w 1557814"/>
                    <a:gd name="connsiteY32" fmla="*/ 477679 h 1458754"/>
                    <a:gd name="connsiteX33" fmla="*/ 74772 w 1557814"/>
                    <a:gd name="connsiteY33" fmla="*/ 415290 h 1458754"/>
                    <a:gd name="connsiteX34" fmla="*/ 0 w 1557814"/>
                    <a:gd name="connsiteY34" fmla="*/ 210979 h 1458754"/>
                    <a:gd name="connsiteX35" fmla="*/ 3810 w 1557814"/>
                    <a:gd name="connsiteY35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183481 w 1557814"/>
                    <a:gd name="connsiteY13" fmla="*/ 1387316 h 1458754"/>
                    <a:gd name="connsiteX14" fmla="*/ 1152525 w 1557814"/>
                    <a:gd name="connsiteY14" fmla="*/ 1408748 h 1458754"/>
                    <a:gd name="connsiteX15" fmla="*/ 1170146 w 1557814"/>
                    <a:gd name="connsiteY15" fmla="*/ 1458754 h 1458754"/>
                    <a:gd name="connsiteX16" fmla="*/ 1064418 w 1557814"/>
                    <a:gd name="connsiteY16" fmla="*/ 1458754 h 1458754"/>
                    <a:gd name="connsiteX17" fmla="*/ 1014412 w 1557814"/>
                    <a:gd name="connsiteY17" fmla="*/ 1403986 h 1458754"/>
                    <a:gd name="connsiteX18" fmla="*/ 1042987 w 1557814"/>
                    <a:gd name="connsiteY18" fmla="*/ 1368266 h 1458754"/>
                    <a:gd name="connsiteX19" fmla="*/ 940594 w 1557814"/>
                    <a:gd name="connsiteY19" fmla="*/ 1339691 h 1458754"/>
                    <a:gd name="connsiteX20" fmla="*/ 892968 w 1557814"/>
                    <a:gd name="connsiteY20" fmla="*/ 1358741 h 1458754"/>
                    <a:gd name="connsiteX21" fmla="*/ 797719 w 1557814"/>
                    <a:gd name="connsiteY21" fmla="*/ 1294447 h 1458754"/>
                    <a:gd name="connsiteX22" fmla="*/ 804863 w 1557814"/>
                    <a:gd name="connsiteY22" fmla="*/ 1223010 h 1458754"/>
                    <a:gd name="connsiteX23" fmla="*/ 716756 w 1557814"/>
                    <a:gd name="connsiteY23" fmla="*/ 1180147 h 1458754"/>
                    <a:gd name="connsiteX24" fmla="*/ 583406 w 1557814"/>
                    <a:gd name="connsiteY24" fmla="*/ 1146810 h 1458754"/>
                    <a:gd name="connsiteX25" fmla="*/ 516731 w 1557814"/>
                    <a:gd name="connsiteY25" fmla="*/ 1182529 h 1458754"/>
                    <a:gd name="connsiteX26" fmla="*/ 463868 w 1557814"/>
                    <a:gd name="connsiteY26" fmla="*/ 1152049 h 1458754"/>
                    <a:gd name="connsiteX27" fmla="*/ 290513 w 1557814"/>
                    <a:gd name="connsiteY27" fmla="*/ 956310 h 1458754"/>
                    <a:gd name="connsiteX28" fmla="*/ 292893 w 1557814"/>
                    <a:gd name="connsiteY28" fmla="*/ 861060 h 1458754"/>
                    <a:gd name="connsiteX29" fmla="*/ 230981 w 1557814"/>
                    <a:gd name="connsiteY29" fmla="*/ 780097 h 1458754"/>
                    <a:gd name="connsiteX30" fmla="*/ 209550 w 1557814"/>
                    <a:gd name="connsiteY30" fmla="*/ 663417 h 1458754"/>
                    <a:gd name="connsiteX31" fmla="*/ 130969 w 1557814"/>
                    <a:gd name="connsiteY31" fmla="*/ 632461 h 1458754"/>
                    <a:gd name="connsiteX32" fmla="*/ 121444 w 1557814"/>
                    <a:gd name="connsiteY32" fmla="*/ 477679 h 1458754"/>
                    <a:gd name="connsiteX33" fmla="*/ 74772 w 1557814"/>
                    <a:gd name="connsiteY33" fmla="*/ 415290 h 1458754"/>
                    <a:gd name="connsiteX34" fmla="*/ 0 w 1557814"/>
                    <a:gd name="connsiteY34" fmla="*/ 210979 h 1458754"/>
                    <a:gd name="connsiteX35" fmla="*/ 3810 w 1557814"/>
                    <a:gd name="connsiteY35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245394 w 1557814"/>
                    <a:gd name="connsiteY13" fmla="*/ 1325404 h 1458754"/>
                    <a:gd name="connsiteX14" fmla="*/ 1183481 w 1557814"/>
                    <a:gd name="connsiteY14" fmla="*/ 1387316 h 1458754"/>
                    <a:gd name="connsiteX15" fmla="*/ 1152525 w 1557814"/>
                    <a:gd name="connsiteY15" fmla="*/ 1408748 h 1458754"/>
                    <a:gd name="connsiteX16" fmla="*/ 1170146 w 1557814"/>
                    <a:gd name="connsiteY16" fmla="*/ 1458754 h 1458754"/>
                    <a:gd name="connsiteX17" fmla="*/ 1064418 w 1557814"/>
                    <a:gd name="connsiteY17" fmla="*/ 1458754 h 1458754"/>
                    <a:gd name="connsiteX18" fmla="*/ 1014412 w 1557814"/>
                    <a:gd name="connsiteY18" fmla="*/ 1403986 h 1458754"/>
                    <a:gd name="connsiteX19" fmla="*/ 1042987 w 1557814"/>
                    <a:gd name="connsiteY19" fmla="*/ 1368266 h 1458754"/>
                    <a:gd name="connsiteX20" fmla="*/ 940594 w 1557814"/>
                    <a:gd name="connsiteY20" fmla="*/ 1339691 h 1458754"/>
                    <a:gd name="connsiteX21" fmla="*/ 892968 w 1557814"/>
                    <a:gd name="connsiteY21" fmla="*/ 1358741 h 1458754"/>
                    <a:gd name="connsiteX22" fmla="*/ 797719 w 1557814"/>
                    <a:gd name="connsiteY22" fmla="*/ 1294447 h 1458754"/>
                    <a:gd name="connsiteX23" fmla="*/ 804863 w 1557814"/>
                    <a:gd name="connsiteY23" fmla="*/ 1223010 h 1458754"/>
                    <a:gd name="connsiteX24" fmla="*/ 716756 w 1557814"/>
                    <a:gd name="connsiteY24" fmla="*/ 1180147 h 1458754"/>
                    <a:gd name="connsiteX25" fmla="*/ 583406 w 1557814"/>
                    <a:gd name="connsiteY25" fmla="*/ 1146810 h 1458754"/>
                    <a:gd name="connsiteX26" fmla="*/ 516731 w 1557814"/>
                    <a:gd name="connsiteY26" fmla="*/ 1182529 h 1458754"/>
                    <a:gd name="connsiteX27" fmla="*/ 463868 w 1557814"/>
                    <a:gd name="connsiteY27" fmla="*/ 1152049 h 1458754"/>
                    <a:gd name="connsiteX28" fmla="*/ 290513 w 1557814"/>
                    <a:gd name="connsiteY28" fmla="*/ 956310 h 1458754"/>
                    <a:gd name="connsiteX29" fmla="*/ 292893 w 1557814"/>
                    <a:gd name="connsiteY29" fmla="*/ 861060 h 1458754"/>
                    <a:gd name="connsiteX30" fmla="*/ 230981 w 1557814"/>
                    <a:gd name="connsiteY30" fmla="*/ 780097 h 1458754"/>
                    <a:gd name="connsiteX31" fmla="*/ 209550 w 1557814"/>
                    <a:gd name="connsiteY31" fmla="*/ 663417 h 1458754"/>
                    <a:gd name="connsiteX32" fmla="*/ 130969 w 1557814"/>
                    <a:gd name="connsiteY32" fmla="*/ 632461 h 1458754"/>
                    <a:gd name="connsiteX33" fmla="*/ 121444 w 1557814"/>
                    <a:gd name="connsiteY33" fmla="*/ 477679 h 1458754"/>
                    <a:gd name="connsiteX34" fmla="*/ 74772 w 1557814"/>
                    <a:gd name="connsiteY34" fmla="*/ 415290 h 1458754"/>
                    <a:gd name="connsiteX35" fmla="*/ 0 w 1557814"/>
                    <a:gd name="connsiteY35" fmla="*/ 210979 h 1458754"/>
                    <a:gd name="connsiteX36" fmla="*/ 3810 w 1557814"/>
                    <a:gd name="connsiteY36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119187 w 1557814"/>
                    <a:gd name="connsiteY13" fmla="*/ 1334929 h 1458754"/>
                    <a:gd name="connsiteX14" fmla="*/ 1183481 w 1557814"/>
                    <a:gd name="connsiteY14" fmla="*/ 1387316 h 1458754"/>
                    <a:gd name="connsiteX15" fmla="*/ 1152525 w 1557814"/>
                    <a:gd name="connsiteY15" fmla="*/ 1408748 h 1458754"/>
                    <a:gd name="connsiteX16" fmla="*/ 1170146 w 1557814"/>
                    <a:gd name="connsiteY16" fmla="*/ 1458754 h 1458754"/>
                    <a:gd name="connsiteX17" fmla="*/ 1064418 w 1557814"/>
                    <a:gd name="connsiteY17" fmla="*/ 1458754 h 1458754"/>
                    <a:gd name="connsiteX18" fmla="*/ 1014412 w 1557814"/>
                    <a:gd name="connsiteY18" fmla="*/ 1403986 h 1458754"/>
                    <a:gd name="connsiteX19" fmla="*/ 1042987 w 1557814"/>
                    <a:gd name="connsiteY19" fmla="*/ 1368266 h 1458754"/>
                    <a:gd name="connsiteX20" fmla="*/ 940594 w 1557814"/>
                    <a:gd name="connsiteY20" fmla="*/ 1339691 h 1458754"/>
                    <a:gd name="connsiteX21" fmla="*/ 892968 w 1557814"/>
                    <a:gd name="connsiteY21" fmla="*/ 1358741 h 1458754"/>
                    <a:gd name="connsiteX22" fmla="*/ 797719 w 1557814"/>
                    <a:gd name="connsiteY22" fmla="*/ 1294447 h 1458754"/>
                    <a:gd name="connsiteX23" fmla="*/ 804863 w 1557814"/>
                    <a:gd name="connsiteY23" fmla="*/ 1223010 h 1458754"/>
                    <a:gd name="connsiteX24" fmla="*/ 716756 w 1557814"/>
                    <a:gd name="connsiteY24" fmla="*/ 1180147 h 1458754"/>
                    <a:gd name="connsiteX25" fmla="*/ 583406 w 1557814"/>
                    <a:gd name="connsiteY25" fmla="*/ 1146810 h 1458754"/>
                    <a:gd name="connsiteX26" fmla="*/ 516731 w 1557814"/>
                    <a:gd name="connsiteY26" fmla="*/ 1182529 h 1458754"/>
                    <a:gd name="connsiteX27" fmla="*/ 463868 w 1557814"/>
                    <a:gd name="connsiteY27" fmla="*/ 1152049 h 1458754"/>
                    <a:gd name="connsiteX28" fmla="*/ 290513 w 1557814"/>
                    <a:gd name="connsiteY28" fmla="*/ 956310 h 1458754"/>
                    <a:gd name="connsiteX29" fmla="*/ 292893 w 1557814"/>
                    <a:gd name="connsiteY29" fmla="*/ 861060 h 1458754"/>
                    <a:gd name="connsiteX30" fmla="*/ 230981 w 1557814"/>
                    <a:gd name="connsiteY30" fmla="*/ 780097 h 1458754"/>
                    <a:gd name="connsiteX31" fmla="*/ 209550 w 1557814"/>
                    <a:gd name="connsiteY31" fmla="*/ 663417 h 1458754"/>
                    <a:gd name="connsiteX32" fmla="*/ 130969 w 1557814"/>
                    <a:gd name="connsiteY32" fmla="*/ 632461 h 1458754"/>
                    <a:gd name="connsiteX33" fmla="*/ 121444 w 1557814"/>
                    <a:gd name="connsiteY33" fmla="*/ 477679 h 1458754"/>
                    <a:gd name="connsiteX34" fmla="*/ 74772 w 1557814"/>
                    <a:gd name="connsiteY34" fmla="*/ 415290 h 1458754"/>
                    <a:gd name="connsiteX35" fmla="*/ 0 w 1557814"/>
                    <a:gd name="connsiteY35" fmla="*/ 210979 h 1458754"/>
                    <a:gd name="connsiteX36" fmla="*/ 3810 w 1557814"/>
                    <a:gd name="connsiteY36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195388 w 1557814"/>
                    <a:gd name="connsiteY13" fmla="*/ 1284923 h 1458754"/>
                    <a:gd name="connsiteX14" fmla="*/ 1119187 w 1557814"/>
                    <a:gd name="connsiteY14" fmla="*/ 1334929 h 1458754"/>
                    <a:gd name="connsiteX15" fmla="*/ 1183481 w 1557814"/>
                    <a:gd name="connsiteY15" fmla="*/ 1387316 h 1458754"/>
                    <a:gd name="connsiteX16" fmla="*/ 1152525 w 1557814"/>
                    <a:gd name="connsiteY16" fmla="*/ 1408748 h 1458754"/>
                    <a:gd name="connsiteX17" fmla="*/ 1170146 w 1557814"/>
                    <a:gd name="connsiteY17" fmla="*/ 1458754 h 1458754"/>
                    <a:gd name="connsiteX18" fmla="*/ 1064418 w 1557814"/>
                    <a:gd name="connsiteY18" fmla="*/ 1458754 h 1458754"/>
                    <a:gd name="connsiteX19" fmla="*/ 1014412 w 1557814"/>
                    <a:gd name="connsiteY19" fmla="*/ 1403986 h 1458754"/>
                    <a:gd name="connsiteX20" fmla="*/ 1042987 w 1557814"/>
                    <a:gd name="connsiteY20" fmla="*/ 1368266 h 1458754"/>
                    <a:gd name="connsiteX21" fmla="*/ 940594 w 1557814"/>
                    <a:gd name="connsiteY21" fmla="*/ 1339691 h 1458754"/>
                    <a:gd name="connsiteX22" fmla="*/ 892968 w 1557814"/>
                    <a:gd name="connsiteY22" fmla="*/ 1358741 h 1458754"/>
                    <a:gd name="connsiteX23" fmla="*/ 797719 w 1557814"/>
                    <a:gd name="connsiteY23" fmla="*/ 1294447 h 1458754"/>
                    <a:gd name="connsiteX24" fmla="*/ 804863 w 1557814"/>
                    <a:gd name="connsiteY24" fmla="*/ 1223010 h 1458754"/>
                    <a:gd name="connsiteX25" fmla="*/ 716756 w 1557814"/>
                    <a:gd name="connsiteY25" fmla="*/ 1180147 h 1458754"/>
                    <a:gd name="connsiteX26" fmla="*/ 583406 w 1557814"/>
                    <a:gd name="connsiteY26" fmla="*/ 1146810 h 1458754"/>
                    <a:gd name="connsiteX27" fmla="*/ 516731 w 1557814"/>
                    <a:gd name="connsiteY27" fmla="*/ 1182529 h 1458754"/>
                    <a:gd name="connsiteX28" fmla="*/ 463868 w 1557814"/>
                    <a:gd name="connsiteY28" fmla="*/ 1152049 h 1458754"/>
                    <a:gd name="connsiteX29" fmla="*/ 290513 w 1557814"/>
                    <a:gd name="connsiteY29" fmla="*/ 956310 h 1458754"/>
                    <a:gd name="connsiteX30" fmla="*/ 292893 w 1557814"/>
                    <a:gd name="connsiteY30" fmla="*/ 861060 h 1458754"/>
                    <a:gd name="connsiteX31" fmla="*/ 230981 w 1557814"/>
                    <a:gd name="connsiteY31" fmla="*/ 780097 h 1458754"/>
                    <a:gd name="connsiteX32" fmla="*/ 209550 w 1557814"/>
                    <a:gd name="connsiteY32" fmla="*/ 663417 h 1458754"/>
                    <a:gd name="connsiteX33" fmla="*/ 130969 w 1557814"/>
                    <a:gd name="connsiteY33" fmla="*/ 632461 h 1458754"/>
                    <a:gd name="connsiteX34" fmla="*/ 121444 w 1557814"/>
                    <a:gd name="connsiteY34" fmla="*/ 477679 h 1458754"/>
                    <a:gd name="connsiteX35" fmla="*/ 74772 w 1557814"/>
                    <a:gd name="connsiteY35" fmla="*/ 415290 h 1458754"/>
                    <a:gd name="connsiteX36" fmla="*/ 0 w 1557814"/>
                    <a:gd name="connsiteY36" fmla="*/ 210979 h 1458754"/>
                    <a:gd name="connsiteX37" fmla="*/ 3810 w 1557814"/>
                    <a:gd name="connsiteY37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126331 w 1557814"/>
                    <a:gd name="connsiteY13" fmla="*/ 1311116 h 1458754"/>
                    <a:gd name="connsiteX14" fmla="*/ 1119187 w 1557814"/>
                    <a:gd name="connsiteY14" fmla="*/ 1334929 h 1458754"/>
                    <a:gd name="connsiteX15" fmla="*/ 1183481 w 1557814"/>
                    <a:gd name="connsiteY15" fmla="*/ 1387316 h 1458754"/>
                    <a:gd name="connsiteX16" fmla="*/ 1152525 w 1557814"/>
                    <a:gd name="connsiteY16" fmla="*/ 1408748 h 1458754"/>
                    <a:gd name="connsiteX17" fmla="*/ 1170146 w 1557814"/>
                    <a:gd name="connsiteY17" fmla="*/ 1458754 h 1458754"/>
                    <a:gd name="connsiteX18" fmla="*/ 1064418 w 1557814"/>
                    <a:gd name="connsiteY18" fmla="*/ 1458754 h 1458754"/>
                    <a:gd name="connsiteX19" fmla="*/ 1014412 w 1557814"/>
                    <a:gd name="connsiteY19" fmla="*/ 1403986 h 1458754"/>
                    <a:gd name="connsiteX20" fmla="*/ 1042987 w 1557814"/>
                    <a:gd name="connsiteY20" fmla="*/ 1368266 h 1458754"/>
                    <a:gd name="connsiteX21" fmla="*/ 940594 w 1557814"/>
                    <a:gd name="connsiteY21" fmla="*/ 1339691 h 1458754"/>
                    <a:gd name="connsiteX22" fmla="*/ 892968 w 1557814"/>
                    <a:gd name="connsiteY22" fmla="*/ 1358741 h 1458754"/>
                    <a:gd name="connsiteX23" fmla="*/ 797719 w 1557814"/>
                    <a:gd name="connsiteY23" fmla="*/ 1294447 h 1458754"/>
                    <a:gd name="connsiteX24" fmla="*/ 804863 w 1557814"/>
                    <a:gd name="connsiteY24" fmla="*/ 1223010 h 1458754"/>
                    <a:gd name="connsiteX25" fmla="*/ 716756 w 1557814"/>
                    <a:gd name="connsiteY25" fmla="*/ 1180147 h 1458754"/>
                    <a:gd name="connsiteX26" fmla="*/ 583406 w 1557814"/>
                    <a:gd name="connsiteY26" fmla="*/ 1146810 h 1458754"/>
                    <a:gd name="connsiteX27" fmla="*/ 516731 w 1557814"/>
                    <a:gd name="connsiteY27" fmla="*/ 1182529 h 1458754"/>
                    <a:gd name="connsiteX28" fmla="*/ 463868 w 1557814"/>
                    <a:gd name="connsiteY28" fmla="*/ 1152049 h 1458754"/>
                    <a:gd name="connsiteX29" fmla="*/ 290513 w 1557814"/>
                    <a:gd name="connsiteY29" fmla="*/ 956310 h 1458754"/>
                    <a:gd name="connsiteX30" fmla="*/ 292893 w 1557814"/>
                    <a:gd name="connsiteY30" fmla="*/ 861060 h 1458754"/>
                    <a:gd name="connsiteX31" fmla="*/ 230981 w 1557814"/>
                    <a:gd name="connsiteY31" fmla="*/ 780097 h 1458754"/>
                    <a:gd name="connsiteX32" fmla="*/ 209550 w 1557814"/>
                    <a:gd name="connsiteY32" fmla="*/ 663417 h 1458754"/>
                    <a:gd name="connsiteX33" fmla="*/ 130969 w 1557814"/>
                    <a:gd name="connsiteY33" fmla="*/ 632461 h 1458754"/>
                    <a:gd name="connsiteX34" fmla="*/ 121444 w 1557814"/>
                    <a:gd name="connsiteY34" fmla="*/ 477679 h 1458754"/>
                    <a:gd name="connsiteX35" fmla="*/ 74772 w 1557814"/>
                    <a:gd name="connsiteY35" fmla="*/ 415290 h 1458754"/>
                    <a:gd name="connsiteX36" fmla="*/ 0 w 1557814"/>
                    <a:gd name="connsiteY36" fmla="*/ 210979 h 1458754"/>
                    <a:gd name="connsiteX37" fmla="*/ 3810 w 1557814"/>
                    <a:gd name="connsiteY37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254919 w 1557814"/>
                    <a:gd name="connsiteY13" fmla="*/ 1225391 h 1458754"/>
                    <a:gd name="connsiteX14" fmla="*/ 1126331 w 1557814"/>
                    <a:gd name="connsiteY14" fmla="*/ 1311116 h 1458754"/>
                    <a:gd name="connsiteX15" fmla="*/ 1119187 w 1557814"/>
                    <a:gd name="connsiteY15" fmla="*/ 1334929 h 1458754"/>
                    <a:gd name="connsiteX16" fmla="*/ 1183481 w 1557814"/>
                    <a:gd name="connsiteY16" fmla="*/ 1387316 h 1458754"/>
                    <a:gd name="connsiteX17" fmla="*/ 1152525 w 1557814"/>
                    <a:gd name="connsiteY17" fmla="*/ 1408748 h 1458754"/>
                    <a:gd name="connsiteX18" fmla="*/ 1170146 w 1557814"/>
                    <a:gd name="connsiteY18" fmla="*/ 1458754 h 1458754"/>
                    <a:gd name="connsiteX19" fmla="*/ 1064418 w 1557814"/>
                    <a:gd name="connsiteY19" fmla="*/ 1458754 h 1458754"/>
                    <a:gd name="connsiteX20" fmla="*/ 1014412 w 1557814"/>
                    <a:gd name="connsiteY20" fmla="*/ 1403986 h 1458754"/>
                    <a:gd name="connsiteX21" fmla="*/ 1042987 w 1557814"/>
                    <a:gd name="connsiteY21" fmla="*/ 1368266 h 1458754"/>
                    <a:gd name="connsiteX22" fmla="*/ 940594 w 1557814"/>
                    <a:gd name="connsiteY22" fmla="*/ 1339691 h 1458754"/>
                    <a:gd name="connsiteX23" fmla="*/ 892968 w 1557814"/>
                    <a:gd name="connsiteY23" fmla="*/ 1358741 h 1458754"/>
                    <a:gd name="connsiteX24" fmla="*/ 797719 w 1557814"/>
                    <a:gd name="connsiteY24" fmla="*/ 1294447 h 1458754"/>
                    <a:gd name="connsiteX25" fmla="*/ 804863 w 1557814"/>
                    <a:gd name="connsiteY25" fmla="*/ 1223010 h 1458754"/>
                    <a:gd name="connsiteX26" fmla="*/ 716756 w 1557814"/>
                    <a:gd name="connsiteY26" fmla="*/ 1180147 h 1458754"/>
                    <a:gd name="connsiteX27" fmla="*/ 583406 w 1557814"/>
                    <a:gd name="connsiteY27" fmla="*/ 1146810 h 1458754"/>
                    <a:gd name="connsiteX28" fmla="*/ 516731 w 1557814"/>
                    <a:gd name="connsiteY28" fmla="*/ 1182529 h 1458754"/>
                    <a:gd name="connsiteX29" fmla="*/ 463868 w 1557814"/>
                    <a:gd name="connsiteY29" fmla="*/ 1152049 h 1458754"/>
                    <a:gd name="connsiteX30" fmla="*/ 290513 w 1557814"/>
                    <a:gd name="connsiteY30" fmla="*/ 956310 h 1458754"/>
                    <a:gd name="connsiteX31" fmla="*/ 292893 w 1557814"/>
                    <a:gd name="connsiteY31" fmla="*/ 861060 h 1458754"/>
                    <a:gd name="connsiteX32" fmla="*/ 230981 w 1557814"/>
                    <a:gd name="connsiteY32" fmla="*/ 780097 h 1458754"/>
                    <a:gd name="connsiteX33" fmla="*/ 209550 w 1557814"/>
                    <a:gd name="connsiteY33" fmla="*/ 663417 h 1458754"/>
                    <a:gd name="connsiteX34" fmla="*/ 130969 w 1557814"/>
                    <a:gd name="connsiteY34" fmla="*/ 632461 h 1458754"/>
                    <a:gd name="connsiteX35" fmla="*/ 121444 w 1557814"/>
                    <a:gd name="connsiteY35" fmla="*/ 477679 h 1458754"/>
                    <a:gd name="connsiteX36" fmla="*/ 74772 w 1557814"/>
                    <a:gd name="connsiteY36" fmla="*/ 415290 h 1458754"/>
                    <a:gd name="connsiteX37" fmla="*/ 0 w 1557814"/>
                    <a:gd name="connsiteY37" fmla="*/ 210979 h 1458754"/>
                    <a:gd name="connsiteX38" fmla="*/ 3810 w 1557814"/>
                    <a:gd name="connsiteY38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069182 w 1557814"/>
                    <a:gd name="connsiteY13" fmla="*/ 1277779 h 1458754"/>
                    <a:gd name="connsiteX14" fmla="*/ 1126331 w 1557814"/>
                    <a:gd name="connsiteY14" fmla="*/ 1311116 h 1458754"/>
                    <a:gd name="connsiteX15" fmla="*/ 1119187 w 1557814"/>
                    <a:gd name="connsiteY15" fmla="*/ 1334929 h 1458754"/>
                    <a:gd name="connsiteX16" fmla="*/ 1183481 w 1557814"/>
                    <a:gd name="connsiteY16" fmla="*/ 1387316 h 1458754"/>
                    <a:gd name="connsiteX17" fmla="*/ 1152525 w 1557814"/>
                    <a:gd name="connsiteY17" fmla="*/ 1408748 h 1458754"/>
                    <a:gd name="connsiteX18" fmla="*/ 1170146 w 1557814"/>
                    <a:gd name="connsiteY18" fmla="*/ 1458754 h 1458754"/>
                    <a:gd name="connsiteX19" fmla="*/ 1064418 w 1557814"/>
                    <a:gd name="connsiteY19" fmla="*/ 1458754 h 1458754"/>
                    <a:gd name="connsiteX20" fmla="*/ 1014412 w 1557814"/>
                    <a:gd name="connsiteY20" fmla="*/ 1403986 h 1458754"/>
                    <a:gd name="connsiteX21" fmla="*/ 1042987 w 1557814"/>
                    <a:gd name="connsiteY21" fmla="*/ 1368266 h 1458754"/>
                    <a:gd name="connsiteX22" fmla="*/ 940594 w 1557814"/>
                    <a:gd name="connsiteY22" fmla="*/ 1339691 h 1458754"/>
                    <a:gd name="connsiteX23" fmla="*/ 892968 w 1557814"/>
                    <a:gd name="connsiteY23" fmla="*/ 1358741 h 1458754"/>
                    <a:gd name="connsiteX24" fmla="*/ 797719 w 1557814"/>
                    <a:gd name="connsiteY24" fmla="*/ 1294447 h 1458754"/>
                    <a:gd name="connsiteX25" fmla="*/ 804863 w 1557814"/>
                    <a:gd name="connsiteY25" fmla="*/ 1223010 h 1458754"/>
                    <a:gd name="connsiteX26" fmla="*/ 716756 w 1557814"/>
                    <a:gd name="connsiteY26" fmla="*/ 1180147 h 1458754"/>
                    <a:gd name="connsiteX27" fmla="*/ 583406 w 1557814"/>
                    <a:gd name="connsiteY27" fmla="*/ 1146810 h 1458754"/>
                    <a:gd name="connsiteX28" fmla="*/ 516731 w 1557814"/>
                    <a:gd name="connsiteY28" fmla="*/ 1182529 h 1458754"/>
                    <a:gd name="connsiteX29" fmla="*/ 463868 w 1557814"/>
                    <a:gd name="connsiteY29" fmla="*/ 1152049 h 1458754"/>
                    <a:gd name="connsiteX30" fmla="*/ 290513 w 1557814"/>
                    <a:gd name="connsiteY30" fmla="*/ 956310 h 1458754"/>
                    <a:gd name="connsiteX31" fmla="*/ 292893 w 1557814"/>
                    <a:gd name="connsiteY31" fmla="*/ 861060 h 1458754"/>
                    <a:gd name="connsiteX32" fmla="*/ 230981 w 1557814"/>
                    <a:gd name="connsiteY32" fmla="*/ 780097 h 1458754"/>
                    <a:gd name="connsiteX33" fmla="*/ 209550 w 1557814"/>
                    <a:gd name="connsiteY33" fmla="*/ 663417 h 1458754"/>
                    <a:gd name="connsiteX34" fmla="*/ 130969 w 1557814"/>
                    <a:gd name="connsiteY34" fmla="*/ 632461 h 1458754"/>
                    <a:gd name="connsiteX35" fmla="*/ 121444 w 1557814"/>
                    <a:gd name="connsiteY35" fmla="*/ 477679 h 1458754"/>
                    <a:gd name="connsiteX36" fmla="*/ 74772 w 1557814"/>
                    <a:gd name="connsiteY36" fmla="*/ 415290 h 1458754"/>
                    <a:gd name="connsiteX37" fmla="*/ 0 w 1557814"/>
                    <a:gd name="connsiteY37" fmla="*/ 210979 h 1458754"/>
                    <a:gd name="connsiteX38" fmla="*/ 3810 w 1557814"/>
                    <a:gd name="connsiteY38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295400 w 1557814"/>
                    <a:gd name="connsiteY13" fmla="*/ 1170623 h 1458754"/>
                    <a:gd name="connsiteX14" fmla="*/ 1069182 w 1557814"/>
                    <a:gd name="connsiteY14" fmla="*/ 1277779 h 1458754"/>
                    <a:gd name="connsiteX15" fmla="*/ 1126331 w 1557814"/>
                    <a:gd name="connsiteY15" fmla="*/ 1311116 h 1458754"/>
                    <a:gd name="connsiteX16" fmla="*/ 1119187 w 1557814"/>
                    <a:gd name="connsiteY16" fmla="*/ 1334929 h 1458754"/>
                    <a:gd name="connsiteX17" fmla="*/ 1183481 w 1557814"/>
                    <a:gd name="connsiteY17" fmla="*/ 1387316 h 1458754"/>
                    <a:gd name="connsiteX18" fmla="*/ 1152525 w 1557814"/>
                    <a:gd name="connsiteY18" fmla="*/ 1408748 h 1458754"/>
                    <a:gd name="connsiteX19" fmla="*/ 1170146 w 1557814"/>
                    <a:gd name="connsiteY19" fmla="*/ 1458754 h 1458754"/>
                    <a:gd name="connsiteX20" fmla="*/ 1064418 w 1557814"/>
                    <a:gd name="connsiteY20" fmla="*/ 1458754 h 1458754"/>
                    <a:gd name="connsiteX21" fmla="*/ 1014412 w 1557814"/>
                    <a:gd name="connsiteY21" fmla="*/ 1403986 h 1458754"/>
                    <a:gd name="connsiteX22" fmla="*/ 1042987 w 1557814"/>
                    <a:gd name="connsiteY22" fmla="*/ 1368266 h 1458754"/>
                    <a:gd name="connsiteX23" fmla="*/ 940594 w 1557814"/>
                    <a:gd name="connsiteY23" fmla="*/ 1339691 h 1458754"/>
                    <a:gd name="connsiteX24" fmla="*/ 892968 w 1557814"/>
                    <a:gd name="connsiteY24" fmla="*/ 1358741 h 1458754"/>
                    <a:gd name="connsiteX25" fmla="*/ 797719 w 1557814"/>
                    <a:gd name="connsiteY25" fmla="*/ 1294447 h 1458754"/>
                    <a:gd name="connsiteX26" fmla="*/ 804863 w 1557814"/>
                    <a:gd name="connsiteY26" fmla="*/ 1223010 h 1458754"/>
                    <a:gd name="connsiteX27" fmla="*/ 716756 w 1557814"/>
                    <a:gd name="connsiteY27" fmla="*/ 1180147 h 1458754"/>
                    <a:gd name="connsiteX28" fmla="*/ 583406 w 1557814"/>
                    <a:gd name="connsiteY28" fmla="*/ 1146810 h 1458754"/>
                    <a:gd name="connsiteX29" fmla="*/ 516731 w 1557814"/>
                    <a:gd name="connsiteY29" fmla="*/ 1182529 h 1458754"/>
                    <a:gd name="connsiteX30" fmla="*/ 463868 w 1557814"/>
                    <a:gd name="connsiteY30" fmla="*/ 1152049 h 1458754"/>
                    <a:gd name="connsiteX31" fmla="*/ 290513 w 1557814"/>
                    <a:gd name="connsiteY31" fmla="*/ 956310 h 1458754"/>
                    <a:gd name="connsiteX32" fmla="*/ 292893 w 1557814"/>
                    <a:gd name="connsiteY32" fmla="*/ 861060 h 1458754"/>
                    <a:gd name="connsiteX33" fmla="*/ 230981 w 1557814"/>
                    <a:gd name="connsiteY33" fmla="*/ 780097 h 1458754"/>
                    <a:gd name="connsiteX34" fmla="*/ 209550 w 1557814"/>
                    <a:gd name="connsiteY34" fmla="*/ 663417 h 1458754"/>
                    <a:gd name="connsiteX35" fmla="*/ 130969 w 1557814"/>
                    <a:gd name="connsiteY35" fmla="*/ 632461 h 1458754"/>
                    <a:gd name="connsiteX36" fmla="*/ 121444 w 1557814"/>
                    <a:gd name="connsiteY36" fmla="*/ 477679 h 1458754"/>
                    <a:gd name="connsiteX37" fmla="*/ 74772 w 1557814"/>
                    <a:gd name="connsiteY37" fmla="*/ 415290 h 1458754"/>
                    <a:gd name="connsiteX38" fmla="*/ 0 w 1557814"/>
                    <a:gd name="connsiteY38" fmla="*/ 210979 h 1458754"/>
                    <a:gd name="connsiteX39" fmla="*/ 3810 w 1557814"/>
                    <a:gd name="connsiteY39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069182 w 1557814"/>
                    <a:gd name="connsiteY14" fmla="*/ 1277779 h 1458754"/>
                    <a:gd name="connsiteX15" fmla="*/ 1126331 w 1557814"/>
                    <a:gd name="connsiteY15" fmla="*/ 1311116 h 1458754"/>
                    <a:gd name="connsiteX16" fmla="*/ 1119187 w 1557814"/>
                    <a:gd name="connsiteY16" fmla="*/ 1334929 h 1458754"/>
                    <a:gd name="connsiteX17" fmla="*/ 1183481 w 1557814"/>
                    <a:gd name="connsiteY17" fmla="*/ 1387316 h 1458754"/>
                    <a:gd name="connsiteX18" fmla="*/ 1152525 w 1557814"/>
                    <a:gd name="connsiteY18" fmla="*/ 1408748 h 1458754"/>
                    <a:gd name="connsiteX19" fmla="*/ 1170146 w 1557814"/>
                    <a:gd name="connsiteY19" fmla="*/ 1458754 h 1458754"/>
                    <a:gd name="connsiteX20" fmla="*/ 1064418 w 1557814"/>
                    <a:gd name="connsiteY20" fmla="*/ 1458754 h 1458754"/>
                    <a:gd name="connsiteX21" fmla="*/ 1014412 w 1557814"/>
                    <a:gd name="connsiteY21" fmla="*/ 1403986 h 1458754"/>
                    <a:gd name="connsiteX22" fmla="*/ 1042987 w 1557814"/>
                    <a:gd name="connsiteY22" fmla="*/ 1368266 h 1458754"/>
                    <a:gd name="connsiteX23" fmla="*/ 940594 w 1557814"/>
                    <a:gd name="connsiteY23" fmla="*/ 1339691 h 1458754"/>
                    <a:gd name="connsiteX24" fmla="*/ 892968 w 1557814"/>
                    <a:gd name="connsiteY24" fmla="*/ 1358741 h 1458754"/>
                    <a:gd name="connsiteX25" fmla="*/ 797719 w 1557814"/>
                    <a:gd name="connsiteY25" fmla="*/ 1294447 h 1458754"/>
                    <a:gd name="connsiteX26" fmla="*/ 804863 w 1557814"/>
                    <a:gd name="connsiteY26" fmla="*/ 1223010 h 1458754"/>
                    <a:gd name="connsiteX27" fmla="*/ 716756 w 1557814"/>
                    <a:gd name="connsiteY27" fmla="*/ 1180147 h 1458754"/>
                    <a:gd name="connsiteX28" fmla="*/ 583406 w 1557814"/>
                    <a:gd name="connsiteY28" fmla="*/ 1146810 h 1458754"/>
                    <a:gd name="connsiteX29" fmla="*/ 516731 w 1557814"/>
                    <a:gd name="connsiteY29" fmla="*/ 1182529 h 1458754"/>
                    <a:gd name="connsiteX30" fmla="*/ 463868 w 1557814"/>
                    <a:gd name="connsiteY30" fmla="*/ 1152049 h 1458754"/>
                    <a:gd name="connsiteX31" fmla="*/ 290513 w 1557814"/>
                    <a:gd name="connsiteY31" fmla="*/ 956310 h 1458754"/>
                    <a:gd name="connsiteX32" fmla="*/ 292893 w 1557814"/>
                    <a:gd name="connsiteY32" fmla="*/ 861060 h 1458754"/>
                    <a:gd name="connsiteX33" fmla="*/ 230981 w 1557814"/>
                    <a:gd name="connsiteY33" fmla="*/ 780097 h 1458754"/>
                    <a:gd name="connsiteX34" fmla="*/ 209550 w 1557814"/>
                    <a:gd name="connsiteY34" fmla="*/ 663417 h 1458754"/>
                    <a:gd name="connsiteX35" fmla="*/ 130969 w 1557814"/>
                    <a:gd name="connsiteY35" fmla="*/ 632461 h 1458754"/>
                    <a:gd name="connsiteX36" fmla="*/ 121444 w 1557814"/>
                    <a:gd name="connsiteY36" fmla="*/ 477679 h 1458754"/>
                    <a:gd name="connsiteX37" fmla="*/ 74772 w 1557814"/>
                    <a:gd name="connsiteY37" fmla="*/ 415290 h 1458754"/>
                    <a:gd name="connsiteX38" fmla="*/ 0 w 1557814"/>
                    <a:gd name="connsiteY38" fmla="*/ 210979 h 1458754"/>
                    <a:gd name="connsiteX39" fmla="*/ 3810 w 1557814"/>
                    <a:gd name="connsiteY39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335881 w 1557814"/>
                    <a:gd name="connsiteY14" fmla="*/ 1039654 h 1458754"/>
                    <a:gd name="connsiteX15" fmla="*/ 1069182 w 1557814"/>
                    <a:gd name="connsiteY15" fmla="*/ 1277779 h 1458754"/>
                    <a:gd name="connsiteX16" fmla="*/ 1126331 w 1557814"/>
                    <a:gd name="connsiteY16" fmla="*/ 1311116 h 1458754"/>
                    <a:gd name="connsiteX17" fmla="*/ 1119187 w 1557814"/>
                    <a:gd name="connsiteY17" fmla="*/ 1334929 h 1458754"/>
                    <a:gd name="connsiteX18" fmla="*/ 1183481 w 1557814"/>
                    <a:gd name="connsiteY18" fmla="*/ 1387316 h 1458754"/>
                    <a:gd name="connsiteX19" fmla="*/ 1152525 w 1557814"/>
                    <a:gd name="connsiteY19" fmla="*/ 1408748 h 1458754"/>
                    <a:gd name="connsiteX20" fmla="*/ 1170146 w 1557814"/>
                    <a:gd name="connsiteY20" fmla="*/ 1458754 h 1458754"/>
                    <a:gd name="connsiteX21" fmla="*/ 1064418 w 1557814"/>
                    <a:gd name="connsiteY21" fmla="*/ 1458754 h 1458754"/>
                    <a:gd name="connsiteX22" fmla="*/ 1014412 w 1557814"/>
                    <a:gd name="connsiteY22" fmla="*/ 1403986 h 1458754"/>
                    <a:gd name="connsiteX23" fmla="*/ 1042987 w 1557814"/>
                    <a:gd name="connsiteY23" fmla="*/ 1368266 h 1458754"/>
                    <a:gd name="connsiteX24" fmla="*/ 940594 w 1557814"/>
                    <a:gd name="connsiteY24" fmla="*/ 1339691 h 1458754"/>
                    <a:gd name="connsiteX25" fmla="*/ 892968 w 1557814"/>
                    <a:gd name="connsiteY25" fmla="*/ 1358741 h 1458754"/>
                    <a:gd name="connsiteX26" fmla="*/ 797719 w 1557814"/>
                    <a:gd name="connsiteY26" fmla="*/ 1294447 h 1458754"/>
                    <a:gd name="connsiteX27" fmla="*/ 804863 w 1557814"/>
                    <a:gd name="connsiteY27" fmla="*/ 1223010 h 1458754"/>
                    <a:gd name="connsiteX28" fmla="*/ 716756 w 1557814"/>
                    <a:gd name="connsiteY28" fmla="*/ 1180147 h 1458754"/>
                    <a:gd name="connsiteX29" fmla="*/ 583406 w 1557814"/>
                    <a:gd name="connsiteY29" fmla="*/ 1146810 h 1458754"/>
                    <a:gd name="connsiteX30" fmla="*/ 516731 w 1557814"/>
                    <a:gd name="connsiteY30" fmla="*/ 1182529 h 1458754"/>
                    <a:gd name="connsiteX31" fmla="*/ 463868 w 1557814"/>
                    <a:gd name="connsiteY31" fmla="*/ 1152049 h 1458754"/>
                    <a:gd name="connsiteX32" fmla="*/ 290513 w 1557814"/>
                    <a:gd name="connsiteY32" fmla="*/ 956310 h 1458754"/>
                    <a:gd name="connsiteX33" fmla="*/ 292893 w 1557814"/>
                    <a:gd name="connsiteY33" fmla="*/ 861060 h 1458754"/>
                    <a:gd name="connsiteX34" fmla="*/ 230981 w 1557814"/>
                    <a:gd name="connsiteY34" fmla="*/ 780097 h 1458754"/>
                    <a:gd name="connsiteX35" fmla="*/ 209550 w 1557814"/>
                    <a:gd name="connsiteY35" fmla="*/ 663417 h 1458754"/>
                    <a:gd name="connsiteX36" fmla="*/ 130969 w 1557814"/>
                    <a:gd name="connsiteY36" fmla="*/ 632461 h 1458754"/>
                    <a:gd name="connsiteX37" fmla="*/ 121444 w 1557814"/>
                    <a:gd name="connsiteY37" fmla="*/ 477679 h 1458754"/>
                    <a:gd name="connsiteX38" fmla="*/ 74772 w 1557814"/>
                    <a:gd name="connsiteY38" fmla="*/ 415290 h 1458754"/>
                    <a:gd name="connsiteX39" fmla="*/ 0 w 1557814"/>
                    <a:gd name="connsiteY39" fmla="*/ 210979 h 1458754"/>
                    <a:gd name="connsiteX40" fmla="*/ 3810 w 1557814"/>
                    <a:gd name="connsiteY40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069182 w 1557814"/>
                    <a:gd name="connsiteY15" fmla="*/ 1277779 h 1458754"/>
                    <a:gd name="connsiteX16" fmla="*/ 1126331 w 1557814"/>
                    <a:gd name="connsiteY16" fmla="*/ 1311116 h 1458754"/>
                    <a:gd name="connsiteX17" fmla="*/ 1119187 w 1557814"/>
                    <a:gd name="connsiteY17" fmla="*/ 1334929 h 1458754"/>
                    <a:gd name="connsiteX18" fmla="*/ 1183481 w 1557814"/>
                    <a:gd name="connsiteY18" fmla="*/ 1387316 h 1458754"/>
                    <a:gd name="connsiteX19" fmla="*/ 1152525 w 1557814"/>
                    <a:gd name="connsiteY19" fmla="*/ 1408748 h 1458754"/>
                    <a:gd name="connsiteX20" fmla="*/ 1170146 w 1557814"/>
                    <a:gd name="connsiteY20" fmla="*/ 1458754 h 1458754"/>
                    <a:gd name="connsiteX21" fmla="*/ 1064418 w 1557814"/>
                    <a:gd name="connsiteY21" fmla="*/ 1458754 h 1458754"/>
                    <a:gd name="connsiteX22" fmla="*/ 1014412 w 1557814"/>
                    <a:gd name="connsiteY22" fmla="*/ 1403986 h 1458754"/>
                    <a:gd name="connsiteX23" fmla="*/ 1042987 w 1557814"/>
                    <a:gd name="connsiteY23" fmla="*/ 1368266 h 1458754"/>
                    <a:gd name="connsiteX24" fmla="*/ 940594 w 1557814"/>
                    <a:gd name="connsiteY24" fmla="*/ 1339691 h 1458754"/>
                    <a:gd name="connsiteX25" fmla="*/ 892968 w 1557814"/>
                    <a:gd name="connsiteY25" fmla="*/ 1358741 h 1458754"/>
                    <a:gd name="connsiteX26" fmla="*/ 797719 w 1557814"/>
                    <a:gd name="connsiteY26" fmla="*/ 1294447 h 1458754"/>
                    <a:gd name="connsiteX27" fmla="*/ 804863 w 1557814"/>
                    <a:gd name="connsiteY27" fmla="*/ 1223010 h 1458754"/>
                    <a:gd name="connsiteX28" fmla="*/ 716756 w 1557814"/>
                    <a:gd name="connsiteY28" fmla="*/ 1180147 h 1458754"/>
                    <a:gd name="connsiteX29" fmla="*/ 583406 w 1557814"/>
                    <a:gd name="connsiteY29" fmla="*/ 1146810 h 1458754"/>
                    <a:gd name="connsiteX30" fmla="*/ 516731 w 1557814"/>
                    <a:gd name="connsiteY30" fmla="*/ 1182529 h 1458754"/>
                    <a:gd name="connsiteX31" fmla="*/ 463868 w 1557814"/>
                    <a:gd name="connsiteY31" fmla="*/ 1152049 h 1458754"/>
                    <a:gd name="connsiteX32" fmla="*/ 290513 w 1557814"/>
                    <a:gd name="connsiteY32" fmla="*/ 956310 h 1458754"/>
                    <a:gd name="connsiteX33" fmla="*/ 292893 w 1557814"/>
                    <a:gd name="connsiteY33" fmla="*/ 861060 h 1458754"/>
                    <a:gd name="connsiteX34" fmla="*/ 230981 w 1557814"/>
                    <a:gd name="connsiteY34" fmla="*/ 780097 h 1458754"/>
                    <a:gd name="connsiteX35" fmla="*/ 209550 w 1557814"/>
                    <a:gd name="connsiteY35" fmla="*/ 663417 h 1458754"/>
                    <a:gd name="connsiteX36" fmla="*/ 130969 w 1557814"/>
                    <a:gd name="connsiteY36" fmla="*/ 632461 h 1458754"/>
                    <a:gd name="connsiteX37" fmla="*/ 121444 w 1557814"/>
                    <a:gd name="connsiteY37" fmla="*/ 477679 h 1458754"/>
                    <a:gd name="connsiteX38" fmla="*/ 74772 w 1557814"/>
                    <a:gd name="connsiteY38" fmla="*/ 415290 h 1458754"/>
                    <a:gd name="connsiteX39" fmla="*/ 0 w 1557814"/>
                    <a:gd name="connsiteY39" fmla="*/ 210979 h 1458754"/>
                    <a:gd name="connsiteX40" fmla="*/ 3810 w 1557814"/>
                    <a:gd name="connsiteY40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57313 w 1557814"/>
                    <a:gd name="connsiteY15" fmla="*/ 982504 h 1458754"/>
                    <a:gd name="connsiteX16" fmla="*/ 1069182 w 1557814"/>
                    <a:gd name="connsiteY16" fmla="*/ 1277779 h 1458754"/>
                    <a:gd name="connsiteX17" fmla="*/ 1126331 w 1557814"/>
                    <a:gd name="connsiteY17" fmla="*/ 1311116 h 1458754"/>
                    <a:gd name="connsiteX18" fmla="*/ 1119187 w 1557814"/>
                    <a:gd name="connsiteY18" fmla="*/ 1334929 h 1458754"/>
                    <a:gd name="connsiteX19" fmla="*/ 1183481 w 1557814"/>
                    <a:gd name="connsiteY19" fmla="*/ 1387316 h 1458754"/>
                    <a:gd name="connsiteX20" fmla="*/ 1152525 w 1557814"/>
                    <a:gd name="connsiteY20" fmla="*/ 1408748 h 1458754"/>
                    <a:gd name="connsiteX21" fmla="*/ 1170146 w 1557814"/>
                    <a:gd name="connsiteY21" fmla="*/ 1458754 h 1458754"/>
                    <a:gd name="connsiteX22" fmla="*/ 1064418 w 1557814"/>
                    <a:gd name="connsiteY22" fmla="*/ 1458754 h 1458754"/>
                    <a:gd name="connsiteX23" fmla="*/ 1014412 w 1557814"/>
                    <a:gd name="connsiteY23" fmla="*/ 1403986 h 1458754"/>
                    <a:gd name="connsiteX24" fmla="*/ 1042987 w 1557814"/>
                    <a:gd name="connsiteY24" fmla="*/ 1368266 h 1458754"/>
                    <a:gd name="connsiteX25" fmla="*/ 940594 w 1557814"/>
                    <a:gd name="connsiteY25" fmla="*/ 1339691 h 1458754"/>
                    <a:gd name="connsiteX26" fmla="*/ 892968 w 1557814"/>
                    <a:gd name="connsiteY26" fmla="*/ 1358741 h 1458754"/>
                    <a:gd name="connsiteX27" fmla="*/ 797719 w 1557814"/>
                    <a:gd name="connsiteY27" fmla="*/ 1294447 h 1458754"/>
                    <a:gd name="connsiteX28" fmla="*/ 804863 w 1557814"/>
                    <a:gd name="connsiteY28" fmla="*/ 1223010 h 1458754"/>
                    <a:gd name="connsiteX29" fmla="*/ 716756 w 1557814"/>
                    <a:gd name="connsiteY29" fmla="*/ 1180147 h 1458754"/>
                    <a:gd name="connsiteX30" fmla="*/ 583406 w 1557814"/>
                    <a:gd name="connsiteY30" fmla="*/ 1146810 h 1458754"/>
                    <a:gd name="connsiteX31" fmla="*/ 516731 w 1557814"/>
                    <a:gd name="connsiteY31" fmla="*/ 1182529 h 1458754"/>
                    <a:gd name="connsiteX32" fmla="*/ 463868 w 1557814"/>
                    <a:gd name="connsiteY32" fmla="*/ 1152049 h 1458754"/>
                    <a:gd name="connsiteX33" fmla="*/ 290513 w 1557814"/>
                    <a:gd name="connsiteY33" fmla="*/ 956310 h 1458754"/>
                    <a:gd name="connsiteX34" fmla="*/ 292893 w 1557814"/>
                    <a:gd name="connsiteY34" fmla="*/ 861060 h 1458754"/>
                    <a:gd name="connsiteX35" fmla="*/ 230981 w 1557814"/>
                    <a:gd name="connsiteY35" fmla="*/ 780097 h 1458754"/>
                    <a:gd name="connsiteX36" fmla="*/ 209550 w 1557814"/>
                    <a:gd name="connsiteY36" fmla="*/ 663417 h 1458754"/>
                    <a:gd name="connsiteX37" fmla="*/ 130969 w 1557814"/>
                    <a:gd name="connsiteY37" fmla="*/ 632461 h 1458754"/>
                    <a:gd name="connsiteX38" fmla="*/ 121444 w 1557814"/>
                    <a:gd name="connsiteY38" fmla="*/ 477679 h 1458754"/>
                    <a:gd name="connsiteX39" fmla="*/ 74772 w 1557814"/>
                    <a:gd name="connsiteY39" fmla="*/ 415290 h 1458754"/>
                    <a:gd name="connsiteX40" fmla="*/ 0 w 1557814"/>
                    <a:gd name="connsiteY40" fmla="*/ 210979 h 1458754"/>
                    <a:gd name="connsiteX41" fmla="*/ 3810 w 1557814"/>
                    <a:gd name="connsiteY41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069182 w 1557814"/>
                    <a:gd name="connsiteY16" fmla="*/ 1277779 h 1458754"/>
                    <a:gd name="connsiteX17" fmla="*/ 1126331 w 1557814"/>
                    <a:gd name="connsiteY17" fmla="*/ 1311116 h 1458754"/>
                    <a:gd name="connsiteX18" fmla="*/ 1119187 w 1557814"/>
                    <a:gd name="connsiteY18" fmla="*/ 1334929 h 1458754"/>
                    <a:gd name="connsiteX19" fmla="*/ 1183481 w 1557814"/>
                    <a:gd name="connsiteY19" fmla="*/ 1387316 h 1458754"/>
                    <a:gd name="connsiteX20" fmla="*/ 1152525 w 1557814"/>
                    <a:gd name="connsiteY20" fmla="*/ 1408748 h 1458754"/>
                    <a:gd name="connsiteX21" fmla="*/ 1170146 w 1557814"/>
                    <a:gd name="connsiteY21" fmla="*/ 1458754 h 1458754"/>
                    <a:gd name="connsiteX22" fmla="*/ 1064418 w 1557814"/>
                    <a:gd name="connsiteY22" fmla="*/ 1458754 h 1458754"/>
                    <a:gd name="connsiteX23" fmla="*/ 1014412 w 1557814"/>
                    <a:gd name="connsiteY23" fmla="*/ 1403986 h 1458754"/>
                    <a:gd name="connsiteX24" fmla="*/ 1042987 w 1557814"/>
                    <a:gd name="connsiteY24" fmla="*/ 1368266 h 1458754"/>
                    <a:gd name="connsiteX25" fmla="*/ 940594 w 1557814"/>
                    <a:gd name="connsiteY25" fmla="*/ 1339691 h 1458754"/>
                    <a:gd name="connsiteX26" fmla="*/ 892968 w 1557814"/>
                    <a:gd name="connsiteY26" fmla="*/ 1358741 h 1458754"/>
                    <a:gd name="connsiteX27" fmla="*/ 797719 w 1557814"/>
                    <a:gd name="connsiteY27" fmla="*/ 1294447 h 1458754"/>
                    <a:gd name="connsiteX28" fmla="*/ 804863 w 1557814"/>
                    <a:gd name="connsiteY28" fmla="*/ 1223010 h 1458754"/>
                    <a:gd name="connsiteX29" fmla="*/ 716756 w 1557814"/>
                    <a:gd name="connsiteY29" fmla="*/ 1180147 h 1458754"/>
                    <a:gd name="connsiteX30" fmla="*/ 583406 w 1557814"/>
                    <a:gd name="connsiteY30" fmla="*/ 1146810 h 1458754"/>
                    <a:gd name="connsiteX31" fmla="*/ 516731 w 1557814"/>
                    <a:gd name="connsiteY31" fmla="*/ 1182529 h 1458754"/>
                    <a:gd name="connsiteX32" fmla="*/ 463868 w 1557814"/>
                    <a:gd name="connsiteY32" fmla="*/ 1152049 h 1458754"/>
                    <a:gd name="connsiteX33" fmla="*/ 290513 w 1557814"/>
                    <a:gd name="connsiteY33" fmla="*/ 956310 h 1458754"/>
                    <a:gd name="connsiteX34" fmla="*/ 292893 w 1557814"/>
                    <a:gd name="connsiteY34" fmla="*/ 861060 h 1458754"/>
                    <a:gd name="connsiteX35" fmla="*/ 230981 w 1557814"/>
                    <a:gd name="connsiteY35" fmla="*/ 780097 h 1458754"/>
                    <a:gd name="connsiteX36" fmla="*/ 209550 w 1557814"/>
                    <a:gd name="connsiteY36" fmla="*/ 663417 h 1458754"/>
                    <a:gd name="connsiteX37" fmla="*/ 130969 w 1557814"/>
                    <a:gd name="connsiteY37" fmla="*/ 632461 h 1458754"/>
                    <a:gd name="connsiteX38" fmla="*/ 121444 w 1557814"/>
                    <a:gd name="connsiteY38" fmla="*/ 477679 h 1458754"/>
                    <a:gd name="connsiteX39" fmla="*/ 74772 w 1557814"/>
                    <a:gd name="connsiteY39" fmla="*/ 415290 h 1458754"/>
                    <a:gd name="connsiteX40" fmla="*/ 0 w 1557814"/>
                    <a:gd name="connsiteY40" fmla="*/ 210979 h 1458754"/>
                    <a:gd name="connsiteX41" fmla="*/ 3810 w 1557814"/>
                    <a:gd name="connsiteY41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240631 w 1557814"/>
                    <a:gd name="connsiteY16" fmla="*/ 1070610 h 1458754"/>
                    <a:gd name="connsiteX17" fmla="*/ 1069182 w 1557814"/>
                    <a:gd name="connsiteY17" fmla="*/ 1277779 h 1458754"/>
                    <a:gd name="connsiteX18" fmla="*/ 1126331 w 1557814"/>
                    <a:gd name="connsiteY18" fmla="*/ 1311116 h 1458754"/>
                    <a:gd name="connsiteX19" fmla="*/ 1119187 w 1557814"/>
                    <a:gd name="connsiteY19" fmla="*/ 1334929 h 1458754"/>
                    <a:gd name="connsiteX20" fmla="*/ 1183481 w 1557814"/>
                    <a:gd name="connsiteY20" fmla="*/ 1387316 h 1458754"/>
                    <a:gd name="connsiteX21" fmla="*/ 1152525 w 1557814"/>
                    <a:gd name="connsiteY21" fmla="*/ 1408748 h 1458754"/>
                    <a:gd name="connsiteX22" fmla="*/ 1170146 w 1557814"/>
                    <a:gd name="connsiteY22" fmla="*/ 1458754 h 1458754"/>
                    <a:gd name="connsiteX23" fmla="*/ 1064418 w 1557814"/>
                    <a:gd name="connsiteY23" fmla="*/ 1458754 h 1458754"/>
                    <a:gd name="connsiteX24" fmla="*/ 1014412 w 1557814"/>
                    <a:gd name="connsiteY24" fmla="*/ 1403986 h 1458754"/>
                    <a:gd name="connsiteX25" fmla="*/ 1042987 w 1557814"/>
                    <a:gd name="connsiteY25" fmla="*/ 1368266 h 1458754"/>
                    <a:gd name="connsiteX26" fmla="*/ 940594 w 1557814"/>
                    <a:gd name="connsiteY26" fmla="*/ 1339691 h 1458754"/>
                    <a:gd name="connsiteX27" fmla="*/ 892968 w 1557814"/>
                    <a:gd name="connsiteY27" fmla="*/ 1358741 h 1458754"/>
                    <a:gd name="connsiteX28" fmla="*/ 797719 w 1557814"/>
                    <a:gd name="connsiteY28" fmla="*/ 1294447 h 1458754"/>
                    <a:gd name="connsiteX29" fmla="*/ 804863 w 1557814"/>
                    <a:gd name="connsiteY29" fmla="*/ 1223010 h 1458754"/>
                    <a:gd name="connsiteX30" fmla="*/ 716756 w 1557814"/>
                    <a:gd name="connsiteY30" fmla="*/ 1180147 h 1458754"/>
                    <a:gd name="connsiteX31" fmla="*/ 583406 w 1557814"/>
                    <a:gd name="connsiteY31" fmla="*/ 1146810 h 1458754"/>
                    <a:gd name="connsiteX32" fmla="*/ 516731 w 1557814"/>
                    <a:gd name="connsiteY32" fmla="*/ 1182529 h 1458754"/>
                    <a:gd name="connsiteX33" fmla="*/ 463868 w 1557814"/>
                    <a:gd name="connsiteY33" fmla="*/ 1152049 h 1458754"/>
                    <a:gd name="connsiteX34" fmla="*/ 290513 w 1557814"/>
                    <a:gd name="connsiteY34" fmla="*/ 956310 h 1458754"/>
                    <a:gd name="connsiteX35" fmla="*/ 292893 w 1557814"/>
                    <a:gd name="connsiteY35" fmla="*/ 861060 h 1458754"/>
                    <a:gd name="connsiteX36" fmla="*/ 230981 w 1557814"/>
                    <a:gd name="connsiteY36" fmla="*/ 780097 h 1458754"/>
                    <a:gd name="connsiteX37" fmla="*/ 209550 w 1557814"/>
                    <a:gd name="connsiteY37" fmla="*/ 663417 h 1458754"/>
                    <a:gd name="connsiteX38" fmla="*/ 130969 w 1557814"/>
                    <a:gd name="connsiteY38" fmla="*/ 632461 h 1458754"/>
                    <a:gd name="connsiteX39" fmla="*/ 121444 w 1557814"/>
                    <a:gd name="connsiteY39" fmla="*/ 477679 h 1458754"/>
                    <a:gd name="connsiteX40" fmla="*/ 74772 w 1557814"/>
                    <a:gd name="connsiteY40" fmla="*/ 415290 h 1458754"/>
                    <a:gd name="connsiteX41" fmla="*/ 0 w 1557814"/>
                    <a:gd name="connsiteY41" fmla="*/ 210979 h 1458754"/>
                    <a:gd name="connsiteX42" fmla="*/ 3810 w 1557814"/>
                    <a:gd name="connsiteY42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195388 w 1557814"/>
                    <a:gd name="connsiteY16" fmla="*/ 1201579 h 1458754"/>
                    <a:gd name="connsiteX17" fmla="*/ 1069182 w 1557814"/>
                    <a:gd name="connsiteY17" fmla="*/ 1277779 h 1458754"/>
                    <a:gd name="connsiteX18" fmla="*/ 1126331 w 1557814"/>
                    <a:gd name="connsiteY18" fmla="*/ 1311116 h 1458754"/>
                    <a:gd name="connsiteX19" fmla="*/ 1119187 w 1557814"/>
                    <a:gd name="connsiteY19" fmla="*/ 1334929 h 1458754"/>
                    <a:gd name="connsiteX20" fmla="*/ 1183481 w 1557814"/>
                    <a:gd name="connsiteY20" fmla="*/ 1387316 h 1458754"/>
                    <a:gd name="connsiteX21" fmla="*/ 1152525 w 1557814"/>
                    <a:gd name="connsiteY21" fmla="*/ 1408748 h 1458754"/>
                    <a:gd name="connsiteX22" fmla="*/ 1170146 w 1557814"/>
                    <a:gd name="connsiteY22" fmla="*/ 1458754 h 1458754"/>
                    <a:gd name="connsiteX23" fmla="*/ 1064418 w 1557814"/>
                    <a:gd name="connsiteY23" fmla="*/ 1458754 h 1458754"/>
                    <a:gd name="connsiteX24" fmla="*/ 1014412 w 1557814"/>
                    <a:gd name="connsiteY24" fmla="*/ 1403986 h 1458754"/>
                    <a:gd name="connsiteX25" fmla="*/ 1042987 w 1557814"/>
                    <a:gd name="connsiteY25" fmla="*/ 1368266 h 1458754"/>
                    <a:gd name="connsiteX26" fmla="*/ 940594 w 1557814"/>
                    <a:gd name="connsiteY26" fmla="*/ 1339691 h 1458754"/>
                    <a:gd name="connsiteX27" fmla="*/ 892968 w 1557814"/>
                    <a:gd name="connsiteY27" fmla="*/ 1358741 h 1458754"/>
                    <a:gd name="connsiteX28" fmla="*/ 797719 w 1557814"/>
                    <a:gd name="connsiteY28" fmla="*/ 1294447 h 1458754"/>
                    <a:gd name="connsiteX29" fmla="*/ 804863 w 1557814"/>
                    <a:gd name="connsiteY29" fmla="*/ 1223010 h 1458754"/>
                    <a:gd name="connsiteX30" fmla="*/ 716756 w 1557814"/>
                    <a:gd name="connsiteY30" fmla="*/ 1180147 h 1458754"/>
                    <a:gd name="connsiteX31" fmla="*/ 583406 w 1557814"/>
                    <a:gd name="connsiteY31" fmla="*/ 1146810 h 1458754"/>
                    <a:gd name="connsiteX32" fmla="*/ 516731 w 1557814"/>
                    <a:gd name="connsiteY32" fmla="*/ 1182529 h 1458754"/>
                    <a:gd name="connsiteX33" fmla="*/ 463868 w 1557814"/>
                    <a:gd name="connsiteY33" fmla="*/ 1152049 h 1458754"/>
                    <a:gd name="connsiteX34" fmla="*/ 290513 w 1557814"/>
                    <a:gd name="connsiteY34" fmla="*/ 956310 h 1458754"/>
                    <a:gd name="connsiteX35" fmla="*/ 292893 w 1557814"/>
                    <a:gd name="connsiteY35" fmla="*/ 861060 h 1458754"/>
                    <a:gd name="connsiteX36" fmla="*/ 230981 w 1557814"/>
                    <a:gd name="connsiteY36" fmla="*/ 780097 h 1458754"/>
                    <a:gd name="connsiteX37" fmla="*/ 209550 w 1557814"/>
                    <a:gd name="connsiteY37" fmla="*/ 663417 h 1458754"/>
                    <a:gd name="connsiteX38" fmla="*/ 130969 w 1557814"/>
                    <a:gd name="connsiteY38" fmla="*/ 632461 h 1458754"/>
                    <a:gd name="connsiteX39" fmla="*/ 121444 w 1557814"/>
                    <a:gd name="connsiteY39" fmla="*/ 477679 h 1458754"/>
                    <a:gd name="connsiteX40" fmla="*/ 74772 w 1557814"/>
                    <a:gd name="connsiteY40" fmla="*/ 415290 h 1458754"/>
                    <a:gd name="connsiteX41" fmla="*/ 0 w 1557814"/>
                    <a:gd name="connsiteY41" fmla="*/ 210979 h 1458754"/>
                    <a:gd name="connsiteX42" fmla="*/ 3810 w 1557814"/>
                    <a:gd name="connsiteY42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285875 w 1557814"/>
                    <a:gd name="connsiteY16" fmla="*/ 1056323 h 1458754"/>
                    <a:gd name="connsiteX17" fmla="*/ 1195388 w 1557814"/>
                    <a:gd name="connsiteY17" fmla="*/ 1201579 h 1458754"/>
                    <a:gd name="connsiteX18" fmla="*/ 1069182 w 1557814"/>
                    <a:gd name="connsiteY18" fmla="*/ 1277779 h 1458754"/>
                    <a:gd name="connsiteX19" fmla="*/ 1126331 w 1557814"/>
                    <a:gd name="connsiteY19" fmla="*/ 1311116 h 1458754"/>
                    <a:gd name="connsiteX20" fmla="*/ 1119187 w 1557814"/>
                    <a:gd name="connsiteY20" fmla="*/ 1334929 h 1458754"/>
                    <a:gd name="connsiteX21" fmla="*/ 1183481 w 1557814"/>
                    <a:gd name="connsiteY21" fmla="*/ 1387316 h 1458754"/>
                    <a:gd name="connsiteX22" fmla="*/ 1152525 w 1557814"/>
                    <a:gd name="connsiteY22" fmla="*/ 1408748 h 1458754"/>
                    <a:gd name="connsiteX23" fmla="*/ 1170146 w 1557814"/>
                    <a:gd name="connsiteY23" fmla="*/ 1458754 h 1458754"/>
                    <a:gd name="connsiteX24" fmla="*/ 1064418 w 1557814"/>
                    <a:gd name="connsiteY24" fmla="*/ 1458754 h 1458754"/>
                    <a:gd name="connsiteX25" fmla="*/ 1014412 w 1557814"/>
                    <a:gd name="connsiteY25" fmla="*/ 1403986 h 1458754"/>
                    <a:gd name="connsiteX26" fmla="*/ 1042987 w 1557814"/>
                    <a:gd name="connsiteY26" fmla="*/ 1368266 h 1458754"/>
                    <a:gd name="connsiteX27" fmla="*/ 940594 w 1557814"/>
                    <a:gd name="connsiteY27" fmla="*/ 1339691 h 1458754"/>
                    <a:gd name="connsiteX28" fmla="*/ 892968 w 1557814"/>
                    <a:gd name="connsiteY28" fmla="*/ 1358741 h 1458754"/>
                    <a:gd name="connsiteX29" fmla="*/ 797719 w 1557814"/>
                    <a:gd name="connsiteY29" fmla="*/ 1294447 h 1458754"/>
                    <a:gd name="connsiteX30" fmla="*/ 804863 w 1557814"/>
                    <a:gd name="connsiteY30" fmla="*/ 1223010 h 1458754"/>
                    <a:gd name="connsiteX31" fmla="*/ 716756 w 1557814"/>
                    <a:gd name="connsiteY31" fmla="*/ 1180147 h 1458754"/>
                    <a:gd name="connsiteX32" fmla="*/ 583406 w 1557814"/>
                    <a:gd name="connsiteY32" fmla="*/ 1146810 h 1458754"/>
                    <a:gd name="connsiteX33" fmla="*/ 516731 w 1557814"/>
                    <a:gd name="connsiteY33" fmla="*/ 1182529 h 1458754"/>
                    <a:gd name="connsiteX34" fmla="*/ 463868 w 1557814"/>
                    <a:gd name="connsiteY34" fmla="*/ 1152049 h 1458754"/>
                    <a:gd name="connsiteX35" fmla="*/ 290513 w 1557814"/>
                    <a:gd name="connsiteY35" fmla="*/ 956310 h 1458754"/>
                    <a:gd name="connsiteX36" fmla="*/ 292893 w 1557814"/>
                    <a:gd name="connsiteY36" fmla="*/ 861060 h 1458754"/>
                    <a:gd name="connsiteX37" fmla="*/ 230981 w 1557814"/>
                    <a:gd name="connsiteY37" fmla="*/ 780097 h 1458754"/>
                    <a:gd name="connsiteX38" fmla="*/ 209550 w 1557814"/>
                    <a:gd name="connsiteY38" fmla="*/ 663417 h 1458754"/>
                    <a:gd name="connsiteX39" fmla="*/ 130969 w 1557814"/>
                    <a:gd name="connsiteY39" fmla="*/ 632461 h 1458754"/>
                    <a:gd name="connsiteX40" fmla="*/ 121444 w 1557814"/>
                    <a:gd name="connsiteY40" fmla="*/ 477679 h 1458754"/>
                    <a:gd name="connsiteX41" fmla="*/ 74772 w 1557814"/>
                    <a:gd name="connsiteY41" fmla="*/ 415290 h 1458754"/>
                    <a:gd name="connsiteX42" fmla="*/ 0 w 1557814"/>
                    <a:gd name="connsiteY42" fmla="*/ 210979 h 1458754"/>
                    <a:gd name="connsiteX43" fmla="*/ 3810 w 1557814"/>
                    <a:gd name="connsiteY43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247775 w 1557814"/>
                    <a:gd name="connsiteY16" fmla="*/ 987267 h 1458754"/>
                    <a:gd name="connsiteX17" fmla="*/ 1195388 w 1557814"/>
                    <a:gd name="connsiteY17" fmla="*/ 1201579 h 1458754"/>
                    <a:gd name="connsiteX18" fmla="*/ 1069182 w 1557814"/>
                    <a:gd name="connsiteY18" fmla="*/ 1277779 h 1458754"/>
                    <a:gd name="connsiteX19" fmla="*/ 1126331 w 1557814"/>
                    <a:gd name="connsiteY19" fmla="*/ 1311116 h 1458754"/>
                    <a:gd name="connsiteX20" fmla="*/ 1119187 w 1557814"/>
                    <a:gd name="connsiteY20" fmla="*/ 1334929 h 1458754"/>
                    <a:gd name="connsiteX21" fmla="*/ 1183481 w 1557814"/>
                    <a:gd name="connsiteY21" fmla="*/ 1387316 h 1458754"/>
                    <a:gd name="connsiteX22" fmla="*/ 1152525 w 1557814"/>
                    <a:gd name="connsiteY22" fmla="*/ 1408748 h 1458754"/>
                    <a:gd name="connsiteX23" fmla="*/ 1170146 w 1557814"/>
                    <a:gd name="connsiteY23" fmla="*/ 1458754 h 1458754"/>
                    <a:gd name="connsiteX24" fmla="*/ 1064418 w 1557814"/>
                    <a:gd name="connsiteY24" fmla="*/ 1458754 h 1458754"/>
                    <a:gd name="connsiteX25" fmla="*/ 1014412 w 1557814"/>
                    <a:gd name="connsiteY25" fmla="*/ 1403986 h 1458754"/>
                    <a:gd name="connsiteX26" fmla="*/ 1042987 w 1557814"/>
                    <a:gd name="connsiteY26" fmla="*/ 1368266 h 1458754"/>
                    <a:gd name="connsiteX27" fmla="*/ 940594 w 1557814"/>
                    <a:gd name="connsiteY27" fmla="*/ 1339691 h 1458754"/>
                    <a:gd name="connsiteX28" fmla="*/ 892968 w 1557814"/>
                    <a:gd name="connsiteY28" fmla="*/ 1358741 h 1458754"/>
                    <a:gd name="connsiteX29" fmla="*/ 797719 w 1557814"/>
                    <a:gd name="connsiteY29" fmla="*/ 1294447 h 1458754"/>
                    <a:gd name="connsiteX30" fmla="*/ 804863 w 1557814"/>
                    <a:gd name="connsiteY30" fmla="*/ 1223010 h 1458754"/>
                    <a:gd name="connsiteX31" fmla="*/ 716756 w 1557814"/>
                    <a:gd name="connsiteY31" fmla="*/ 1180147 h 1458754"/>
                    <a:gd name="connsiteX32" fmla="*/ 583406 w 1557814"/>
                    <a:gd name="connsiteY32" fmla="*/ 1146810 h 1458754"/>
                    <a:gd name="connsiteX33" fmla="*/ 516731 w 1557814"/>
                    <a:gd name="connsiteY33" fmla="*/ 1182529 h 1458754"/>
                    <a:gd name="connsiteX34" fmla="*/ 463868 w 1557814"/>
                    <a:gd name="connsiteY34" fmla="*/ 1152049 h 1458754"/>
                    <a:gd name="connsiteX35" fmla="*/ 290513 w 1557814"/>
                    <a:gd name="connsiteY35" fmla="*/ 956310 h 1458754"/>
                    <a:gd name="connsiteX36" fmla="*/ 292893 w 1557814"/>
                    <a:gd name="connsiteY36" fmla="*/ 861060 h 1458754"/>
                    <a:gd name="connsiteX37" fmla="*/ 230981 w 1557814"/>
                    <a:gd name="connsiteY37" fmla="*/ 780097 h 1458754"/>
                    <a:gd name="connsiteX38" fmla="*/ 209550 w 1557814"/>
                    <a:gd name="connsiteY38" fmla="*/ 663417 h 1458754"/>
                    <a:gd name="connsiteX39" fmla="*/ 130969 w 1557814"/>
                    <a:gd name="connsiteY39" fmla="*/ 632461 h 1458754"/>
                    <a:gd name="connsiteX40" fmla="*/ 121444 w 1557814"/>
                    <a:gd name="connsiteY40" fmla="*/ 477679 h 1458754"/>
                    <a:gd name="connsiteX41" fmla="*/ 74772 w 1557814"/>
                    <a:gd name="connsiteY41" fmla="*/ 415290 h 1458754"/>
                    <a:gd name="connsiteX42" fmla="*/ 0 w 1557814"/>
                    <a:gd name="connsiteY42" fmla="*/ 210979 h 1458754"/>
                    <a:gd name="connsiteX43" fmla="*/ 3810 w 1557814"/>
                    <a:gd name="connsiteY43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247775 w 1557814"/>
                    <a:gd name="connsiteY16" fmla="*/ 987267 h 1458754"/>
                    <a:gd name="connsiteX17" fmla="*/ 1216819 w 1557814"/>
                    <a:gd name="connsiteY17" fmla="*/ 1101566 h 1458754"/>
                    <a:gd name="connsiteX18" fmla="*/ 1195388 w 1557814"/>
                    <a:gd name="connsiteY18" fmla="*/ 1201579 h 1458754"/>
                    <a:gd name="connsiteX19" fmla="*/ 1069182 w 1557814"/>
                    <a:gd name="connsiteY19" fmla="*/ 1277779 h 1458754"/>
                    <a:gd name="connsiteX20" fmla="*/ 1126331 w 1557814"/>
                    <a:gd name="connsiteY20" fmla="*/ 1311116 h 1458754"/>
                    <a:gd name="connsiteX21" fmla="*/ 1119187 w 1557814"/>
                    <a:gd name="connsiteY21" fmla="*/ 1334929 h 1458754"/>
                    <a:gd name="connsiteX22" fmla="*/ 1183481 w 1557814"/>
                    <a:gd name="connsiteY22" fmla="*/ 1387316 h 1458754"/>
                    <a:gd name="connsiteX23" fmla="*/ 1152525 w 1557814"/>
                    <a:gd name="connsiteY23" fmla="*/ 1408748 h 1458754"/>
                    <a:gd name="connsiteX24" fmla="*/ 1170146 w 1557814"/>
                    <a:gd name="connsiteY24" fmla="*/ 1458754 h 1458754"/>
                    <a:gd name="connsiteX25" fmla="*/ 1064418 w 1557814"/>
                    <a:gd name="connsiteY25" fmla="*/ 1458754 h 1458754"/>
                    <a:gd name="connsiteX26" fmla="*/ 1014412 w 1557814"/>
                    <a:gd name="connsiteY26" fmla="*/ 1403986 h 1458754"/>
                    <a:gd name="connsiteX27" fmla="*/ 1042987 w 1557814"/>
                    <a:gd name="connsiteY27" fmla="*/ 1368266 h 1458754"/>
                    <a:gd name="connsiteX28" fmla="*/ 940594 w 1557814"/>
                    <a:gd name="connsiteY28" fmla="*/ 1339691 h 1458754"/>
                    <a:gd name="connsiteX29" fmla="*/ 892968 w 1557814"/>
                    <a:gd name="connsiteY29" fmla="*/ 1358741 h 1458754"/>
                    <a:gd name="connsiteX30" fmla="*/ 797719 w 1557814"/>
                    <a:gd name="connsiteY30" fmla="*/ 1294447 h 1458754"/>
                    <a:gd name="connsiteX31" fmla="*/ 804863 w 1557814"/>
                    <a:gd name="connsiteY31" fmla="*/ 1223010 h 1458754"/>
                    <a:gd name="connsiteX32" fmla="*/ 716756 w 1557814"/>
                    <a:gd name="connsiteY32" fmla="*/ 1180147 h 1458754"/>
                    <a:gd name="connsiteX33" fmla="*/ 583406 w 1557814"/>
                    <a:gd name="connsiteY33" fmla="*/ 1146810 h 1458754"/>
                    <a:gd name="connsiteX34" fmla="*/ 516731 w 1557814"/>
                    <a:gd name="connsiteY34" fmla="*/ 1182529 h 1458754"/>
                    <a:gd name="connsiteX35" fmla="*/ 463868 w 1557814"/>
                    <a:gd name="connsiteY35" fmla="*/ 1152049 h 1458754"/>
                    <a:gd name="connsiteX36" fmla="*/ 290513 w 1557814"/>
                    <a:gd name="connsiteY36" fmla="*/ 956310 h 1458754"/>
                    <a:gd name="connsiteX37" fmla="*/ 292893 w 1557814"/>
                    <a:gd name="connsiteY37" fmla="*/ 861060 h 1458754"/>
                    <a:gd name="connsiteX38" fmla="*/ 230981 w 1557814"/>
                    <a:gd name="connsiteY38" fmla="*/ 780097 h 1458754"/>
                    <a:gd name="connsiteX39" fmla="*/ 209550 w 1557814"/>
                    <a:gd name="connsiteY39" fmla="*/ 663417 h 1458754"/>
                    <a:gd name="connsiteX40" fmla="*/ 130969 w 1557814"/>
                    <a:gd name="connsiteY40" fmla="*/ 632461 h 1458754"/>
                    <a:gd name="connsiteX41" fmla="*/ 121444 w 1557814"/>
                    <a:gd name="connsiteY41" fmla="*/ 477679 h 1458754"/>
                    <a:gd name="connsiteX42" fmla="*/ 74772 w 1557814"/>
                    <a:gd name="connsiteY42" fmla="*/ 415290 h 1458754"/>
                    <a:gd name="connsiteX43" fmla="*/ 0 w 1557814"/>
                    <a:gd name="connsiteY43" fmla="*/ 210979 h 1458754"/>
                    <a:gd name="connsiteX44" fmla="*/ 3810 w 1557814"/>
                    <a:gd name="connsiteY44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247775 w 1557814"/>
                    <a:gd name="connsiteY16" fmla="*/ 987267 h 1458754"/>
                    <a:gd name="connsiteX17" fmla="*/ 1266826 w 1557814"/>
                    <a:gd name="connsiteY17" fmla="*/ 1120616 h 1458754"/>
                    <a:gd name="connsiteX18" fmla="*/ 1195388 w 1557814"/>
                    <a:gd name="connsiteY18" fmla="*/ 1201579 h 1458754"/>
                    <a:gd name="connsiteX19" fmla="*/ 1069182 w 1557814"/>
                    <a:gd name="connsiteY19" fmla="*/ 1277779 h 1458754"/>
                    <a:gd name="connsiteX20" fmla="*/ 1126331 w 1557814"/>
                    <a:gd name="connsiteY20" fmla="*/ 1311116 h 1458754"/>
                    <a:gd name="connsiteX21" fmla="*/ 1119187 w 1557814"/>
                    <a:gd name="connsiteY21" fmla="*/ 1334929 h 1458754"/>
                    <a:gd name="connsiteX22" fmla="*/ 1183481 w 1557814"/>
                    <a:gd name="connsiteY22" fmla="*/ 1387316 h 1458754"/>
                    <a:gd name="connsiteX23" fmla="*/ 1152525 w 1557814"/>
                    <a:gd name="connsiteY23" fmla="*/ 1408748 h 1458754"/>
                    <a:gd name="connsiteX24" fmla="*/ 1170146 w 1557814"/>
                    <a:gd name="connsiteY24" fmla="*/ 1458754 h 1458754"/>
                    <a:gd name="connsiteX25" fmla="*/ 1064418 w 1557814"/>
                    <a:gd name="connsiteY25" fmla="*/ 1458754 h 1458754"/>
                    <a:gd name="connsiteX26" fmla="*/ 1014412 w 1557814"/>
                    <a:gd name="connsiteY26" fmla="*/ 1403986 h 1458754"/>
                    <a:gd name="connsiteX27" fmla="*/ 1042987 w 1557814"/>
                    <a:gd name="connsiteY27" fmla="*/ 1368266 h 1458754"/>
                    <a:gd name="connsiteX28" fmla="*/ 940594 w 1557814"/>
                    <a:gd name="connsiteY28" fmla="*/ 1339691 h 1458754"/>
                    <a:gd name="connsiteX29" fmla="*/ 892968 w 1557814"/>
                    <a:gd name="connsiteY29" fmla="*/ 1358741 h 1458754"/>
                    <a:gd name="connsiteX30" fmla="*/ 797719 w 1557814"/>
                    <a:gd name="connsiteY30" fmla="*/ 1294447 h 1458754"/>
                    <a:gd name="connsiteX31" fmla="*/ 804863 w 1557814"/>
                    <a:gd name="connsiteY31" fmla="*/ 1223010 h 1458754"/>
                    <a:gd name="connsiteX32" fmla="*/ 716756 w 1557814"/>
                    <a:gd name="connsiteY32" fmla="*/ 1180147 h 1458754"/>
                    <a:gd name="connsiteX33" fmla="*/ 583406 w 1557814"/>
                    <a:gd name="connsiteY33" fmla="*/ 1146810 h 1458754"/>
                    <a:gd name="connsiteX34" fmla="*/ 516731 w 1557814"/>
                    <a:gd name="connsiteY34" fmla="*/ 1182529 h 1458754"/>
                    <a:gd name="connsiteX35" fmla="*/ 463868 w 1557814"/>
                    <a:gd name="connsiteY35" fmla="*/ 1152049 h 1458754"/>
                    <a:gd name="connsiteX36" fmla="*/ 290513 w 1557814"/>
                    <a:gd name="connsiteY36" fmla="*/ 956310 h 1458754"/>
                    <a:gd name="connsiteX37" fmla="*/ 292893 w 1557814"/>
                    <a:gd name="connsiteY37" fmla="*/ 861060 h 1458754"/>
                    <a:gd name="connsiteX38" fmla="*/ 230981 w 1557814"/>
                    <a:gd name="connsiteY38" fmla="*/ 780097 h 1458754"/>
                    <a:gd name="connsiteX39" fmla="*/ 209550 w 1557814"/>
                    <a:gd name="connsiteY39" fmla="*/ 663417 h 1458754"/>
                    <a:gd name="connsiteX40" fmla="*/ 130969 w 1557814"/>
                    <a:gd name="connsiteY40" fmla="*/ 632461 h 1458754"/>
                    <a:gd name="connsiteX41" fmla="*/ 121444 w 1557814"/>
                    <a:gd name="connsiteY41" fmla="*/ 477679 h 1458754"/>
                    <a:gd name="connsiteX42" fmla="*/ 74772 w 1557814"/>
                    <a:gd name="connsiteY42" fmla="*/ 415290 h 1458754"/>
                    <a:gd name="connsiteX43" fmla="*/ 0 w 1557814"/>
                    <a:gd name="connsiteY43" fmla="*/ 210979 h 1458754"/>
                    <a:gd name="connsiteX44" fmla="*/ 3810 w 1557814"/>
                    <a:gd name="connsiteY44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314450 w 1557814"/>
                    <a:gd name="connsiteY16" fmla="*/ 946785 h 1458754"/>
                    <a:gd name="connsiteX17" fmla="*/ 1247775 w 1557814"/>
                    <a:gd name="connsiteY17" fmla="*/ 987267 h 1458754"/>
                    <a:gd name="connsiteX18" fmla="*/ 1266826 w 1557814"/>
                    <a:gd name="connsiteY18" fmla="*/ 1120616 h 1458754"/>
                    <a:gd name="connsiteX19" fmla="*/ 1195388 w 1557814"/>
                    <a:gd name="connsiteY19" fmla="*/ 1201579 h 1458754"/>
                    <a:gd name="connsiteX20" fmla="*/ 1069182 w 1557814"/>
                    <a:gd name="connsiteY20" fmla="*/ 1277779 h 1458754"/>
                    <a:gd name="connsiteX21" fmla="*/ 1126331 w 1557814"/>
                    <a:gd name="connsiteY21" fmla="*/ 1311116 h 1458754"/>
                    <a:gd name="connsiteX22" fmla="*/ 1119187 w 1557814"/>
                    <a:gd name="connsiteY22" fmla="*/ 1334929 h 1458754"/>
                    <a:gd name="connsiteX23" fmla="*/ 1183481 w 1557814"/>
                    <a:gd name="connsiteY23" fmla="*/ 1387316 h 1458754"/>
                    <a:gd name="connsiteX24" fmla="*/ 1152525 w 1557814"/>
                    <a:gd name="connsiteY24" fmla="*/ 1408748 h 1458754"/>
                    <a:gd name="connsiteX25" fmla="*/ 1170146 w 1557814"/>
                    <a:gd name="connsiteY25" fmla="*/ 1458754 h 1458754"/>
                    <a:gd name="connsiteX26" fmla="*/ 1064418 w 1557814"/>
                    <a:gd name="connsiteY26" fmla="*/ 1458754 h 1458754"/>
                    <a:gd name="connsiteX27" fmla="*/ 1014412 w 1557814"/>
                    <a:gd name="connsiteY27" fmla="*/ 1403986 h 1458754"/>
                    <a:gd name="connsiteX28" fmla="*/ 1042987 w 1557814"/>
                    <a:gd name="connsiteY28" fmla="*/ 1368266 h 1458754"/>
                    <a:gd name="connsiteX29" fmla="*/ 940594 w 1557814"/>
                    <a:gd name="connsiteY29" fmla="*/ 1339691 h 1458754"/>
                    <a:gd name="connsiteX30" fmla="*/ 892968 w 1557814"/>
                    <a:gd name="connsiteY30" fmla="*/ 1358741 h 1458754"/>
                    <a:gd name="connsiteX31" fmla="*/ 797719 w 1557814"/>
                    <a:gd name="connsiteY31" fmla="*/ 1294447 h 1458754"/>
                    <a:gd name="connsiteX32" fmla="*/ 804863 w 1557814"/>
                    <a:gd name="connsiteY32" fmla="*/ 1223010 h 1458754"/>
                    <a:gd name="connsiteX33" fmla="*/ 716756 w 1557814"/>
                    <a:gd name="connsiteY33" fmla="*/ 1180147 h 1458754"/>
                    <a:gd name="connsiteX34" fmla="*/ 583406 w 1557814"/>
                    <a:gd name="connsiteY34" fmla="*/ 1146810 h 1458754"/>
                    <a:gd name="connsiteX35" fmla="*/ 516731 w 1557814"/>
                    <a:gd name="connsiteY35" fmla="*/ 1182529 h 1458754"/>
                    <a:gd name="connsiteX36" fmla="*/ 463868 w 1557814"/>
                    <a:gd name="connsiteY36" fmla="*/ 1152049 h 1458754"/>
                    <a:gd name="connsiteX37" fmla="*/ 290513 w 1557814"/>
                    <a:gd name="connsiteY37" fmla="*/ 956310 h 1458754"/>
                    <a:gd name="connsiteX38" fmla="*/ 292893 w 1557814"/>
                    <a:gd name="connsiteY38" fmla="*/ 861060 h 1458754"/>
                    <a:gd name="connsiteX39" fmla="*/ 230981 w 1557814"/>
                    <a:gd name="connsiteY39" fmla="*/ 780097 h 1458754"/>
                    <a:gd name="connsiteX40" fmla="*/ 209550 w 1557814"/>
                    <a:gd name="connsiteY40" fmla="*/ 663417 h 1458754"/>
                    <a:gd name="connsiteX41" fmla="*/ 130969 w 1557814"/>
                    <a:gd name="connsiteY41" fmla="*/ 632461 h 1458754"/>
                    <a:gd name="connsiteX42" fmla="*/ 121444 w 1557814"/>
                    <a:gd name="connsiteY42" fmla="*/ 477679 h 1458754"/>
                    <a:gd name="connsiteX43" fmla="*/ 74772 w 1557814"/>
                    <a:gd name="connsiteY43" fmla="*/ 415290 h 1458754"/>
                    <a:gd name="connsiteX44" fmla="*/ 0 w 1557814"/>
                    <a:gd name="connsiteY44" fmla="*/ 210979 h 1458754"/>
                    <a:gd name="connsiteX45" fmla="*/ 3810 w 1557814"/>
                    <a:gd name="connsiteY45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304925 w 1557814"/>
                    <a:gd name="connsiteY16" fmla="*/ 977741 h 1458754"/>
                    <a:gd name="connsiteX17" fmla="*/ 1247775 w 1557814"/>
                    <a:gd name="connsiteY17" fmla="*/ 987267 h 1458754"/>
                    <a:gd name="connsiteX18" fmla="*/ 1266826 w 1557814"/>
                    <a:gd name="connsiteY18" fmla="*/ 1120616 h 1458754"/>
                    <a:gd name="connsiteX19" fmla="*/ 1195388 w 1557814"/>
                    <a:gd name="connsiteY19" fmla="*/ 1201579 h 1458754"/>
                    <a:gd name="connsiteX20" fmla="*/ 1069182 w 1557814"/>
                    <a:gd name="connsiteY20" fmla="*/ 1277779 h 1458754"/>
                    <a:gd name="connsiteX21" fmla="*/ 1126331 w 1557814"/>
                    <a:gd name="connsiteY21" fmla="*/ 1311116 h 1458754"/>
                    <a:gd name="connsiteX22" fmla="*/ 1119187 w 1557814"/>
                    <a:gd name="connsiteY22" fmla="*/ 1334929 h 1458754"/>
                    <a:gd name="connsiteX23" fmla="*/ 1183481 w 1557814"/>
                    <a:gd name="connsiteY23" fmla="*/ 1387316 h 1458754"/>
                    <a:gd name="connsiteX24" fmla="*/ 1152525 w 1557814"/>
                    <a:gd name="connsiteY24" fmla="*/ 1408748 h 1458754"/>
                    <a:gd name="connsiteX25" fmla="*/ 1170146 w 1557814"/>
                    <a:gd name="connsiteY25" fmla="*/ 1458754 h 1458754"/>
                    <a:gd name="connsiteX26" fmla="*/ 1064418 w 1557814"/>
                    <a:gd name="connsiteY26" fmla="*/ 1458754 h 1458754"/>
                    <a:gd name="connsiteX27" fmla="*/ 1014412 w 1557814"/>
                    <a:gd name="connsiteY27" fmla="*/ 1403986 h 1458754"/>
                    <a:gd name="connsiteX28" fmla="*/ 1042987 w 1557814"/>
                    <a:gd name="connsiteY28" fmla="*/ 1368266 h 1458754"/>
                    <a:gd name="connsiteX29" fmla="*/ 940594 w 1557814"/>
                    <a:gd name="connsiteY29" fmla="*/ 1339691 h 1458754"/>
                    <a:gd name="connsiteX30" fmla="*/ 892968 w 1557814"/>
                    <a:gd name="connsiteY30" fmla="*/ 1358741 h 1458754"/>
                    <a:gd name="connsiteX31" fmla="*/ 797719 w 1557814"/>
                    <a:gd name="connsiteY31" fmla="*/ 1294447 h 1458754"/>
                    <a:gd name="connsiteX32" fmla="*/ 804863 w 1557814"/>
                    <a:gd name="connsiteY32" fmla="*/ 1223010 h 1458754"/>
                    <a:gd name="connsiteX33" fmla="*/ 716756 w 1557814"/>
                    <a:gd name="connsiteY33" fmla="*/ 1180147 h 1458754"/>
                    <a:gd name="connsiteX34" fmla="*/ 583406 w 1557814"/>
                    <a:gd name="connsiteY34" fmla="*/ 1146810 h 1458754"/>
                    <a:gd name="connsiteX35" fmla="*/ 516731 w 1557814"/>
                    <a:gd name="connsiteY35" fmla="*/ 1182529 h 1458754"/>
                    <a:gd name="connsiteX36" fmla="*/ 463868 w 1557814"/>
                    <a:gd name="connsiteY36" fmla="*/ 1152049 h 1458754"/>
                    <a:gd name="connsiteX37" fmla="*/ 290513 w 1557814"/>
                    <a:gd name="connsiteY37" fmla="*/ 956310 h 1458754"/>
                    <a:gd name="connsiteX38" fmla="*/ 292893 w 1557814"/>
                    <a:gd name="connsiteY38" fmla="*/ 861060 h 1458754"/>
                    <a:gd name="connsiteX39" fmla="*/ 230981 w 1557814"/>
                    <a:gd name="connsiteY39" fmla="*/ 780097 h 1458754"/>
                    <a:gd name="connsiteX40" fmla="*/ 209550 w 1557814"/>
                    <a:gd name="connsiteY40" fmla="*/ 663417 h 1458754"/>
                    <a:gd name="connsiteX41" fmla="*/ 130969 w 1557814"/>
                    <a:gd name="connsiteY41" fmla="*/ 632461 h 1458754"/>
                    <a:gd name="connsiteX42" fmla="*/ 121444 w 1557814"/>
                    <a:gd name="connsiteY42" fmla="*/ 477679 h 1458754"/>
                    <a:gd name="connsiteX43" fmla="*/ 74772 w 1557814"/>
                    <a:gd name="connsiteY43" fmla="*/ 415290 h 1458754"/>
                    <a:gd name="connsiteX44" fmla="*/ 0 w 1557814"/>
                    <a:gd name="connsiteY44" fmla="*/ 210979 h 1458754"/>
                    <a:gd name="connsiteX45" fmla="*/ 3810 w 1557814"/>
                    <a:gd name="connsiteY45" fmla="*/ 76200 h 1458754"/>
                    <a:gd name="connsiteX0" fmla="*/ 3810 w 1557814"/>
                    <a:gd name="connsiteY0" fmla="*/ 76200 h 1458754"/>
                    <a:gd name="connsiteX1" fmla="*/ 1291590 w 1557814"/>
                    <a:gd name="connsiteY1" fmla="*/ 0 h 1458754"/>
                    <a:gd name="connsiteX2" fmla="*/ 1299210 w 1557814"/>
                    <a:gd name="connsiteY2" fmla="*/ 205740 h 1458754"/>
                    <a:gd name="connsiteX3" fmla="*/ 1236821 w 1557814"/>
                    <a:gd name="connsiteY3" fmla="*/ 311943 h 1458754"/>
                    <a:gd name="connsiteX4" fmla="*/ 1228725 w 1557814"/>
                    <a:gd name="connsiteY4" fmla="*/ 425292 h 1458754"/>
                    <a:gd name="connsiteX5" fmla="*/ 1185863 w 1557814"/>
                    <a:gd name="connsiteY5" fmla="*/ 494348 h 1458754"/>
                    <a:gd name="connsiteX6" fmla="*/ 1119188 w 1557814"/>
                    <a:gd name="connsiteY6" fmla="*/ 482442 h 1458754"/>
                    <a:gd name="connsiteX7" fmla="*/ 1059657 w 1557814"/>
                    <a:gd name="connsiteY7" fmla="*/ 644367 h 1458754"/>
                    <a:gd name="connsiteX8" fmla="*/ 1231107 w 1557814"/>
                    <a:gd name="connsiteY8" fmla="*/ 730091 h 1458754"/>
                    <a:gd name="connsiteX9" fmla="*/ 1385888 w 1557814"/>
                    <a:gd name="connsiteY9" fmla="*/ 839629 h 1458754"/>
                    <a:gd name="connsiteX10" fmla="*/ 1516856 w 1557814"/>
                    <a:gd name="connsiteY10" fmla="*/ 1001554 h 1458754"/>
                    <a:gd name="connsiteX11" fmla="*/ 1557814 w 1557814"/>
                    <a:gd name="connsiteY11" fmla="*/ 1071562 h 1458754"/>
                    <a:gd name="connsiteX12" fmla="*/ 1484471 w 1557814"/>
                    <a:gd name="connsiteY12" fmla="*/ 1077754 h 1458754"/>
                    <a:gd name="connsiteX13" fmla="*/ 1395413 w 1557814"/>
                    <a:gd name="connsiteY13" fmla="*/ 994410 h 1458754"/>
                    <a:gd name="connsiteX14" fmla="*/ 1402556 w 1557814"/>
                    <a:gd name="connsiteY14" fmla="*/ 932498 h 1458754"/>
                    <a:gd name="connsiteX15" fmla="*/ 1373981 w 1557814"/>
                    <a:gd name="connsiteY15" fmla="*/ 911067 h 1458754"/>
                    <a:gd name="connsiteX16" fmla="*/ 1304925 w 1557814"/>
                    <a:gd name="connsiteY16" fmla="*/ 977741 h 1458754"/>
                    <a:gd name="connsiteX17" fmla="*/ 1247775 w 1557814"/>
                    <a:gd name="connsiteY17" fmla="*/ 987267 h 1458754"/>
                    <a:gd name="connsiteX18" fmla="*/ 1266826 w 1557814"/>
                    <a:gd name="connsiteY18" fmla="*/ 1120616 h 1458754"/>
                    <a:gd name="connsiteX19" fmla="*/ 1195388 w 1557814"/>
                    <a:gd name="connsiteY19" fmla="*/ 1201579 h 1458754"/>
                    <a:gd name="connsiteX20" fmla="*/ 1069182 w 1557814"/>
                    <a:gd name="connsiteY20" fmla="*/ 1277779 h 1458754"/>
                    <a:gd name="connsiteX21" fmla="*/ 1126331 w 1557814"/>
                    <a:gd name="connsiteY21" fmla="*/ 1311116 h 1458754"/>
                    <a:gd name="connsiteX22" fmla="*/ 1119187 w 1557814"/>
                    <a:gd name="connsiteY22" fmla="*/ 1334929 h 1458754"/>
                    <a:gd name="connsiteX23" fmla="*/ 1183481 w 1557814"/>
                    <a:gd name="connsiteY23" fmla="*/ 1387316 h 1458754"/>
                    <a:gd name="connsiteX24" fmla="*/ 1152525 w 1557814"/>
                    <a:gd name="connsiteY24" fmla="*/ 1408748 h 1458754"/>
                    <a:gd name="connsiteX25" fmla="*/ 1165383 w 1557814"/>
                    <a:gd name="connsiteY25" fmla="*/ 1453992 h 1458754"/>
                    <a:gd name="connsiteX26" fmla="*/ 1064418 w 1557814"/>
                    <a:gd name="connsiteY26" fmla="*/ 1458754 h 1458754"/>
                    <a:gd name="connsiteX27" fmla="*/ 1014412 w 1557814"/>
                    <a:gd name="connsiteY27" fmla="*/ 1403986 h 1458754"/>
                    <a:gd name="connsiteX28" fmla="*/ 1042987 w 1557814"/>
                    <a:gd name="connsiteY28" fmla="*/ 1368266 h 1458754"/>
                    <a:gd name="connsiteX29" fmla="*/ 940594 w 1557814"/>
                    <a:gd name="connsiteY29" fmla="*/ 1339691 h 1458754"/>
                    <a:gd name="connsiteX30" fmla="*/ 892968 w 1557814"/>
                    <a:gd name="connsiteY30" fmla="*/ 1358741 h 1458754"/>
                    <a:gd name="connsiteX31" fmla="*/ 797719 w 1557814"/>
                    <a:gd name="connsiteY31" fmla="*/ 1294447 h 1458754"/>
                    <a:gd name="connsiteX32" fmla="*/ 804863 w 1557814"/>
                    <a:gd name="connsiteY32" fmla="*/ 1223010 h 1458754"/>
                    <a:gd name="connsiteX33" fmla="*/ 716756 w 1557814"/>
                    <a:gd name="connsiteY33" fmla="*/ 1180147 h 1458754"/>
                    <a:gd name="connsiteX34" fmla="*/ 583406 w 1557814"/>
                    <a:gd name="connsiteY34" fmla="*/ 1146810 h 1458754"/>
                    <a:gd name="connsiteX35" fmla="*/ 516731 w 1557814"/>
                    <a:gd name="connsiteY35" fmla="*/ 1182529 h 1458754"/>
                    <a:gd name="connsiteX36" fmla="*/ 463868 w 1557814"/>
                    <a:gd name="connsiteY36" fmla="*/ 1152049 h 1458754"/>
                    <a:gd name="connsiteX37" fmla="*/ 290513 w 1557814"/>
                    <a:gd name="connsiteY37" fmla="*/ 956310 h 1458754"/>
                    <a:gd name="connsiteX38" fmla="*/ 292893 w 1557814"/>
                    <a:gd name="connsiteY38" fmla="*/ 861060 h 1458754"/>
                    <a:gd name="connsiteX39" fmla="*/ 230981 w 1557814"/>
                    <a:gd name="connsiteY39" fmla="*/ 780097 h 1458754"/>
                    <a:gd name="connsiteX40" fmla="*/ 209550 w 1557814"/>
                    <a:gd name="connsiteY40" fmla="*/ 663417 h 1458754"/>
                    <a:gd name="connsiteX41" fmla="*/ 130969 w 1557814"/>
                    <a:gd name="connsiteY41" fmla="*/ 632461 h 1458754"/>
                    <a:gd name="connsiteX42" fmla="*/ 121444 w 1557814"/>
                    <a:gd name="connsiteY42" fmla="*/ 477679 h 1458754"/>
                    <a:gd name="connsiteX43" fmla="*/ 74772 w 1557814"/>
                    <a:gd name="connsiteY43" fmla="*/ 415290 h 1458754"/>
                    <a:gd name="connsiteX44" fmla="*/ 0 w 1557814"/>
                    <a:gd name="connsiteY44" fmla="*/ 210979 h 1458754"/>
                    <a:gd name="connsiteX45" fmla="*/ 3810 w 1557814"/>
                    <a:gd name="connsiteY45" fmla="*/ 76200 h 145875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1557814" h="1458754">
                      <a:moveTo>
                        <a:pt x="3810" y="76200"/>
                      </a:moveTo>
                      <a:lnTo>
                        <a:pt x="1291590" y="0"/>
                      </a:lnTo>
                      <a:lnTo>
                        <a:pt x="1299210" y="205740"/>
                      </a:lnTo>
                      <a:lnTo>
                        <a:pt x="1236821" y="311943"/>
                      </a:lnTo>
                      <a:lnTo>
                        <a:pt x="1228725" y="425292"/>
                      </a:lnTo>
                      <a:lnTo>
                        <a:pt x="1185863" y="494348"/>
                      </a:lnTo>
                      <a:lnTo>
                        <a:pt x="1119188" y="482442"/>
                      </a:lnTo>
                      <a:lnTo>
                        <a:pt x="1059657" y="644367"/>
                      </a:lnTo>
                      <a:lnTo>
                        <a:pt x="1231107" y="730091"/>
                      </a:lnTo>
                      <a:lnTo>
                        <a:pt x="1385888" y="839629"/>
                      </a:lnTo>
                      <a:lnTo>
                        <a:pt x="1516856" y="1001554"/>
                      </a:lnTo>
                      <a:lnTo>
                        <a:pt x="1557814" y="1071562"/>
                      </a:lnTo>
                      <a:lnTo>
                        <a:pt x="1484471" y="1077754"/>
                      </a:lnTo>
                      <a:lnTo>
                        <a:pt x="1395413" y="994410"/>
                      </a:lnTo>
                      <a:lnTo>
                        <a:pt x="1402556" y="932498"/>
                      </a:lnTo>
                      <a:lnTo>
                        <a:pt x="1373981" y="911067"/>
                      </a:lnTo>
                      <a:lnTo>
                        <a:pt x="1304925" y="977741"/>
                      </a:lnTo>
                      <a:lnTo>
                        <a:pt x="1247775" y="987267"/>
                      </a:lnTo>
                      <a:lnTo>
                        <a:pt x="1266826" y="1120616"/>
                      </a:lnTo>
                      <a:lnTo>
                        <a:pt x="1195388" y="1201579"/>
                      </a:lnTo>
                      <a:lnTo>
                        <a:pt x="1069182" y="1277779"/>
                      </a:lnTo>
                      <a:lnTo>
                        <a:pt x="1126331" y="1311116"/>
                      </a:lnTo>
                      <a:lnTo>
                        <a:pt x="1119187" y="1334929"/>
                      </a:lnTo>
                      <a:lnTo>
                        <a:pt x="1183481" y="1387316"/>
                      </a:lnTo>
                      <a:lnTo>
                        <a:pt x="1152525" y="1408748"/>
                      </a:lnTo>
                      <a:lnTo>
                        <a:pt x="1165383" y="1453992"/>
                      </a:lnTo>
                      <a:lnTo>
                        <a:pt x="1064418" y="1458754"/>
                      </a:lnTo>
                      <a:lnTo>
                        <a:pt x="1014412" y="1403986"/>
                      </a:lnTo>
                      <a:lnTo>
                        <a:pt x="1042987" y="1368266"/>
                      </a:lnTo>
                      <a:lnTo>
                        <a:pt x="940594" y="1339691"/>
                      </a:lnTo>
                      <a:lnTo>
                        <a:pt x="892968" y="1358741"/>
                      </a:lnTo>
                      <a:lnTo>
                        <a:pt x="797719" y="1294447"/>
                      </a:lnTo>
                      <a:lnTo>
                        <a:pt x="804863" y="1223010"/>
                      </a:lnTo>
                      <a:lnTo>
                        <a:pt x="716756" y="1180147"/>
                      </a:lnTo>
                      <a:lnTo>
                        <a:pt x="583406" y="1146810"/>
                      </a:lnTo>
                      <a:lnTo>
                        <a:pt x="516731" y="1182529"/>
                      </a:lnTo>
                      <a:lnTo>
                        <a:pt x="463868" y="1152049"/>
                      </a:lnTo>
                      <a:lnTo>
                        <a:pt x="290513" y="956310"/>
                      </a:lnTo>
                      <a:cubicBezTo>
                        <a:pt x="291306" y="924560"/>
                        <a:pt x="292100" y="892810"/>
                        <a:pt x="292893" y="861060"/>
                      </a:cubicBezTo>
                      <a:lnTo>
                        <a:pt x="230981" y="780097"/>
                      </a:lnTo>
                      <a:lnTo>
                        <a:pt x="209550" y="663417"/>
                      </a:lnTo>
                      <a:lnTo>
                        <a:pt x="130969" y="632461"/>
                      </a:lnTo>
                      <a:lnTo>
                        <a:pt x="121444" y="477679"/>
                      </a:lnTo>
                      <a:lnTo>
                        <a:pt x="74772" y="415290"/>
                      </a:lnTo>
                      <a:lnTo>
                        <a:pt x="0" y="210979"/>
                      </a:lnTo>
                      <a:lnTo>
                        <a:pt x="3810" y="76200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99" name="Freeform 98"/>
                <p:cNvSpPr/>
                <p:nvPr/>
              </p:nvSpPr>
              <p:spPr>
                <a:xfrm>
                  <a:off x="1320799" y="2529839"/>
                  <a:ext cx="1903413" cy="1623059"/>
                </a:xfrm>
                <a:custGeom>
                  <a:avLst/>
                  <a:gdLst>
                    <a:gd name="connsiteX0" fmla="*/ 0 w 2184400"/>
                    <a:gd name="connsiteY0" fmla="*/ 1188720 h 1737360"/>
                    <a:gd name="connsiteX1" fmla="*/ 457200 w 2184400"/>
                    <a:gd name="connsiteY1" fmla="*/ 1635760 h 1737360"/>
                    <a:gd name="connsiteX2" fmla="*/ 944880 w 2184400"/>
                    <a:gd name="connsiteY2" fmla="*/ 1737360 h 1737360"/>
                    <a:gd name="connsiteX3" fmla="*/ 1940560 w 2184400"/>
                    <a:gd name="connsiteY3" fmla="*/ 1737360 h 1737360"/>
                    <a:gd name="connsiteX4" fmla="*/ 2184400 w 2184400"/>
                    <a:gd name="connsiteY4" fmla="*/ 1209040 h 1737360"/>
                    <a:gd name="connsiteX5" fmla="*/ 2032000 w 2184400"/>
                    <a:gd name="connsiteY5" fmla="*/ 680720 h 1737360"/>
                    <a:gd name="connsiteX6" fmla="*/ 1564640 w 2184400"/>
                    <a:gd name="connsiteY6" fmla="*/ 426720 h 1737360"/>
                    <a:gd name="connsiteX7" fmla="*/ 975360 w 2184400"/>
                    <a:gd name="connsiteY7" fmla="*/ 182880 h 1737360"/>
                    <a:gd name="connsiteX8" fmla="*/ 203200 w 2184400"/>
                    <a:gd name="connsiteY8" fmla="*/ 0 h 1737360"/>
                    <a:gd name="connsiteX9" fmla="*/ 0 w 2184400"/>
                    <a:gd name="connsiteY9" fmla="*/ 325120 h 1737360"/>
                    <a:gd name="connsiteX0" fmla="*/ 0 w 2184400"/>
                    <a:gd name="connsiteY0" fmla="*/ 1188720 h 1737360"/>
                    <a:gd name="connsiteX1" fmla="*/ 457200 w 2184400"/>
                    <a:gd name="connsiteY1" fmla="*/ 1635760 h 1737360"/>
                    <a:gd name="connsiteX2" fmla="*/ 944880 w 2184400"/>
                    <a:gd name="connsiteY2" fmla="*/ 1737360 h 1737360"/>
                    <a:gd name="connsiteX3" fmla="*/ 1940560 w 2184400"/>
                    <a:gd name="connsiteY3" fmla="*/ 1737360 h 1737360"/>
                    <a:gd name="connsiteX4" fmla="*/ 2184400 w 2184400"/>
                    <a:gd name="connsiteY4" fmla="*/ 1209040 h 1737360"/>
                    <a:gd name="connsiteX5" fmla="*/ 2032000 w 2184400"/>
                    <a:gd name="connsiteY5" fmla="*/ 680720 h 1737360"/>
                    <a:gd name="connsiteX6" fmla="*/ 1564640 w 2184400"/>
                    <a:gd name="connsiteY6" fmla="*/ 426720 h 1737360"/>
                    <a:gd name="connsiteX7" fmla="*/ 975360 w 2184400"/>
                    <a:gd name="connsiteY7" fmla="*/ 182880 h 1737360"/>
                    <a:gd name="connsiteX8" fmla="*/ 203200 w 2184400"/>
                    <a:gd name="connsiteY8" fmla="*/ 0 h 1737360"/>
                    <a:gd name="connsiteX9" fmla="*/ 0 w 2184400"/>
                    <a:gd name="connsiteY9" fmla="*/ 325120 h 1737360"/>
                    <a:gd name="connsiteX10" fmla="*/ 0 w 2184400"/>
                    <a:gd name="connsiteY10" fmla="*/ 1188720 h 1737360"/>
                    <a:gd name="connsiteX0" fmla="*/ 215900 w 2184400"/>
                    <a:gd name="connsiteY0" fmla="*/ 1191895 h 1737360"/>
                    <a:gd name="connsiteX1" fmla="*/ 457200 w 2184400"/>
                    <a:gd name="connsiteY1" fmla="*/ 1635760 h 1737360"/>
                    <a:gd name="connsiteX2" fmla="*/ 944880 w 2184400"/>
                    <a:gd name="connsiteY2" fmla="*/ 1737360 h 1737360"/>
                    <a:gd name="connsiteX3" fmla="*/ 1940560 w 2184400"/>
                    <a:gd name="connsiteY3" fmla="*/ 1737360 h 1737360"/>
                    <a:gd name="connsiteX4" fmla="*/ 2184400 w 2184400"/>
                    <a:gd name="connsiteY4" fmla="*/ 1209040 h 1737360"/>
                    <a:gd name="connsiteX5" fmla="*/ 2032000 w 2184400"/>
                    <a:gd name="connsiteY5" fmla="*/ 680720 h 1737360"/>
                    <a:gd name="connsiteX6" fmla="*/ 1564640 w 2184400"/>
                    <a:gd name="connsiteY6" fmla="*/ 426720 h 1737360"/>
                    <a:gd name="connsiteX7" fmla="*/ 975360 w 2184400"/>
                    <a:gd name="connsiteY7" fmla="*/ 182880 h 1737360"/>
                    <a:gd name="connsiteX8" fmla="*/ 203200 w 2184400"/>
                    <a:gd name="connsiteY8" fmla="*/ 0 h 1737360"/>
                    <a:gd name="connsiteX9" fmla="*/ 0 w 2184400"/>
                    <a:gd name="connsiteY9" fmla="*/ 325120 h 1737360"/>
                    <a:gd name="connsiteX10" fmla="*/ 215900 w 2184400"/>
                    <a:gd name="connsiteY10" fmla="*/ 1191895 h 1737360"/>
                    <a:gd name="connsiteX0" fmla="*/ 215900 w 2184400"/>
                    <a:gd name="connsiteY0" fmla="*/ 1191895 h 1737360"/>
                    <a:gd name="connsiteX1" fmla="*/ 365125 w 2184400"/>
                    <a:gd name="connsiteY1" fmla="*/ 1463516 h 1737360"/>
                    <a:gd name="connsiteX2" fmla="*/ 457200 w 2184400"/>
                    <a:gd name="connsiteY2" fmla="*/ 1635760 h 1737360"/>
                    <a:gd name="connsiteX3" fmla="*/ 944880 w 2184400"/>
                    <a:gd name="connsiteY3" fmla="*/ 1737360 h 1737360"/>
                    <a:gd name="connsiteX4" fmla="*/ 1940560 w 2184400"/>
                    <a:gd name="connsiteY4" fmla="*/ 1737360 h 1737360"/>
                    <a:gd name="connsiteX5" fmla="*/ 2184400 w 2184400"/>
                    <a:gd name="connsiteY5" fmla="*/ 1209040 h 1737360"/>
                    <a:gd name="connsiteX6" fmla="*/ 2032000 w 2184400"/>
                    <a:gd name="connsiteY6" fmla="*/ 680720 h 1737360"/>
                    <a:gd name="connsiteX7" fmla="*/ 1564640 w 2184400"/>
                    <a:gd name="connsiteY7" fmla="*/ 426720 h 1737360"/>
                    <a:gd name="connsiteX8" fmla="*/ 975360 w 2184400"/>
                    <a:gd name="connsiteY8" fmla="*/ 182880 h 1737360"/>
                    <a:gd name="connsiteX9" fmla="*/ 203200 w 2184400"/>
                    <a:gd name="connsiteY9" fmla="*/ 0 h 1737360"/>
                    <a:gd name="connsiteX10" fmla="*/ 0 w 2184400"/>
                    <a:gd name="connsiteY10" fmla="*/ 325120 h 1737360"/>
                    <a:gd name="connsiteX11" fmla="*/ 215900 w 2184400"/>
                    <a:gd name="connsiteY11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457200 w 2184400"/>
                    <a:gd name="connsiteY2" fmla="*/ 1635760 h 1737360"/>
                    <a:gd name="connsiteX3" fmla="*/ 944880 w 2184400"/>
                    <a:gd name="connsiteY3" fmla="*/ 1737360 h 1737360"/>
                    <a:gd name="connsiteX4" fmla="*/ 1940560 w 2184400"/>
                    <a:gd name="connsiteY4" fmla="*/ 1737360 h 1737360"/>
                    <a:gd name="connsiteX5" fmla="*/ 2184400 w 2184400"/>
                    <a:gd name="connsiteY5" fmla="*/ 1209040 h 1737360"/>
                    <a:gd name="connsiteX6" fmla="*/ 2032000 w 2184400"/>
                    <a:gd name="connsiteY6" fmla="*/ 680720 h 1737360"/>
                    <a:gd name="connsiteX7" fmla="*/ 1564640 w 2184400"/>
                    <a:gd name="connsiteY7" fmla="*/ 426720 h 1737360"/>
                    <a:gd name="connsiteX8" fmla="*/ 975360 w 2184400"/>
                    <a:gd name="connsiteY8" fmla="*/ 182880 h 1737360"/>
                    <a:gd name="connsiteX9" fmla="*/ 203200 w 2184400"/>
                    <a:gd name="connsiteY9" fmla="*/ 0 h 1737360"/>
                    <a:gd name="connsiteX10" fmla="*/ 0 w 2184400"/>
                    <a:gd name="connsiteY10" fmla="*/ 325120 h 1737360"/>
                    <a:gd name="connsiteX11" fmla="*/ 215900 w 2184400"/>
                    <a:gd name="connsiteY11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944880 w 2184400"/>
                    <a:gd name="connsiteY3" fmla="*/ 1737360 h 1737360"/>
                    <a:gd name="connsiteX4" fmla="*/ 1940560 w 2184400"/>
                    <a:gd name="connsiteY4" fmla="*/ 1737360 h 1737360"/>
                    <a:gd name="connsiteX5" fmla="*/ 2184400 w 2184400"/>
                    <a:gd name="connsiteY5" fmla="*/ 1209040 h 1737360"/>
                    <a:gd name="connsiteX6" fmla="*/ 2032000 w 2184400"/>
                    <a:gd name="connsiteY6" fmla="*/ 680720 h 1737360"/>
                    <a:gd name="connsiteX7" fmla="*/ 1564640 w 2184400"/>
                    <a:gd name="connsiteY7" fmla="*/ 426720 h 1737360"/>
                    <a:gd name="connsiteX8" fmla="*/ 975360 w 2184400"/>
                    <a:gd name="connsiteY8" fmla="*/ 182880 h 1737360"/>
                    <a:gd name="connsiteX9" fmla="*/ 203200 w 2184400"/>
                    <a:gd name="connsiteY9" fmla="*/ 0 h 1737360"/>
                    <a:gd name="connsiteX10" fmla="*/ 0 w 2184400"/>
                    <a:gd name="connsiteY10" fmla="*/ 325120 h 1737360"/>
                    <a:gd name="connsiteX11" fmla="*/ 215900 w 2184400"/>
                    <a:gd name="connsiteY11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96106 w 2184400"/>
                    <a:gd name="connsiteY3" fmla="*/ 1506379 h 1737360"/>
                    <a:gd name="connsiteX4" fmla="*/ 944880 w 2184400"/>
                    <a:gd name="connsiteY4" fmla="*/ 1737360 h 1737360"/>
                    <a:gd name="connsiteX5" fmla="*/ 1940560 w 2184400"/>
                    <a:gd name="connsiteY5" fmla="*/ 1737360 h 1737360"/>
                    <a:gd name="connsiteX6" fmla="*/ 2184400 w 2184400"/>
                    <a:gd name="connsiteY6" fmla="*/ 1209040 h 1737360"/>
                    <a:gd name="connsiteX7" fmla="*/ 2032000 w 2184400"/>
                    <a:gd name="connsiteY7" fmla="*/ 680720 h 1737360"/>
                    <a:gd name="connsiteX8" fmla="*/ 1564640 w 2184400"/>
                    <a:gd name="connsiteY8" fmla="*/ 426720 h 1737360"/>
                    <a:gd name="connsiteX9" fmla="*/ 975360 w 2184400"/>
                    <a:gd name="connsiteY9" fmla="*/ 182880 h 1737360"/>
                    <a:gd name="connsiteX10" fmla="*/ 203200 w 2184400"/>
                    <a:gd name="connsiteY10" fmla="*/ 0 h 1737360"/>
                    <a:gd name="connsiteX11" fmla="*/ 0 w 2184400"/>
                    <a:gd name="connsiteY11" fmla="*/ 325120 h 1737360"/>
                    <a:gd name="connsiteX12" fmla="*/ 215900 w 2184400"/>
                    <a:gd name="connsiteY12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944880 w 2184400"/>
                    <a:gd name="connsiteY4" fmla="*/ 1737360 h 1737360"/>
                    <a:gd name="connsiteX5" fmla="*/ 1940560 w 2184400"/>
                    <a:gd name="connsiteY5" fmla="*/ 1737360 h 1737360"/>
                    <a:gd name="connsiteX6" fmla="*/ 2184400 w 2184400"/>
                    <a:gd name="connsiteY6" fmla="*/ 1209040 h 1737360"/>
                    <a:gd name="connsiteX7" fmla="*/ 2032000 w 2184400"/>
                    <a:gd name="connsiteY7" fmla="*/ 680720 h 1737360"/>
                    <a:gd name="connsiteX8" fmla="*/ 1564640 w 2184400"/>
                    <a:gd name="connsiteY8" fmla="*/ 426720 h 1737360"/>
                    <a:gd name="connsiteX9" fmla="*/ 975360 w 2184400"/>
                    <a:gd name="connsiteY9" fmla="*/ 182880 h 1737360"/>
                    <a:gd name="connsiteX10" fmla="*/ 203200 w 2184400"/>
                    <a:gd name="connsiteY10" fmla="*/ 0 h 1737360"/>
                    <a:gd name="connsiteX11" fmla="*/ 0 w 2184400"/>
                    <a:gd name="connsiteY11" fmla="*/ 325120 h 1737360"/>
                    <a:gd name="connsiteX12" fmla="*/ 215900 w 2184400"/>
                    <a:gd name="connsiteY12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41363 w 2184400"/>
                    <a:gd name="connsiteY4" fmla="*/ 1487329 h 1737360"/>
                    <a:gd name="connsiteX5" fmla="*/ 944880 w 2184400"/>
                    <a:gd name="connsiteY5" fmla="*/ 1737360 h 1737360"/>
                    <a:gd name="connsiteX6" fmla="*/ 1940560 w 2184400"/>
                    <a:gd name="connsiteY6" fmla="*/ 1737360 h 1737360"/>
                    <a:gd name="connsiteX7" fmla="*/ 2184400 w 2184400"/>
                    <a:gd name="connsiteY7" fmla="*/ 1209040 h 1737360"/>
                    <a:gd name="connsiteX8" fmla="*/ 2032000 w 2184400"/>
                    <a:gd name="connsiteY8" fmla="*/ 680720 h 1737360"/>
                    <a:gd name="connsiteX9" fmla="*/ 1564640 w 2184400"/>
                    <a:gd name="connsiteY9" fmla="*/ 426720 h 1737360"/>
                    <a:gd name="connsiteX10" fmla="*/ 975360 w 2184400"/>
                    <a:gd name="connsiteY10" fmla="*/ 182880 h 1737360"/>
                    <a:gd name="connsiteX11" fmla="*/ 203200 w 2184400"/>
                    <a:gd name="connsiteY11" fmla="*/ 0 h 1737360"/>
                    <a:gd name="connsiteX12" fmla="*/ 0 w 2184400"/>
                    <a:gd name="connsiteY12" fmla="*/ 325120 h 1737360"/>
                    <a:gd name="connsiteX13" fmla="*/ 215900 w 2184400"/>
                    <a:gd name="connsiteY13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944880 w 2184400"/>
                    <a:gd name="connsiteY5" fmla="*/ 1737360 h 1737360"/>
                    <a:gd name="connsiteX6" fmla="*/ 1940560 w 2184400"/>
                    <a:gd name="connsiteY6" fmla="*/ 1737360 h 1737360"/>
                    <a:gd name="connsiteX7" fmla="*/ 2184400 w 2184400"/>
                    <a:gd name="connsiteY7" fmla="*/ 1209040 h 1737360"/>
                    <a:gd name="connsiteX8" fmla="*/ 2032000 w 2184400"/>
                    <a:gd name="connsiteY8" fmla="*/ 680720 h 1737360"/>
                    <a:gd name="connsiteX9" fmla="*/ 1564640 w 2184400"/>
                    <a:gd name="connsiteY9" fmla="*/ 426720 h 1737360"/>
                    <a:gd name="connsiteX10" fmla="*/ 975360 w 2184400"/>
                    <a:gd name="connsiteY10" fmla="*/ 182880 h 1737360"/>
                    <a:gd name="connsiteX11" fmla="*/ 203200 w 2184400"/>
                    <a:gd name="connsiteY11" fmla="*/ 0 h 1737360"/>
                    <a:gd name="connsiteX12" fmla="*/ 0 w 2184400"/>
                    <a:gd name="connsiteY12" fmla="*/ 325120 h 1737360"/>
                    <a:gd name="connsiteX13" fmla="*/ 215900 w 2184400"/>
                    <a:gd name="connsiteY13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827088 w 2184400"/>
                    <a:gd name="connsiteY5" fmla="*/ 1496854 h 1737360"/>
                    <a:gd name="connsiteX6" fmla="*/ 944880 w 2184400"/>
                    <a:gd name="connsiteY6" fmla="*/ 1737360 h 1737360"/>
                    <a:gd name="connsiteX7" fmla="*/ 1940560 w 2184400"/>
                    <a:gd name="connsiteY7" fmla="*/ 1737360 h 1737360"/>
                    <a:gd name="connsiteX8" fmla="*/ 2184400 w 2184400"/>
                    <a:gd name="connsiteY8" fmla="*/ 1209040 h 1737360"/>
                    <a:gd name="connsiteX9" fmla="*/ 2032000 w 2184400"/>
                    <a:gd name="connsiteY9" fmla="*/ 680720 h 1737360"/>
                    <a:gd name="connsiteX10" fmla="*/ 1564640 w 2184400"/>
                    <a:gd name="connsiteY10" fmla="*/ 426720 h 1737360"/>
                    <a:gd name="connsiteX11" fmla="*/ 975360 w 2184400"/>
                    <a:gd name="connsiteY11" fmla="*/ 182880 h 1737360"/>
                    <a:gd name="connsiteX12" fmla="*/ 203200 w 2184400"/>
                    <a:gd name="connsiteY12" fmla="*/ 0 h 1737360"/>
                    <a:gd name="connsiteX13" fmla="*/ 0 w 2184400"/>
                    <a:gd name="connsiteY13" fmla="*/ 325120 h 1737360"/>
                    <a:gd name="connsiteX14" fmla="*/ 215900 w 2184400"/>
                    <a:gd name="connsiteY14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944880 w 2184400"/>
                    <a:gd name="connsiteY6" fmla="*/ 1737360 h 1737360"/>
                    <a:gd name="connsiteX7" fmla="*/ 1940560 w 2184400"/>
                    <a:gd name="connsiteY7" fmla="*/ 1737360 h 1737360"/>
                    <a:gd name="connsiteX8" fmla="*/ 2184400 w 2184400"/>
                    <a:gd name="connsiteY8" fmla="*/ 1209040 h 1737360"/>
                    <a:gd name="connsiteX9" fmla="*/ 2032000 w 2184400"/>
                    <a:gd name="connsiteY9" fmla="*/ 680720 h 1737360"/>
                    <a:gd name="connsiteX10" fmla="*/ 1564640 w 2184400"/>
                    <a:gd name="connsiteY10" fmla="*/ 426720 h 1737360"/>
                    <a:gd name="connsiteX11" fmla="*/ 975360 w 2184400"/>
                    <a:gd name="connsiteY11" fmla="*/ 182880 h 1737360"/>
                    <a:gd name="connsiteX12" fmla="*/ 203200 w 2184400"/>
                    <a:gd name="connsiteY12" fmla="*/ 0 h 1737360"/>
                    <a:gd name="connsiteX13" fmla="*/ 0 w 2184400"/>
                    <a:gd name="connsiteY13" fmla="*/ 325120 h 1737360"/>
                    <a:gd name="connsiteX14" fmla="*/ 215900 w 2184400"/>
                    <a:gd name="connsiteY14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22325 w 2184400"/>
                    <a:gd name="connsiteY6" fmla="*/ 1473041 h 1737360"/>
                    <a:gd name="connsiteX7" fmla="*/ 944880 w 2184400"/>
                    <a:gd name="connsiteY7" fmla="*/ 1737360 h 1737360"/>
                    <a:gd name="connsiteX8" fmla="*/ 1940560 w 2184400"/>
                    <a:gd name="connsiteY8" fmla="*/ 1737360 h 1737360"/>
                    <a:gd name="connsiteX9" fmla="*/ 2184400 w 2184400"/>
                    <a:gd name="connsiteY9" fmla="*/ 1209040 h 1737360"/>
                    <a:gd name="connsiteX10" fmla="*/ 2032000 w 2184400"/>
                    <a:gd name="connsiteY10" fmla="*/ 680720 h 1737360"/>
                    <a:gd name="connsiteX11" fmla="*/ 1564640 w 2184400"/>
                    <a:gd name="connsiteY11" fmla="*/ 426720 h 1737360"/>
                    <a:gd name="connsiteX12" fmla="*/ 975360 w 2184400"/>
                    <a:gd name="connsiteY12" fmla="*/ 182880 h 1737360"/>
                    <a:gd name="connsiteX13" fmla="*/ 203200 w 2184400"/>
                    <a:gd name="connsiteY13" fmla="*/ 0 h 1737360"/>
                    <a:gd name="connsiteX14" fmla="*/ 0 w 2184400"/>
                    <a:gd name="connsiteY14" fmla="*/ 325120 h 1737360"/>
                    <a:gd name="connsiteX15" fmla="*/ 215900 w 2184400"/>
                    <a:gd name="connsiteY15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944880 w 2184400"/>
                    <a:gd name="connsiteY7" fmla="*/ 1737360 h 1737360"/>
                    <a:gd name="connsiteX8" fmla="*/ 1940560 w 2184400"/>
                    <a:gd name="connsiteY8" fmla="*/ 1737360 h 1737360"/>
                    <a:gd name="connsiteX9" fmla="*/ 2184400 w 2184400"/>
                    <a:gd name="connsiteY9" fmla="*/ 1209040 h 1737360"/>
                    <a:gd name="connsiteX10" fmla="*/ 2032000 w 2184400"/>
                    <a:gd name="connsiteY10" fmla="*/ 680720 h 1737360"/>
                    <a:gd name="connsiteX11" fmla="*/ 1564640 w 2184400"/>
                    <a:gd name="connsiteY11" fmla="*/ 426720 h 1737360"/>
                    <a:gd name="connsiteX12" fmla="*/ 975360 w 2184400"/>
                    <a:gd name="connsiteY12" fmla="*/ 182880 h 1737360"/>
                    <a:gd name="connsiteX13" fmla="*/ 203200 w 2184400"/>
                    <a:gd name="connsiteY13" fmla="*/ 0 h 1737360"/>
                    <a:gd name="connsiteX14" fmla="*/ 0 w 2184400"/>
                    <a:gd name="connsiteY14" fmla="*/ 325120 h 1737360"/>
                    <a:gd name="connsiteX15" fmla="*/ 215900 w 2184400"/>
                    <a:gd name="connsiteY15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84238 w 2184400"/>
                    <a:gd name="connsiteY7" fmla="*/ 1542098 h 1737360"/>
                    <a:gd name="connsiteX8" fmla="*/ 944880 w 2184400"/>
                    <a:gd name="connsiteY8" fmla="*/ 1737360 h 1737360"/>
                    <a:gd name="connsiteX9" fmla="*/ 1940560 w 2184400"/>
                    <a:gd name="connsiteY9" fmla="*/ 1737360 h 1737360"/>
                    <a:gd name="connsiteX10" fmla="*/ 2184400 w 2184400"/>
                    <a:gd name="connsiteY10" fmla="*/ 1209040 h 1737360"/>
                    <a:gd name="connsiteX11" fmla="*/ 2032000 w 2184400"/>
                    <a:gd name="connsiteY11" fmla="*/ 680720 h 1737360"/>
                    <a:gd name="connsiteX12" fmla="*/ 1564640 w 2184400"/>
                    <a:gd name="connsiteY12" fmla="*/ 426720 h 1737360"/>
                    <a:gd name="connsiteX13" fmla="*/ 975360 w 2184400"/>
                    <a:gd name="connsiteY13" fmla="*/ 182880 h 1737360"/>
                    <a:gd name="connsiteX14" fmla="*/ 203200 w 2184400"/>
                    <a:gd name="connsiteY14" fmla="*/ 0 h 1737360"/>
                    <a:gd name="connsiteX15" fmla="*/ 0 w 2184400"/>
                    <a:gd name="connsiteY15" fmla="*/ 325120 h 1737360"/>
                    <a:gd name="connsiteX16" fmla="*/ 215900 w 2184400"/>
                    <a:gd name="connsiteY16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44880 w 2184400"/>
                    <a:gd name="connsiteY8" fmla="*/ 1737360 h 1737360"/>
                    <a:gd name="connsiteX9" fmla="*/ 1940560 w 2184400"/>
                    <a:gd name="connsiteY9" fmla="*/ 1737360 h 1737360"/>
                    <a:gd name="connsiteX10" fmla="*/ 2184400 w 2184400"/>
                    <a:gd name="connsiteY10" fmla="*/ 1209040 h 1737360"/>
                    <a:gd name="connsiteX11" fmla="*/ 2032000 w 2184400"/>
                    <a:gd name="connsiteY11" fmla="*/ 680720 h 1737360"/>
                    <a:gd name="connsiteX12" fmla="*/ 1564640 w 2184400"/>
                    <a:gd name="connsiteY12" fmla="*/ 426720 h 1737360"/>
                    <a:gd name="connsiteX13" fmla="*/ 975360 w 2184400"/>
                    <a:gd name="connsiteY13" fmla="*/ 182880 h 1737360"/>
                    <a:gd name="connsiteX14" fmla="*/ 203200 w 2184400"/>
                    <a:gd name="connsiteY14" fmla="*/ 0 h 1737360"/>
                    <a:gd name="connsiteX15" fmla="*/ 0 w 2184400"/>
                    <a:gd name="connsiteY15" fmla="*/ 325120 h 1737360"/>
                    <a:gd name="connsiteX16" fmla="*/ 215900 w 2184400"/>
                    <a:gd name="connsiteY16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03288 w 2184400"/>
                    <a:gd name="connsiteY8" fmla="*/ 1632585 h 1737360"/>
                    <a:gd name="connsiteX9" fmla="*/ 944880 w 2184400"/>
                    <a:gd name="connsiteY9" fmla="*/ 1737360 h 1737360"/>
                    <a:gd name="connsiteX10" fmla="*/ 1940560 w 2184400"/>
                    <a:gd name="connsiteY10" fmla="*/ 1737360 h 1737360"/>
                    <a:gd name="connsiteX11" fmla="*/ 2184400 w 2184400"/>
                    <a:gd name="connsiteY11" fmla="*/ 1209040 h 1737360"/>
                    <a:gd name="connsiteX12" fmla="*/ 2032000 w 2184400"/>
                    <a:gd name="connsiteY12" fmla="*/ 680720 h 1737360"/>
                    <a:gd name="connsiteX13" fmla="*/ 1564640 w 2184400"/>
                    <a:gd name="connsiteY13" fmla="*/ 426720 h 1737360"/>
                    <a:gd name="connsiteX14" fmla="*/ 975360 w 2184400"/>
                    <a:gd name="connsiteY14" fmla="*/ 182880 h 1737360"/>
                    <a:gd name="connsiteX15" fmla="*/ 203200 w 2184400"/>
                    <a:gd name="connsiteY15" fmla="*/ 0 h 1737360"/>
                    <a:gd name="connsiteX16" fmla="*/ 0 w 2184400"/>
                    <a:gd name="connsiteY16" fmla="*/ 325120 h 1737360"/>
                    <a:gd name="connsiteX17" fmla="*/ 215900 w 2184400"/>
                    <a:gd name="connsiteY17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4880 w 2184400"/>
                    <a:gd name="connsiteY9" fmla="*/ 1737360 h 1737360"/>
                    <a:gd name="connsiteX10" fmla="*/ 1940560 w 2184400"/>
                    <a:gd name="connsiteY10" fmla="*/ 1737360 h 1737360"/>
                    <a:gd name="connsiteX11" fmla="*/ 2184400 w 2184400"/>
                    <a:gd name="connsiteY11" fmla="*/ 1209040 h 1737360"/>
                    <a:gd name="connsiteX12" fmla="*/ 2032000 w 2184400"/>
                    <a:gd name="connsiteY12" fmla="*/ 680720 h 1737360"/>
                    <a:gd name="connsiteX13" fmla="*/ 1564640 w 2184400"/>
                    <a:gd name="connsiteY13" fmla="*/ 426720 h 1737360"/>
                    <a:gd name="connsiteX14" fmla="*/ 975360 w 2184400"/>
                    <a:gd name="connsiteY14" fmla="*/ 182880 h 1737360"/>
                    <a:gd name="connsiteX15" fmla="*/ 203200 w 2184400"/>
                    <a:gd name="connsiteY15" fmla="*/ 0 h 1737360"/>
                    <a:gd name="connsiteX16" fmla="*/ 0 w 2184400"/>
                    <a:gd name="connsiteY16" fmla="*/ 325120 h 1737360"/>
                    <a:gd name="connsiteX17" fmla="*/ 215900 w 2184400"/>
                    <a:gd name="connsiteY17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31863 w 2184400"/>
                    <a:gd name="connsiteY9" fmla="*/ 1608773 h 1737360"/>
                    <a:gd name="connsiteX10" fmla="*/ 944880 w 2184400"/>
                    <a:gd name="connsiteY10" fmla="*/ 1737360 h 1737360"/>
                    <a:gd name="connsiteX11" fmla="*/ 1940560 w 2184400"/>
                    <a:gd name="connsiteY11" fmla="*/ 1737360 h 1737360"/>
                    <a:gd name="connsiteX12" fmla="*/ 2184400 w 2184400"/>
                    <a:gd name="connsiteY12" fmla="*/ 1209040 h 1737360"/>
                    <a:gd name="connsiteX13" fmla="*/ 2032000 w 2184400"/>
                    <a:gd name="connsiteY13" fmla="*/ 680720 h 1737360"/>
                    <a:gd name="connsiteX14" fmla="*/ 1564640 w 2184400"/>
                    <a:gd name="connsiteY14" fmla="*/ 426720 h 1737360"/>
                    <a:gd name="connsiteX15" fmla="*/ 975360 w 2184400"/>
                    <a:gd name="connsiteY15" fmla="*/ 182880 h 1737360"/>
                    <a:gd name="connsiteX16" fmla="*/ 203200 w 2184400"/>
                    <a:gd name="connsiteY16" fmla="*/ 0 h 1737360"/>
                    <a:gd name="connsiteX17" fmla="*/ 0 w 2184400"/>
                    <a:gd name="connsiteY17" fmla="*/ 325120 h 1737360"/>
                    <a:gd name="connsiteX18" fmla="*/ 215900 w 2184400"/>
                    <a:gd name="connsiteY18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944880 w 2184400"/>
                    <a:gd name="connsiteY10" fmla="*/ 1737360 h 1737360"/>
                    <a:gd name="connsiteX11" fmla="*/ 1940560 w 2184400"/>
                    <a:gd name="connsiteY11" fmla="*/ 1737360 h 1737360"/>
                    <a:gd name="connsiteX12" fmla="*/ 2184400 w 2184400"/>
                    <a:gd name="connsiteY12" fmla="*/ 1209040 h 1737360"/>
                    <a:gd name="connsiteX13" fmla="*/ 2032000 w 2184400"/>
                    <a:gd name="connsiteY13" fmla="*/ 680720 h 1737360"/>
                    <a:gd name="connsiteX14" fmla="*/ 1564640 w 2184400"/>
                    <a:gd name="connsiteY14" fmla="*/ 426720 h 1737360"/>
                    <a:gd name="connsiteX15" fmla="*/ 975360 w 2184400"/>
                    <a:gd name="connsiteY15" fmla="*/ 182880 h 1737360"/>
                    <a:gd name="connsiteX16" fmla="*/ 203200 w 2184400"/>
                    <a:gd name="connsiteY16" fmla="*/ 0 h 1737360"/>
                    <a:gd name="connsiteX17" fmla="*/ 0 w 2184400"/>
                    <a:gd name="connsiteY17" fmla="*/ 325120 h 1737360"/>
                    <a:gd name="connsiteX18" fmla="*/ 215900 w 2184400"/>
                    <a:gd name="connsiteY18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944880 w 2184400"/>
                    <a:gd name="connsiteY10" fmla="*/ 1737360 h 1737360"/>
                    <a:gd name="connsiteX11" fmla="*/ 1940560 w 2184400"/>
                    <a:gd name="connsiteY11" fmla="*/ 1737360 h 1737360"/>
                    <a:gd name="connsiteX12" fmla="*/ 2184400 w 2184400"/>
                    <a:gd name="connsiteY12" fmla="*/ 1209040 h 1737360"/>
                    <a:gd name="connsiteX13" fmla="*/ 2032000 w 2184400"/>
                    <a:gd name="connsiteY13" fmla="*/ 680720 h 1737360"/>
                    <a:gd name="connsiteX14" fmla="*/ 1564640 w 2184400"/>
                    <a:gd name="connsiteY14" fmla="*/ 426720 h 1737360"/>
                    <a:gd name="connsiteX15" fmla="*/ 975360 w 2184400"/>
                    <a:gd name="connsiteY15" fmla="*/ 182880 h 1737360"/>
                    <a:gd name="connsiteX16" fmla="*/ 203200 w 2184400"/>
                    <a:gd name="connsiteY16" fmla="*/ 0 h 1737360"/>
                    <a:gd name="connsiteX17" fmla="*/ 0 w 2184400"/>
                    <a:gd name="connsiteY17" fmla="*/ 325120 h 1737360"/>
                    <a:gd name="connsiteX18" fmla="*/ 215900 w 2184400"/>
                    <a:gd name="connsiteY18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940560 w 2184400"/>
                    <a:gd name="connsiteY11" fmla="*/ 1737360 h 1737360"/>
                    <a:gd name="connsiteX12" fmla="*/ 2184400 w 2184400"/>
                    <a:gd name="connsiteY12" fmla="*/ 1209040 h 1737360"/>
                    <a:gd name="connsiteX13" fmla="*/ 2032000 w 2184400"/>
                    <a:gd name="connsiteY13" fmla="*/ 680720 h 1737360"/>
                    <a:gd name="connsiteX14" fmla="*/ 1564640 w 2184400"/>
                    <a:gd name="connsiteY14" fmla="*/ 426720 h 1737360"/>
                    <a:gd name="connsiteX15" fmla="*/ 975360 w 2184400"/>
                    <a:gd name="connsiteY15" fmla="*/ 182880 h 1737360"/>
                    <a:gd name="connsiteX16" fmla="*/ 203200 w 2184400"/>
                    <a:gd name="connsiteY16" fmla="*/ 0 h 1737360"/>
                    <a:gd name="connsiteX17" fmla="*/ 0 w 2184400"/>
                    <a:gd name="connsiteY17" fmla="*/ 325120 h 1737360"/>
                    <a:gd name="connsiteX18" fmla="*/ 215900 w 2184400"/>
                    <a:gd name="connsiteY18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940560 w 2184400"/>
                    <a:gd name="connsiteY11" fmla="*/ 1737360 h 1737360"/>
                    <a:gd name="connsiteX12" fmla="*/ 2184400 w 2184400"/>
                    <a:gd name="connsiteY12" fmla="*/ 1209040 h 1737360"/>
                    <a:gd name="connsiteX13" fmla="*/ 2032000 w 2184400"/>
                    <a:gd name="connsiteY13" fmla="*/ 680720 h 1737360"/>
                    <a:gd name="connsiteX14" fmla="*/ 1564640 w 2184400"/>
                    <a:gd name="connsiteY14" fmla="*/ 426720 h 1737360"/>
                    <a:gd name="connsiteX15" fmla="*/ 975360 w 2184400"/>
                    <a:gd name="connsiteY15" fmla="*/ 182880 h 1737360"/>
                    <a:gd name="connsiteX16" fmla="*/ 203200 w 2184400"/>
                    <a:gd name="connsiteY16" fmla="*/ 0 h 1737360"/>
                    <a:gd name="connsiteX17" fmla="*/ 0 w 2184400"/>
                    <a:gd name="connsiteY17" fmla="*/ 325120 h 1737360"/>
                    <a:gd name="connsiteX18" fmla="*/ 215900 w 2184400"/>
                    <a:gd name="connsiteY18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158081 w 2184400"/>
                    <a:gd name="connsiteY11" fmla="*/ 1506379 h 1737360"/>
                    <a:gd name="connsiteX12" fmla="*/ 1940560 w 2184400"/>
                    <a:gd name="connsiteY12" fmla="*/ 1737360 h 1737360"/>
                    <a:gd name="connsiteX13" fmla="*/ 2184400 w 2184400"/>
                    <a:gd name="connsiteY13" fmla="*/ 1209040 h 1737360"/>
                    <a:gd name="connsiteX14" fmla="*/ 2032000 w 2184400"/>
                    <a:gd name="connsiteY14" fmla="*/ 680720 h 1737360"/>
                    <a:gd name="connsiteX15" fmla="*/ 1564640 w 2184400"/>
                    <a:gd name="connsiteY15" fmla="*/ 426720 h 1737360"/>
                    <a:gd name="connsiteX16" fmla="*/ 975360 w 2184400"/>
                    <a:gd name="connsiteY16" fmla="*/ 182880 h 1737360"/>
                    <a:gd name="connsiteX17" fmla="*/ 203200 w 2184400"/>
                    <a:gd name="connsiteY17" fmla="*/ 0 h 1737360"/>
                    <a:gd name="connsiteX18" fmla="*/ 0 w 2184400"/>
                    <a:gd name="connsiteY18" fmla="*/ 325120 h 1737360"/>
                    <a:gd name="connsiteX19" fmla="*/ 215900 w 2184400"/>
                    <a:gd name="connsiteY19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940560 w 2184400"/>
                    <a:gd name="connsiteY12" fmla="*/ 1737360 h 1737360"/>
                    <a:gd name="connsiteX13" fmla="*/ 2184400 w 2184400"/>
                    <a:gd name="connsiteY13" fmla="*/ 1209040 h 1737360"/>
                    <a:gd name="connsiteX14" fmla="*/ 2032000 w 2184400"/>
                    <a:gd name="connsiteY14" fmla="*/ 680720 h 1737360"/>
                    <a:gd name="connsiteX15" fmla="*/ 1564640 w 2184400"/>
                    <a:gd name="connsiteY15" fmla="*/ 426720 h 1737360"/>
                    <a:gd name="connsiteX16" fmla="*/ 975360 w 2184400"/>
                    <a:gd name="connsiteY16" fmla="*/ 182880 h 1737360"/>
                    <a:gd name="connsiteX17" fmla="*/ 203200 w 2184400"/>
                    <a:gd name="connsiteY17" fmla="*/ 0 h 1737360"/>
                    <a:gd name="connsiteX18" fmla="*/ 0 w 2184400"/>
                    <a:gd name="connsiteY18" fmla="*/ 325120 h 1737360"/>
                    <a:gd name="connsiteX19" fmla="*/ 215900 w 2184400"/>
                    <a:gd name="connsiteY19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139031 w 2184400"/>
                    <a:gd name="connsiteY12" fmla="*/ 1577816 h 1737360"/>
                    <a:gd name="connsiteX13" fmla="*/ 1940560 w 2184400"/>
                    <a:gd name="connsiteY13" fmla="*/ 1737360 h 1737360"/>
                    <a:gd name="connsiteX14" fmla="*/ 2184400 w 2184400"/>
                    <a:gd name="connsiteY14" fmla="*/ 1209040 h 1737360"/>
                    <a:gd name="connsiteX15" fmla="*/ 2032000 w 2184400"/>
                    <a:gd name="connsiteY15" fmla="*/ 680720 h 1737360"/>
                    <a:gd name="connsiteX16" fmla="*/ 1564640 w 2184400"/>
                    <a:gd name="connsiteY16" fmla="*/ 426720 h 1737360"/>
                    <a:gd name="connsiteX17" fmla="*/ 975360 w 2184400"/>
                    <a:gd name="connsiteY17" fmla="*/ 182880 h 1737360"/>
                    <a:gd name="connsiteX18" fmla="*/ 203200 w 2184400"/>
                    <a:gd name="connsiteY18" fmla="*/ 0 h 1737360"/>
                    <a:gd name="connsiteX19" fmla="*/ 0 w 2184400"/>
                    <a:gd name="connsiteY19" fmla="*/ 325120 h 1737360"/>
                    <a:gd name="connsiteX20" fmla="*/ 215900 w 2184400"/>
                    <a:gd name="connsiteY20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940560 w 2184400"/>
                    <a:gd name="connsiteY13" fmla="*/ 1737360 h 1737360"/>
                    <a:gd name="connsiteX14" fmla="*/ 2184400 w 2184400"/>
                    <a:gd name="connsiteY14" fmla="*/ 1209040 h 1737360"/>
                    <a:gd name="connsiteX15" fmla="*/ 2032000 w 2184400"/>
                    <a:gd name="connsiteY15" fmla="*/ 680720 h 1737360"/>
                    <a:gd name="connsiteX16" fmla="*/ 1564640 w 2184400"/>
                    <a:gd name="connsiteY16" fmla="*/ 426720 h 1737360"/>
                    <a:gd name="connsiteX17" fmla="*/ 975360 w 2184400"/>
                    <a:gd name="connsiteY17" fmla="*/ 182880 h 1737360"/>
                    <a:gd name="connsiteX18" fmla="*/ 203200 w 2184400"/>
                    <a:gd name="connsiteY18" fmla="*/ 0 h 1737360"/>
                    <a:gd name="connsiteX19" fmla="*/ 0 w 2184400"/>
                    <a:gd name="connsiteY19" fmla="*/ 325120 h 1737360"/>
                    <a:gd name="connsiteX20" fmla="*/ 215900 w 2184400"/>
                    <a:gd name="connsiteY20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286669 w 2184400"/>
                    <a:gd name="connsiteY13" fmla="*/ 1644491 h 1737360"/>
                    <a:gd name="connsiteX14" fmla="*/ 1940560 w 2184400"/>
                    <a:gd name="connsiteY14" fmla="*/ 1737360 h 1737360"/>
                    <a:gd name="connsiteX15" fmla="*/ 2184400 w 2184400"/>
                    <a:gd name="connsiteY15" fmla="*/ 1209040 h 1737360"/>
                    <a:gd name="connsiteX16" fmla="*/ 2032000 w 2184400"/>
                    <a:gd name="connsiteY16" fmla="*/ 680720 h 1737360"/>
                    <a:gd name="connsiteX17" fmla="*/ 1564640 w 2184400"/>
                    <a:gd name="connsiteY17" fmla="*/ 426720 h 1737360"/>
                    <a:gd name="connsiteX18" fmla="*/ 975360 w 2184400"/>
                    <a:gd name="connsiteY18" fmla="*/ 182880 h 1737360"/>
                    <a:gd name="connsiteX19" fmla="*/ 203200 w 2184400"/>
                    <a:gd name="connsiteY19" fmla="*/ 0 h 1737360"/>
                    <a:gd name="connsiteX20" fmla="*/ 0 w 2184400"/>
                    <a:gd name="connsiteY20" fmla="*/ 325120 h 1737360"/>
                    <a:gd name="connsiteX21" fmla="*/ 215900 w 2184400"/>
                    <a:gd name="connsiteY21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940560 w 2184400"/>
                    <a:gd name="connsiteY14" fmla="*/ 1737360 h 1737360"/>
                    <a:gd name="connsiteX15" fmla="*/ 2184400 w 2184400"/>
                    <a:gd name="connsiteY15" fmla="*/ 1209040 h 1737360"/>
                    <a:gd name="connsiteX16" fmla="*/ 2032000 w 2184400"/>
                    <a:gd name="connsiteY16" fmla="*/ 680720 h 1737360"/>
                    <a:gd name="connsiteX17" fmla="*/ 1564640 w 2184400"/>
                    <a:gd name="connsiteY17" fmla="*/ 426720 h 1737360"/>
                    <a:gd name="connsiteX18" fmla="*/ 975360 w 2184400"/>
                    <a:gd name="connsiteY18" fmla="*/ 182880 h 1737360"/>
                    <a:gd name="connsiteX19" fmla="*/ 203200 w 2184400"/>
                    <a:gd name="connsiteY19" fmla="*/ 0 h 1737360"/>
                    <a:gd name="connsiteX20" fmla="*/ 0 w 2184400"/>
                    <a:gd name="connsiteY20" fmla="*/ 325120 h 1737360"/>
                    <a:gd name="connsiteX21" fmla="*/ 215900 w 2184400"/>
                    <a:gd name="connsiteY21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339056 w 2184400"/>
                    <a:gd name="connsiteY14" fmla="*/ 1582579 h 1737360"/>
                    <a:gd name="connsiteX15" fmla="*/ 1940560 w 2184400"/>
                    <a:gd name="connsiteY15" fmla="*/ 1737360 h 1737360"/>
                    <a:gd name="connsiteX16" fmla="*/ 2184400 w 2184400"/>
                    <a:gd name="connsiteY16" fmla="*/ 1209040 h 1737360"/>
                    <a:gd name="connsiteX17" fmla="*/ 2032000 w 2184400"/>
                    <a:gd name="connsiteY17" fmla="*/ 680720 h 1737360"/>
                    <a:gd name="connsiteX18" fmla="*/ 1564640 w 2184400"/>
                    <a:gd name="connsiteY18" fmla="*/ 426720 h 1737360"/>
                    <a:gd name="connsiteX19" fmla="*/ 975360 w 2184400"/>
                    <a:gd name="connsiteY19" fmla="*/ 182880 h 1737360"/>
                    <a:gd name="connsiteX20" fmla="*/ 203200 w 2184400"/>
                    <a:gd name="connsiteY20" fmla="*/ 0 h 1737360"/>
                    <a:gd name="connsiteX21" fmla="*/ 0 w 2184400"/>
                    <a:gd name="connsiteY21" fmla="*/ 325120 h 1737360"/>
                    <a:gd name="connsiteX22" fmla="*/ 215900 w 2184400"/>
                    <a:gd name="connsiteY22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940560 w 2184400"/>
                    <a:gd name="connsiteY15" fmla="*/ 1737360 h 1737360"/>
                    <a:gd name="connsiteX16" fmla="*/ 2184400 w 2184400"/>
                    <a:gd name="connsiteY16" fmla="*/ 1209040 h 1737360"/>
                    <a:gd name="connsiteX17" fmla="*/ 2032000 w 2184400"/>
                    <a:gd name="connsiteY17" fmla="*/ 680720 h 1737360"/>
                    <a:gd name="connsiteX18" fmla="*/ 1564640 w 2184400"/>
                    <a:gd name="connsiteY18" fmla="*/ 426720 h 1737360"/>
                    <a:gd name="connsiteX19" fmla="*/ 975360 w 2184400"/>
                    <a:gd name="connsiteY19" fmla="*/ 182880 h 1737360"/>
                    <a:gd name="connsiteX20" fmla="*/ 203200 w 2184400"/>
                    <a:gd name="connsiteY20" fmla="*/ 0 h 1737360"/>
                    <a:gd name="connsiteX21" fmla="*/ 0 w 2184400"/>
                    <a:gd name="connsiteY21" fmla="*/ 325120 h 1737360"/>
                    <a:gd name="connsiteX22" fmla="*/ 215900 w 2184400"/>
                    <a:gd name="connsiteY22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367631 w 2184400"/>
                    <a:gd name="connsiteY15" fmla="*/ 1532573 h 1737360"/>
                    <a:gd name="connsiteX16" fmla="*/ 1940560 w 2184400"/>
                    <a:gd name="connsiteY16" fmla="*/ 1737360 h 1737360"/>
                    <a:gd name="connsiteX17" fmla="*/ 2184400 w 2184400"/>
                    <a:gd name="connsiteY17" fmla="*/ 1209040 h 1737360"/>
                    <a:gd name="connsiteX18" fmla="*/ 2032000 w 2184400"/>
                    <a:gd name="connsiteY18" fmla="*/ 680720 h 1737360"/>
                    <a:gd name="connsiteX19" fmla="*/ 1564640 w 2184400"/>
                    <a:gd name="connsiteY19" fmla="*/ 426720 h 1737360"/>
                    <a:gd name="connsiteX20" fmla="*/ 975360 w 2184400"/>
                    <a:gd name="connsiteY20" fmla="*/ 182880 h 1737360"/>
                    <a:gd name="connsiteX21" fmla="*/ 203200 w 2184400"/>
                    <a:gd name="connsiteY21" fmla="*/ 0 h 1737360"/>
                    <a:gd name="connsiteX22" fmla="*/ 0 w 2184400"/>
                    <a:gd name="connsiteY22" fmla="*/ 325120 h 1737360"/>
                    <a:gd name="connsiteX23" fmla="*/ 215900 w 2184400"/>
                    <a:gd name="connsiteY23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940560 w 2184400"/>
                    <a:gd name="connsiteY16" fmla="*/ 1737360 h 1737360"/>
                    <a:gd name="connsiteX17" fmla="*/ 2184400 w 2184400"/>
                    <a:gd name="connsiteY17" fmla="*/ 1209040 h 1737360"/>
                    <a:gd name="connsiteX18" fmla="*/ 2032000 w 2184400"/>
                    <a:gd name="connsiteY18" fmla="*/ 680720 h 1737360"/>
                    <a:gd name="connsiteX19" fmla="*/ 1564640 w 2184400"/>
                    <a:gd name="connsiteY19" fmla="*/ 426720 h 1737360"/>
                    <a:gd name="connsiteX20" fmla="*/ 975360 w 2184400"/>
                    <a:gd name="connsiteY20" fmla="*/ 182880 h 1737360"/>
                    <a:gd name="connsiteX21" fmla="*/ 203200 w 2184400"/>
                    <a:gd name="connsiteY21" fmla="*/ 0 h 1737360"/>
                    <a:gd name="connsiteX22" fmla="*/ 0 w 2184400"/>
                    <a:gd name="connsiteY22" fmla="*/ 325120 h 1737360"/>
                    <a:gd name="connsiteX23" fmla="*/ 215900 w 2184400"/>
                    <a:gd name="connsiteY23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441450 w 2184400"/>
                    <a:gd name="connsiteY16" fmla="*/ 1506379 h 1737360"/>
                    <a:gd name="connsiteX17" fmla="*/ 1940560 w 2184400"/>
                    <a:gd name="connsiteY17" fmla="*/ 1737360 h 1737360"/>
                    <a:gd name="connsiteX18" fmla="*/ 2184400 w 2184400"/>
                    <a:gd name="connsiteY18" fmla="*/ 1209040 h 1737360"/>
                    <a:gd name="connsiteX19" fmla="*/ 2032000 w 2184400"/>
                    <a:gd name="connsiteY19" fmla="*/ 680720 h 1737360"/>
                    <a:gd name="connsiteX20" fmla="*/ 1564640 w 2184400"/>
                    <a:gd name="connsiteY20" fmla="*/ 426720 h 1737360"/>
                    <a:gd name="connsiteX21" fmla="*/ 975360 w 2184400"/>
                    <a:gd name="connsiteY21" fmla="*/ 182880 h 1737360"/>
                    <a:gd name="connsiteX22" fmla="*/ 203200 w 2184400"/>
                    <a:gd name="connsiteY22" fmla="*/ 0 h 1737360"/>
                    <a:gd name="connsiteX23" fmla="*/ 0 w 2184400"/>
                    <a:gd name="connsiteY23" fmla="*/ 325120 h 1737360"/>
                    <a:gd name="connsiteX24" fmla="*/ 215900 w 2184400"/>
                    <a:gd name="connsiteY24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940560 w 2184400"/>
                    <a:gd name="connsiteY17" fmla="*/ 1737360 h 1737360"/>
                    <a:gd name="connsiteX18" fmla="*/ 2184400 w 2184400"/>
                    <a:gd name="connsiteY18" fmla="*/ 1209040 h 1737360"/>
                    <a:gd name="connsiteX19" fmla="*/ 2032000 w 2184400"/>
                    <a:gd name="connsiteY19" fmla="*/ 680720 h 1737360"/>
                    <a:gd name="connsiteX20" fmla="*/ 1564640 w 2184400"/>
                    <a:gd name="connsiteY20" fmla="*/ 426720 h 1737360"/>
                    <a:gd name="connsiteX21" fmla="*/ 975360 w 2184400"/>
                    <a:gd name="connsiteY21" fmla="*/ 182880 h 1737360"/>
                    <a:gd name="connsiteX22" fmla="*/ 203200 w 2184400"/>
                    <a:gd name="connsiteY22" fmla="*/ 0 h 1737360"/>
                    <a:gd name="connsiteX23" fmla="*/ 0 w 2184400"/>
                    <a:gd name="connsiteY23" fmla="*/ 325120 h 1737360"/>
                    <a:gd name="connsiteX24" fmla="*/ 215900 w 2184400"/>
                    <a:gd name="connsiteY24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505744 w 2184400"/>
                    <a:gd name="connsiteY17" fmla="*/ 1501616 h 1737360"/>
                    <a:gd name="connsiteX18" fmla="*/ 1940560 w 2184400"/>
                    <a:gd name="connsiteY18" fmla="*/ 1737360 h 1737360"/>
                    <a:gd name="connsiteX19" fmla="*/ 2184400 w 2184400"/>
                    <a:gd name="connsiteY19" fmla="*/ 1209040 h 1737360"/>
                    <a:gd name="connsiteX20" fmla="*/ 2032000 w 2184400"/>
                    <a:gd name="connsiteY20" fmla="*/ 680720 h 1737360"/>
                    <a:gd name="connsiteX21" fmla="*/ 1564640 w 2184400"/>
                    <a:gd name="connsiteY21" fmla="*/ 426720 h 1737360"/>
                    <a:gd name="connsiteX22" fmla="*/ 975360 w 2184400"/>
                    <a:gd name="connsiteY22" fmla="*/ 182880 h 1737360"/>
                    <a:gd name="connsiteX23" fmla="*/ 203200 w 2184400"/>
                    <a:gd name="connsiteY23" fmla="*/ 0 h 1737360"/>
                    <a:gd name="connsiteX24" fmla="*/ 0 w 2184400"/>
                    <a:gd name="connsiteY24" fmla="*/ 325120 h 1737360"/>
                    <a:gd name="connsiteX25" fmla="*/ 215900 w 2184400"/>
                    <a:gd name="connsiteY25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940560 w 2184400"/>
                    <a:gd name="connsiteY18" fmla="*/ 1737360 h 1737360"/>
                    <a:gd name="connsiteX19" fmla="*/ 2184400 w 2184400"/>
                    <a:gd name="connsiteY19" fmla="*/ 1209040 h 1737360"/>
                    <a:gd name="connsiteX20" fmla="*/ 2032000 w 2184400"/>
                    <a:gd name="connsiteY20" fmla="*/ 680720 h 1737360"/>
                    <a:gd name="connsiteX21" fmla="*/ 1564640 w 2184400"/>
                    <a:gd name="connsiteY21" fmla="*/ 426720 h 1737360"/>
                    <a:gd name="connsiteX22" fmla="*/ 975360 w 2184400"/>
                    <a:gd name="connsiteY22" fmla="*/ 182880 h 1737360"/>
                    <a:gd name="connsiteX23" fmla="*/ 203200 w 2184400"/>
                    <a:gd name="connsiteY23" fmla="*/ 0 h 1737360"/>
                    <a:gd name="connsiteX24" fmla="*/ 0 w 2184400"/>
                    <a:gd name="connsiteY24" fmla="*/ 325120 h 1737360"/>
                    <a:gd name="connsiteX25" fmla="*/ 215900 w 2184400"/>
                    <a:gd name="connsiteY25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98600 w 2184400"/>
                    <a:gd name="connsiteY18" fmla="*/ 1482566 h 1737360"/>
                    <a:gd name="connsiteX19" fmla="*/ 1940560 w 2184400"/>
                    <a:gd name="connsiteY19" fmla="*/ 1737360 h 1737360"/>
                    <a:gd name="connsiteX20" fmla="*/ 2184400 w 2184400"/>
                    <a:gd name="connsiteY20" fmla="*/ 1209040 h 1737360"/>
                    <a:gd name="connsiteX21" fmla="*/ 2032000 w 2184400"/>
                    <a:gd name="connsiteY21" fmla="*/ 680720 h 1737360"/>
                    <a:gd name="connsiteX22" fmla="*/ 1564640 w 2184400"/>
                    <a:gd name="connsiteY22" fmla="*/ 426720 h 1737360"/>
                    <a:gd name="connsiteX23" fmla="*/ 975360 w 2184400"/>
                    <a:gd name="connsiteY23" fmla="*/ 182880 h 1737360"/>
                    <a:gd name="connsiteX24" fmla="*/ 203200 w 2184400"/>
                    <a:gd name="connsiteY24" fmla="*/ 0 h 1737360"/>
                    <a:gd name="connsiteX25" fmla="*/ 0 w 2184400"/>
                    <a:gd name="connsiteY25" fmla="*/ 325120 h 1737360"/>
                    <a:gd name="connsiteX26" fmla="*/ 215900 w 2184400"/>
                    <a:gd name="connsiteY26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940560 w 2184400"/>
                    <a:gd name="connsiteY19" fmla="*/ 1737360 h 1737360"/>
                    <a:gd name="connsiteX20" fmla="*/ 2184400 w 2184400"/>
                    <a:gd name="connsiteY20" fmla="*/ 1209040 h 1737360"/>
                    <a:gd name="connsiteX21" fmla="*/ 2032000 w 2184400"/>
                    <a:gd name="connsiteY21" fmla="*/ 680720 h 1737360"/>
                    <a:gd name="connsiteX22" fmla="*/ 1564640 w 2184400"/>
                    <a:gd name="connsiteY22" fmla="*/ 426720 h 1737360"/>
                    <a:gd name="connsiteX23" fmla="*/ 975360 w 2184400"/>
                    <a:gd name="connsiteY23" fmla="*/ 182880 h 1737360"/>
                    <a:gd name="connsiteX24" fmla="*/ 203200 w 2184400"/>
                    <a:gd name="connsiteY24" fmla="*/ 0 h 1737360"/>
                    <a:gd name="connsiteX25" fmla="*/ 0 w 2184400"/>
                    <a:gd name="connsiteY25" fmla="*/ 325120 h 1737360"/>
                    <a:gd name="connsiteX26" fmla="*/ 215900 w 2184400"/>
                    <a:gd name="connsiteY26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536700 w 2184400"/>
                    <a:gd name="connsiteY19" fmla="*/ 1299210 h 1737360"/>
                    <a:gd name="connsiteX20" fmla="*/ 1940560 w 2184400"/>
                    <a:gd name="connsiteY20" fmla="*/ 1737360 h 1737360"/>
                    <a:gd name="connsiteX21" fmla="*/ 2184400 w 2184400"/>
                    <a:gd name="connsiteY21" fmla="*/ 1209040 h 1737360"/>
                    <a:gd name="connsiteX22" fmla="*/ 2032000 w 2184400"/>
                    <a:gd name="connsiteY22" fmla="*/ 680720 h 1737360"/>
                    <a:gd name="connsiteX23" fmla="*/ 1564640 w 2184400"/>
                    <a:gd name="connsiteY23" fmla="*/ 426720 h 1737360"/>
                    <a:gd name="connsiteX24" fmla="*/ 975360 w 2184400"/>
                    <a:gd name="connsiteY24" fmla="*/ 182880 h 1737360"/>
                    <a:gd name="connsiteX25" fmla="*/ 203200 w 2184400"/>
                    <a:gd name="connsiteY25" fmla="*/ 0 h 1737360"/>
                    <a:gd name="connsiteX26" fmla="*/ 0 w 2184400"/>
                    <a:gd name="connsiteY26" fmla="*/ 325120 h 1737360"/>
                    <a:gd name="connsiteX27" fmla="*/ 215900 w 2184400"/>
                    <a:gd name="connsiteY27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940560 w 2184400"/>
                    <a:gd name="connsiteY20" fmla="*/ 1737360 h 1737360"/>
                    <a:gd name="connsiteX21" fmla="*/ 2184400 w 2184400"/>
                    <a:gd name="connsiteY21" fmla="*/ 1209040 h 1737360"/>
                    <a:gd name="connsiteX22" fmla="*/ 2032000 w 2184400"/>
                    <a:gd name="connsiteY22" fmla="*/ 680720 h 1737360"/>
                    <a:gd name="connsiteX23" fmla="*/ 1564640 w 2184400"/>
                    <a:gd name="connsiteY23" fmla="*/ 426720 h 1737360"/>
                    <a:gd name="connsiteX24" fmla="*/ 975360 w 2184400"/>
                    <a:gd name="connsiteY24" fmla="*/ 182880 h 1737360"/>
                    <a:gd name="connsiteX25" fmla="*/ 203200 w 2184400"/>
                    <a:gd name="connsiteY25" fmla="*/ 0 h 1737360"/>
                    <a:gd name="connsiteX26" fmla="*/ 0 w 2184400"/>
                    <a:gd name="connsiteY26" fmla="*/ 325120 h 1737360"/>
                    <a:gd name="connsiteX27" fmla="*/ 215900 w 2184400"/>
                    <a:gd name="connsiteY27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593850 w 2184400"/>
                    <a:gd name="connsiteY20" fmla="*/ 1415891 h 1737360"/>
                    <a:gd name="connsiteX21" fmla="*/ 1940560 w 2184400"/>
                    <a:gd name="connsiteY21" fmla="*/ 1737360 h 1737360"/>
                    <a:gd name="connsiteX22" fmla="*/ 2184400 w 2184400"/>
                    <a:gd name="connsiteY22" fmla="*/ 1209040 h 1737360"/>
                    <a:gd name="connsiteX23" fmla="*/ 2032000 w 2184400"/>
                    <a:gd name="connsiteY23" fmla="*/ 680720 h 1737360"/>
                    <a:gd name="connsiteX24" fmla="*/ 1564640 w 2184400"/>
                    <a:gd name="connsiteY24" fmla="*/ 426720 h 1737360"/>
                    <a:gd name="connsiteX25" fmla="*/ 975360 w 2184400"/>
                    <a:gd name="connsiteY25" fmla="*/ 182880 h 1737360"/>
                    <a:gd name="connsiteX26" fmla="*/ 203200 w 2184400"/>
                    <a:gd name="connsiteY26" fmla="*/ 0 h 1737360"/>
                    <a:gd name="connsiteX27" fmla="*/ 0 w 2184400"/>
                    <a:gd name="connsiteY27" fmla="*/ 325120 h 1737360"/>
                    <a:gd name="connsiteX28" fmla="*/ 215900 w 2184400"/>
                    <a:gd name="connsiteY28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508125 w 2184400"/>
                    <a:gd name="connsiteY20" fmla="*/ 1242060 h 1737360"/>
                    <a:gd name="connsiteX21" fmla="*/ 1940560 w 2184400"/>
                    <a:gd name="connsiteY21" fmla="*/ 1737360 h 1737360"/>
                    <a:gd name="connsiteX22" fmla="*/ 2184400 w 2184400"/>
                    <a:gd name="connsiteY22" fmla="*/ 1209040 h 1737360"/>
                    <a:gd name="connsiteX23" fmla="*/ 2032000 w 2184400"/>
                    <a:gd name="connsiteY23" fmla="*/ 680720 h 1737360"/>
                    <a:gd name="connsiteX24" fmla="*/ 1564640 w 2184400"/>
                    <a:gd name="connsiteY24" fmla="*/ 426720 h 1737360"/>
                    <a:gd name="connsiteX25" fmla="*/ 975360 w 2184400"/>
                    <a:gd name="connsiteY25" fmla="*/ 182880 h 1737360"/>
                    <a:gd name="connsiteX26" fmla="*/ 203200 w 2184400"/>
                    <a:gd name="connsiteY26" fmla="*/ 0 h 1737360"/>
                    <a:gd name="connsiteX27" fmla="*/ 0 w 2184400"/>
                    <a:gd name="connsiteY27" fmla="*/ 325120 h 1737360"/>
                    <a:gd name="connsiteX28" fmla="*/ 215900 w 2184400"/>
                    <a:gd name="connsiteY28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508125 w 2184400"/>
                    <a:gd name="connsiteY20" fmla="*/ 1242060 h 1737360"/>
                    <a:gd name="connsiteX21" fmla="*/ 1627188 w 2184400"/>
                    <a:gd name="connsiteY21" fmla="*/ 1377791 h 1737360"/>
                    <a:gd name="connsiteX22" fmla="*/ 1940560 w 2184400"/>
                    <a:gd name="connsiteY22" fmla="*/ 1737360 h 1737360"/>
                    <a:gd name="connsiteX23" fmla="*/ 2184400 w 2184400"/>
                    <a:gd name="connsiteY23" fmla="*/ 1209040 h 1737360"/>
                    <a:gd name="connsiteX24" fmla="*/ 2032000 w 2184400"/>
                    <a:gd name="connsiteY24" fmla="*/ 680720 h 1737360"/>
                    <a:gd name="connsiteX25" fmla="*/ 1564640 w 2184400"/>
                    <a:gd name="connsiteY25" fmla="*/ 426720 h 1737360"/>
                    <a:gd name="connsiteX26" fmla="*/ 975360 w 2184400"/>
                    <a:gd name="connsiteY26" fmla="*/ 182880 h 1737360"/>
                    <a:gd name="connsiteX27" fmla="*/ 203200 w 2184400"/>
                    <a:gd name="connsiteY27" fmla="*/ 0 h 1737360"/>
                    <a:gd name="connsiteX28" fmla="*/ 0 w 2184400"/>
                    <a:gd name="connsiteY28" fmla="*/ 325120 h 1737360"/>
                    <a:gd name="connsiteX29" fmla="*/ 215900 w 2184400"/>
                    <a:gd name="connsiteY29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508125 w 2184400"/>
                    <a:gd name="connsiteY20" fmla="*/ 1242060 h 1737360"/>
                    <a:gd name="connsiteX21" fmla="*/ 1546225 w 2184400"/>
                    <a:gd name="connsiteY21" fmla="*/ 1299210 h 1737360"/>
                    <a:gd name="connsiteX22" fmla="*/ 1940560 w 2184400"/>
                    <a:gd name="connsiteY22" fmla="*/ 1737360 h 1737360"/>
                    <a:gd name="connsiteX23" fmla="*/ 2184400 w 2184400"/>
                    <a:gd name="connsiteY23" fmla="*/ 1209040 h 1737360"/>
                    <a:gd name="connsiteX24" fmla="*/ 2032000 w 2184400"/>
                    <a:gd name="connsiteY24" fmla="*/ 680720 h 1737360"/>
                    <a:gd name="connsiteX25" fmla="*/ 1564640 w 2184400"/>
                    <a:gd name="connsiteY25" fmla="*/ 426720 h 1737360"/>
                    <a:gd name="connsiteX26" fmla="*/ 975360 w 2184400"/>
                    <a:gd name="connsiteY26" fmla="*/ 182880 h 1737360"/>
                    <a:gd name="connsiteX27" fmla="*/ 203200 w 2184400"/>
                    <a:gd name="connsiteY27" fmla="*/ 0 h 1737360"/>
                    <a:gd name="connsiteX28" fmla="*/ 0 w 2184400"/>
                    <a:gd name="connsiteY28" fmla="*/ 325120 h 1737360"/>
                    <a:gd name="connsiteX29" fmla="*/ 215900 w 2184400"/>
                    <a:gd name="connsiteY29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491456 w 2184400"/>
                    <a:gd name="connsiteY20" fmla="*/ 1249204 h 1737360"/>
                    <a:gd name="connsiteX21" fmla="*/ 1546225 w 2184400"/>
                    <a:gd name="connsiteY21" fmla="*/ 1299210 h 1737360"/>
                    <a:gd name="connsiteX22" fmla="*/ 1940560 w 2184400"/>
                    <a:gd name="connsiteY22" fmla="*/ 1737360 h 1737360"/>
                    <a:gd name="connsiteX23" fmla="*/ 2184400 w 2184400"/>
                    <a:gd name="connsiteY23" fmla="*/ 1209040 h 1737360"/>
                    <a:gd name="connsiteX24" fmla="*/ 2032000 w 2184400"/>
                    <a:gd name="connsiteY24" fmla="*/ 680720 h 1737360"/>
                    <a:gd name="connsiteX25" fmla="*/ 1564640 w 2184400"/>
                    <a:gd name="connsiteY25" fmla="*/ 426720 h 1737360"/>
                    <a:gd name="connsiteX26" fmla="*/ 975360 w 2184400"/>
                    <a:gd name="connsiteY26" fmla="*/ 182880 h 1737360"/>
                    <a:gd name="connsiteX27" fmla="*/ 203200 w 2184400"/>
                    <a:gd name="connsiteY27" fmla="*/ 0 h 1737360"/>
                    <a:gd name="connsiteX28" fmla="*/ 0 w 2184400"/>
                    <a:gd name="connsiteY28" fmla="*/ 325120 h 1737360"/>
                    <a:gd name="connsiteX29" fmla="*/ 215900 w 2184400"/>
                    <a:gd name="connsiteY29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491456 w 2184400"/>
                    <a:gd name="connsiteY20" fmla="*/ 1249204 h 1737360"/>
                    <a:gd name="connsiteX21" fmla="*/ 1546225 w 2184400"/>
                    <a:gd name="connsiteY21" fmla="*/ 1299210 h 1737360"/>
                    <a:gd name="connsiteX22" fmla="*/ 1684338 w 2184400"/>
                    <a:gd name="connsiteY22" fmla="*/ 1446848 h 1737360"/>
                    <a:gd name="connsiteX23" fmla="*/ 1940560 w 2184400"/>
                    <a:gd name="connsiteY23" fmla="*/ 1737360 h 1737360"/>
                    <a:gd name="connsiteX24" fmla="*/ 2184400 w 2184400"/>
                    <a:gd name="connsiteY24" fmla="*/ 1209040 h 1737360"/>
                    <a:gd name="connsiteX25" fmla="*/ 2032000 w 2184400"/>
                    <a:gd name="connsiteY25" fmla="*/ 680720 h 1737360"/>
                    <a:gd name="connsiteX26" fmla="*/ 1564640 w 2184400"/>
                    <a:gd name="connsiteY26" fmla="*/ 426720 h 1737360"/>
                    <a:gd name="connsiteX27" fmla="*/ 975360 w 2184400"/>
                    <a:gd name="connsiteY27" fmla="*/ 182880 h 1737360"/>
                    <a:gd name="connsiteX28" fmla="*/ 203200 w 2184400"/>
                    <a:gd name="connsiteY28" fmla="*/ 0 h 1737360"/>
                    <a:gd name="connsiteX29" fmla="*/ 0 w 2184400"/>
                    <a:gd name="connsiteY29" fmla="*/ 325120 h 1737360"/>
                    <a:gd name="connsiteX30" fmla="*/ 215900 w 2184400"/>
                    <a:gd name="connsiteY30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491456 w 2184400"/>
                    <a:gd name="connsiteY20" fmla="*/ 1249204 h 1737360"/>
                    <a:gd name="connsiteX21" fmla="*/ 1546225 w 2184400"/>
                    <a:gd name="connsiteY21" fmla="*/ 1299210 h 1737360"/>
                    <a:gd name="connsiteX22" fmla="*/ 1593850 w 2184400"/>
                    <a:gd name="connsiteY22" fmla="*/ 1282542 h 1737360"/>
                    <a:gd name="connsiteX23" fmla="*/ 1940560 w 2184400"/>
                    <a:gd name="connsiteY23" fmla="*/ 1737360 h 1737360"/>
                    <a:gd name="connsiteX24" fmla="*/ 2184400 w 2184400"/>
                    <a:gd name="connsiteY24" fmla="*/ 1209040 h 1737360"/>
                    <a:gd name="connsiteX25" fmla="*/ 2032000 w 2184400"/>
                    <a:gd name="connsiteY25" fmla="*/ 680720 h 1737360"/>
                    <a:gd name="connsiteX26" fmla="*/ 1564640 w 2184400"/>
                    <a:gd name="connsiteY26" fmla="*/ 426720 h 1737360"/>
                    <a:gd name="connsiteX27" fmla="*/ 975360 w 2184400"/>
                    <a:gd name="connsiteY27" fmla="*/ 182880 h 1737360"/>
                    <a:gd name="connsiteX28" fmla="*/ 203200 w 2184400"/>
                    <a:gd name="connsiteY28" fmla="*/ 0 h 1737360"/>
                    <a:gd name="connsiteX29" fmla="*/ 0 w 2184400"/>
                    <a:gd name="connsiteY29" fmla="*/ 325120 h 1737360"/>
                    <a:gd name="connsiteX30" fmla="*/ 215900 w 2184400"/>
                    <a:gd name="connsiteY30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491456 w 2184400"/>
                    <a:gd name="connsiteY20" fmla="*/ 1249204 h 1737360"/>
                    <a:gd name="connsiteX21" fmla="*/ 1550988 w 2184400"/>
                    <a:gd name="connsiteY21" fmla="*/ 1289685 h 1737360"/>
                    <a:gd name="connsiteX22" fmla="*/ 1593850 w 2184400"/>
                    <a:gd name="connsiteY22" fmla="*/ 1282542 h 1737360"/>
                    <a:gd name="connsiteX23" fmla="*/ 1940560 w 2184400"/>
                    <a:gd name="connsiteY23" fmla="*/ 1737360 h 1737360"/>
                    <a:gd name="connsiteX24" fmla="*/ 2184400 w 2184400"/>
                    <a:gd name="connsiteY24" fmla="*/ 1209040 h 1737360"/>
                    <a:gd name="connsiteX25" fmla="*/ 2032000 w 2184400"/>
                    <a:gd name="connsiteY25" fmla="*/ 680720 h 1737360"/>
                    <a:gd name="connsiteX26" fmla="*/ 1564640 w 2184400"/>
                    <a:gd name="connsiteY26" fmla="*/ 426720 h 1737360"/>
                    <a:gd name="connsiteX27" fmla="*/ 975360 w 2184400"/>
                    <a:gd name="connsiteY27" fmla="*/ 182880 h 1737360"/>
                    <a:gd name="connsiteX28" fmla="*/ 203200 w 2184400"/>
                    <a:gd name="connsiteY28" fmla="*/ 0 h 1737360"/>
                    <a:gd name="connsiteX29" fmla="*/ 0 w 2184400"/>
                    <a:gd name="connsiteY29" fmla="*/ 325120 h 1737360"/>
                    <a:gd name="connsiteX30" fmla="*/ 215900 w 2184400"/>
                    <a:gd name="connsiteY30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491456 w 2184400"/>
                    <a:gd name="connsiteY20" fmla="*/ 1249204 h 1737360"/>
                    <a:gd name="connsiteX21" fmla="*/ 1550988 w 2184400"/>
                    <a:gd name="connsiteY21" fmla="*/ 1289685 h 1737360"/>
                    <a:gd name="connsiteX22" fmla="*/ 1593850 w 2184400"/>
                    <a:gd name="connsiteY22" fmla="*/ 1282542 h 1737360"/>
                    <a:gd name="connsiteX23" fmla="*/ 1705769 w 2184400"/>
                    <a:gd name="connsiteY23" fmla="*/ 1425416 h 1737360"/>
                    <a:gd name="connsiteX24" fmla="*/ 1940560 w 2184400"/>
                    <a:gd name="connsiteY24" fmla="*/ 1737360 h 1737360"/>
                    <a:gd name="connsiteX25" fmla="*/ 2184400 w 2184400"/>
                    <a:gd name="connsiteY25" fmla="*/ 1209040 h 1737360"/>
                    <a:gd name="connsiteX26" fmla="*/ 2032000 w 2184400"/>
                    <a:gd name="connsiteY26" fmla="*/ 680720 h 1737360"/>
                    <a:gd name="connsiteX27" fmla="*/ 1564640 w 2184400"/>
                    <a:gd name="connsiteY27" fmla="*/ 426720 h 1737360"/>
                    <a:gd name="connsiteX28" fmla="*/ 975360 w 2184400"/>
                    <a:gd name="connsiteY28" fmla="*/ 182880 h 1737360"/>
                    <a:gd name="connsiteX29" fmla="*/ 203200 w 2184400"/>
                    <a:gd name="connsiteY29" fmla="*/ 0 h 1737360"/>
                    <a:gd name="connsiteX30" fmla="*/ 0 w 2184400"/>
                    <a:gd name="connsiteY30" fmla="*/ 325120 h 1737360"/>
                    <a:gd name="connsiteX31" fmla="*/ 215900 w 2184400"/>
                    <a:gd name="connsiteY31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491456 w 2184400"/>
                    <a:gd name="connsiteY20" fmla="*/ 1249204 h 1737360"/>
                    <a:gd name="connsiteX21" fmla="*/ 1550988 w 2184400"/>
                    <a:gd name="connsiteY21" fmla="*/ 1289685 h 1737360"/>
                    <a:gd name="connsiteX22" fmla="*/ 1593850 w 2184400"/>
                    <a:gd name="connsiteY22" fmla="*/ 1282542 h 1737360"/>
                    <a:gd name="connsiteX23" fmla="*/ 1615282 w 2184400"/>
                    <a:gd name="connsiteY23" fmla="*/ 1451610 h 1737360"/>
                    <a:gd name="connsiteX24" fmla="*/ 1940560 w 2184400"/>
                    <a:gd name="connsiteY24" fmla="*/ 1737360 h 1737360"/>
                    <a:gd name="connsiteX25" fmla="*/ 2184400 w 2184400"/>
                    <a:gd name="connsiteY25" fmla="*/ 1209040 h 1737360"/>
                    <a:gd name="connsiteX26" fmla="*/ 2032000 w 2184400"/>
                    <a:gd name="connsiteY26" fmla="*/ 680720 h 1737360"/>
                    <a:gd name="connsiteX27" fmla="*/ 1564640 w 2184400"/>
                    <a:gd name="connsiteY27" fmla="*/ 426720 h 1737360"/>
                    <a:gd name="connsiteX28" fmla="*/ 975360 w 2184400"/>
                    <a:gd name="connsiteY28" fmla="*/ 182880 h 1737360"/>
                    <a:gd name="connsiteX29" fmla="*/ 203200 w 2184400"/>
                    <a:gd name="connsiteY29" fmla="*/ 0 h 1737360"/>
                    <a:gd name="connsiteX30" fmla="*/ 0 w 2184400"/>
                    <a:gd name="connsiteY30" fmla="*/ 325120 h 1737360"/>
                    <a:gd name="connsiteX31" fmla="*/ 215900 w 2184400"/>
                    <a:gd name="connsiteY31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491456 w 2184400"/>
                    <a:gd name="connsiteY20" fmla="*/ 1249204 h 1737360"/>
                    <a:gd name="connsiteX21" fmla="*/ 1550988 w 2184400"/>
                    <a:gd name="connsiteY21" fmla="*/ 1289685 h 1737360"/>
                    <a:gd name="connsiteX22" fmla="*/ 1593850 w 2184400"/>
                    <a:gd name="connsiteY22" fmla="*/ 1282542 h 1737360"/>
                    <a:gd name="connsiteX23" fmla="*/ 1615282 w 2184400"/>
                    <a:gd name="connsiteY23" fmla="*/ 1451610 h 1737360"/>
                    <a:gd name="connsiteX24" fmla="*/ 1774825 w 2184400"/>
                    <a:gd name="connsiteY24" fmla="*/ 1596866 h 1737360"/>
                    <a:gd name="connsiteX25" fmla="*/ 1940560 w 2184400"/>
                    <a:gd name="connsiteY25" fmla="*/ 1737360 h 1737360"/>
                    <a:gd name="connsiteX26" fmla="*/ 2184400 w 2184400"/>
                    <a:gd name="connsiteY26" fmla="*/ 1209040 h 1737360"/>
                    <a:gd name="connsiteX27" fmla="*/ 2032000 w 2184400"/>
                    <a:gd name="connsiteY27" fmla="*/ 680720 h 1737360"/>
                    <a:gd name="connsiteX28" fmla="*/ 1564640 w 2184400"/>
                    <a:gd name="connsiteY28" fmla="*/ 426720 h 1737360"/>
                    <a:gd name="connsiteX29" fmla="*/ 975360 w 2184400"/>
                    <a:gd name="connsiteY29" fmla="*/ 182880 h 1737360"/>
                    <a:gd name="connsiteX30" fmla="*/ 203200 w 2184400"/>
                    <a:gd name="connsiteY30" fmla="*/ 0 h 1737360"/>
                    <a:gd name="connsiteX31" fmla="*/ 0 w 2184400"/>
                    <a:gd name="connsiteY31" fmla="*/ 325120 h 1737360"/>
                    <a:gd name="connsiteX32" fmla="*/ 215900 w 2184400"/>
                    <a:gd name="connsiteY32" fmla="*/ 1191895 h 1737360"/>
                    <a:gd name="connsiteX0" fmla="*/ 215900 w 2184400"/>
                    <a:gd name="connsiteY0" fmla="*/ 1191895 h 1737360"/>
                    <a:gd name="connsiteX1" fmla="*/ 296068 w 2184400"/>
                    <a:gd name="connsiteY1" fmla="*/ 1237297 h 1737360"/>
                    <a:gd name="connsiteX2" fmla="*/ 366712 w 2184400"/>
                    <a:gd name="connsiteY2" fmla="*/ 1347629 h 1737360"/>
                    <a:gd name="connsiteX3" fmla="*/ 569912 w 2184400"/>
                    <a:gd name="connsiteY3" fmla="*/ 1282541 h 1737360"/>
                    <a:gd name="connsiteX4" fmla="*/ 715169 w 2184400"/>
                    <a:gd name="connsiteY4" fmla="*/ 1282541 h 1737360"/>
                    <a:gd name="connsiteX5" fmla="*/ 750888 w 2184400"/>
                    <a:gd name="connsiteY5" fmla="*/ 1308735 h 1737360"/>
                    <a:gd name="connsiteX6" fmla="*/ 800893 w 2184400"/>
                    <a:gd name="connsiteY6" fmla="*/ 1301591 h 1737360"/>
                    <a:gd name="connsiteX7" fmla="*/ 805657 w 2184400"/>
                    <a:gd name="connsiteY7" fmla="*/ 1356361 h 1737360"/>
                    <a:gd name="connsiteX8" fmla="*/ 924720 w 2184400"/>
                    <a:gd name="connsiteY8" fmla="*/ 1430179 h 1737360"/>
                    <a:gd name="connsiteX9" fmla="*/ 943769 w 2184400"/>
                    <a:gd name="connsiteY9" fmla="*/ 1415891 h 1737360"/>
                    <a:gd name="connsiteX10" fmla="*/ 1042511 w 2184400"/>
                    <a:gd name="connsiteY10" fmla="*/ 1473042 h 1737360"/>
                    <a:gd name="connsiteX11" fmla="*/ 1029493 w 2184400"/>
                    <a:gd name="connsiteY11" fmla="*/ 1558766 h 1737360"/>
                    <a:gd name="connsiteX12" fmla="*/ 1081881 w 2184400"/>
                    <a:gd name="connsiteY12" fmla="*/ 1623059 h 1737360"/>
                    <a:gd name="connsiteX13" fmla="*/ 1162844 w 2184400"/>
                    <a:gd name="connsiteY13" fmla="*/ 1537335 h 1737360"/>
                    <a:gd name="connsiteX14" fmla="*/ 1160462 w 2184400"/>
                    <a:gd name="connsiteY14" fmla="*/ 1458754 h 1737360"/>
                    <a:gd name="connsiteX15" fmla="*/ 1093787 w 2184400"/>
                    <a:gd name="connsiteY15" fmla="*/ 1353979 h 1737360"/>
                    <a:gd name="connsiteX16" fmla="*/ 1108075 w 2184400"/>
                    <a:gd name="connsiteY16" fmla="*/ 1296829 h 1737360"/>
                    <a:gd name="connsiteX17" fmla="*/ 1103313 w 2184400"/>
                    <a:gd name="connsiteY17" fmla="*/ 1249204 h 1737360"/>
                    <a:gd name="connsiteX18" fmla="*/ 1443831 w 2184400"/>
                    <a:gd name="connsiteY18" fmla="*/ 1208722 h 1737360"/>
                    <a:gd name="connsiteX19" fmla="*/ 1448594 w 2184400"/>
                    <a:gd name="connsiteY19" fmla="*/ 1275398 h 1737360"/>
                    <a:gd name="connsiteX20" fmla="*/ 1491456 w 2184400"/>
                    <a:gd name="connsiteY20" fmla="*/ 1249204 h 1737360"/>
                    <a:gd name="connsiteX21" fmla="*/ 1550988 w 2184400"/>
                    <a:gd name="connsiteY21" fmla="*/ 1289685 h 1737360"/>
                    <a:gd name="connsiteX22" fmla="*/ 1593850 w 2184400"/>
                    <a:gd name="connsiteY22" fmla="*/ 1282542 h 1737360"/>
                    <a:gd name="connsiteX23" fmla="*/ 1615282 w 2184400"/>
                    <a:gd name="connsiteY23" fmla="*/ 1451610 h 1737360"/>
                    <a:gd name="connsiteX24" fmla="*/ 1789113 w 2184400"/>
                    <a:gd name="connsiteY24" fmla="*/ 1365884 h 1737360"/>
                    <a:gd name="connsiteX25" fmla="*/ 1940560 w 2184400"/>
                    <a:gd name="connsiteY25" fmla="*/ 1737360 h 1737360"/>
                    <a:gd name="connsiteX26" fmla="*/ 2184400 w 2184400"/>
                    <a:gd name="connsiteY26" fmla="*/ 1209040 h 1737360"/>
                    <a:gd name="connsiteX27" fmla="*/ 2032000 w 2184400"/>
                    <a:gd name="connsiteY27" fmla="*/ 680720 h 1737360"/>
                    <a:gd name="connsiteX28" fmla="*/ 1564640 w 2184400"/>
                    <a:gd name="connsiteY28" fmla="*/ 426720 h 1737360"/>
                    <a:gd name="connsiteX29" fmla="*/ 975360 w 2184400"/>
                    <a:gd name="connsiteY29" fmla="*/ 182880 h 1737360"/>
                    <a:gd name="connsiteX30" fmla="*/ 203200 w 2184400"/>
                    <a:gd name="connsiteY30" fmla="*/ 0 h 1737360"/>
                    <a:gd name="connsiteX31" fmla="*/ 0 w 2184400"/>
                    <a:gd name="connsiteY31" fmla="*/ 325120 h 1737360"/>
                    <a:gd name="connsiteX32" fmla="*/ 215900 w 2184400"/>
                    <a:gd name="connsiteY32" fmla="*/ 1191895 h 1737360"/>
                    <a:gd name="connsiteX0" fmla="*/ 215900 w 2184400"/>
                    <a:gd name="connsiteY0" fmla="*/ 1191895 h 1623059"/>
                    <a:gd name="connsiteX1" fmla="*/ 296068 w 2184400"/>
                    <a:gd name="connsiteY1" fmla="*/ 1237297 h 1623059"/>
                    <a:gd name="connsiteX2" fmla="*/ 366712 w 2184400"/>
                    <a:gd name="connsiteY2" fmla="*/ 1347629 h 1623059"/>
                    <a:gd name="connsiteX3" fmla="*/ 569912 w 2184400"/>
                    <a:gd name="connsiteY3" fmla="*/ 1282541 h 1623059"/>
                    <a:gd name="connsiteX4" fmla="*/ 715169 w 2184400"/>
                    <a:gd name="connsiteY4" fmla="*/ 1282541 h 1623059"/>
                    <a:gd name="connsiteX5" fmla="*/ 750888 w 2184400"/>
                    <a:gd name="connsiteY5" fmla="*/ 1308735 h 1623059"/>
                    <a:gd name="connsiteX6" fmla="*/ 800893 w 2184400"/>
                    <a:gd name="connsiteY6" fmla="*/ 1301591 h 1623059"/>
                    <a:gd name="connsiteX7" fmla="*/ 805657 w 2184400"/>
                    <a:gd name="connsiteY7" fmla="*/ 1356361 h 1623059"/>
                    <a:gd name="connsiteX8" fmla="*/ 924720 w 2184400"/>
                    <a:gd name="connsiteY8" fmla="*/ 1430179 h 1623059"/>
                    <a:gd name="connsiteX9" fmla="*/ 943769 w 2184400"/>
                    <a:gd name="connsiteY9" fmla="*/ 1415891 h 1623059"/>
                    <a:gd name="connsiteX10" fmla="*/ 1042511 w 2184400"/>
                    <a:gd name="connsiteY10" fmla="*/ 1473042 h 1623059"/>
                    <a:gd name="connsiteX11" fmla="*/ 1029493 w 2184400"/>
                    <a:gd name="connsiteY11" fmla="*/ 1558766 h 1623059"/>
                    <a:gd name="connsiteX12" fmla="*/ 1081881 w 2184400"/>
                    <a:gd name="connsiteY12" fmla="*/ 1623059 h 1623059"/>
                    <a:gd name="connsiteX13" fmla="*/ 1162844 w 2184400"/>
                    <a:gd name="connsiteY13" fmla="*/ 1537335 h 1623059"/>
                    <a:gd name="connsiteX14" fmla="*/ 1160462 w 2184400"/>
                    <a:gd name="connsiteY14" fmla="*/ 1458754 h 1623059"/>
                    <a:gd name="connsiteX15" fmla="*/ 1093787 w 2184400"/>
                    <a:gd name="connsiteY15" fmla="*/ 1353979 h 1623059"/>
                    <a:gd name="connsiteX16" fmla="*/ 1108075 w 2184400"/>
                    <a:gd name="connsiteY16" fmla="*/ 1296829 h 1623059"/>
                    <a:gd name="connsiteX17" fmla="*/ 1103313 w 2184400"/>
                    <a:gd name="connsiteY17" fmla="*/ 1249204 h 1623059"/>
                    <a:gd name="connsiteX18" fmla="*/ 1443831 w 2184400"/>
                    <a:gd name="connsiteY18" fmla="*/ 1208722 h 1623059"/>
                    <a:gd name="connsiteX19" fmla="*/ 1448594 w 2184400"/>
                    <a:gd name="connsiteY19" fmla="*/ 1275398 h 1623059"/>
                    <a:gd name="connsiteX20" fmla="*/ 1491456 w 2184400"/>
                    <a:gd name="connsiteY20" fmla="*/ 1249204 h 1623059"/>
                    <a:gd name="connsiteX21" fmla="*/ 1550988 w 2184400"/>
                    <a:gd name="connsiteY21" fmla="*/ 1289685 h 1623059"/>
                    <a:gd name="connsiteX22" fmla="*/ 1593850 w 2184400"/>
                    <a:gd name="connsiteY22" fmla="*/ 1282542 h 1623059"/>
                    <a:gd name="connsiteX23" fmla="*/ 1615282 w 2184400"/>
                    <a:gd name="connsiteY23" fmla="*/ 1451610 h 1623059"/>
                    <a:gd name="connsiteX24" fmla="*/ 1789113 w 2184400"/>
                    <a:gd name="connsiteY24" fmla="*/ 1365884 h 1623059"/>
                    <a:gd name="connsiteX25" fmla="*/ 1814354 w 2184400"/>
                    <a:gd name="connsiteY25" fmla="*/ 1244441 h 1623059"/>
                    <a:gd name="connsiteX26" fmla="*/ 2184400 w 2184400"/>
                    <a:gd name="connsiteY26" fmla="*/ 1209040 h 1623059"/>
                    <a:gd name="connsiteX27" fmla="*/ 2032000 w 2184400"/>
                    <a:gd name="connsiteY27" fmla="*/ 680720 h 1623059"/>
                    <a:gd name="connsiteX28" fmla="*/ 1564640 w 2184400"/>
                    <a:gd name="connsiteY28" fmla="*/ 426720 h 1623059"/>
                    <a:gd name="connsiteX29" fmla="*/ 975360 w 2184400"/>
                    <a:gd name="connsiteY29" fmla="*/ 182880 h 1623059"/>
                    <a:gd name="connsiteX30" fmla="*/ 203200 w 2184400"/>
                    <a:gd name="connsiteY30" fmla="*/ 0 h 1623059"/>
                    <a:gd name="connsiteX31" fmla="*/ 0 w 2184400"/>
                    <a:gd name="connsiteY31" fmla="*/ 325120 h 1623059"/>
                    <a:gd name="connsiteX32" fmla="*/ 215900 w 2184400"/>
                    <a:gd name="connsiteY32" fmla="*/ 1191895 h 1623059"/>
                    <a:gd name="connsiteX0" fmla="*/ 215900 w 2184400"/>
                    <a:gd name="connsiteY0" fmla="*/ 1191895 h 1623059"/>
                    <a:gd name="connsiteX1" fmla="*/ 296068 w 2184400"/>
                    <a:gd name="connsiteY1" fmla="*/ 1237297 h 1623059"/>
                    <a:gd name="connsiteX2" fmla="*/ 366712 w 2184400"/>
                    <a:gd name="connsiteY2" fmla="*/ 1347629 h 1623059"/>
                    <a:gd name="connsiteX3" fmla="*/ 569912 w 2184400"/>
                    <a:gd name="connsiteY3" fmla="*/ 1282541 h 1623059"/>
                    <a:gd name="connsiteX4" fmla="*/ 715169 w 2184400"/>
                    <a:gd name="connsiteY4" fmla="*/ 1282541 h 1623059"/>
                    <a:gd name="connsiteX5" fmla="*/ 750888 w 2184400"/>
                    <a:gd name="connsiteY5" fmla="*/ 1308735 h 1623059"/>
                    <a:gd name="connsiteX6" fmla="*/ 800893 w 2184400"/>
                    <a:gd name="connsiteY6" fmla="*/ 1301591 h 1623059"/>
                    <a:gd name="connsiteX7" fmla="*/ 805657 w 2184400"/>
                    <a:gd name="connsiteY7" fmla="*/ 1356361 h 1623059"/>
                    <a:gd name="connsiteX8" fmla="*/ 924720 w 2184400"/>
                    <a:gd name="connsiteY8" fmla="*/ 1430179 h 1623059"/>
                    <a:gd name="connsiteX9" fmla="*/ 943769 w 2184400"/>
                    <a:gd name="connsiteY9" fmla="*/ 1415891 h 1623059"/>
                    <a:gd name="connsiteX10" fmla="*/ 1042511 w 2184400"/>
                    <a:gd name="connsiteY10" fmla="*/ 1473042 h 1623059"/>
                    <a:gd name="connsiteX11" fmla="*/ 1029493 w 2184400"/>
                    <a:gd name="connsiteY11" fmla="*/ 1558766 h 1623059"/>
                    <a:gd name="connsiteX12" fmla="*/ 1081881 w 2184400"/>
                    <a:gd name="connsiteY12" fmla="*/ 1623059 h 1623059"/>
                    <a:gd name="connsiteX13" fmla="*/ 1162844 w 2184400"/>
                    <a:gd name="connsiteY13" fmla="*/ 1537335 h 1623059"/>
                    <a:gd name="connsiteX14" fmla="*/ 1160462 w 2184400"/>
                    <a:gd name="connsiteY14" fmla="*/ 1458754 h 1623059"/>
                    <a:gd name="connsiteX15" fmla="*/ 1093787 w 2184400"/>
                    <a:gd name="connsiteY15" fmla="*/ 1353979 h 1623059"/>
                    <a:gd name="connsiteX16" fmla="*/ 1108075 w 2184400"/>
                    <a:gd name="connsiteY16" fmla="*/ 1296829 h 1623059"/>
                    <a:gd name="connsiteX17" fmla="*/ 1103313 w 2184400"/>
                    <a:gd name="connsiteY17" fmla="*/ 1249204 h 1623059"/>
                    <a:gd name="connsiteX18" fmla="*/ 1443831 w 2184400"/>
                    <a:gd name="connsiteY18" fmla="*/ 1208722 h 1623059"/>
                    <a:gd name="connsiteX19" fmla="*/ 1448594 w 2184400"/>
                    <a:gd name="connsiteY19" fmla="*/ 1275398 h 1623059"/>
                    <a:gd name="connsiteX20" fmla="*/ 1491456 w 2184400"/>
                    <a:gd name="connsiteY20" fmla="*/ 1249204 h 1623059"/>
                    <a:gd name="connsiteX21" fmla="*/ 1550988 w 2184400"/>
                    <a:gd name="connsiteY21" fmla="*/ 1289685 h 1623059"/>
                    <a:gd name="connsiteX22" fmla="*/ 1593850 w 2184400"/>
                    <a:gd name="connsiteY22" fmla="*/ 1282542 h 1623059"/>
                    <a:gd name="connsiteX23" fmla="*/ 1615282 w 2184400"/>
                    <a:gd name="connsiteY23" fmla="*/ 1451610 h 1623059"/>
                    <a:gd name="connsiteX24" fmla="*/ 1789113 w 2184400"/>
                    <a:gd name="connsiteY24" fmla="*/ 1365884 h 1623059"/>
                    <a:gd name="connsiteX25" fmla="*/ 1814354 w 2184400"/>
                    <a:gd name="connsiteY25" fmla="*/ 1244441 h 1623059"/>
                    <a:gd name="connsiteX26" fmla="*/ 1991519 w 2184400"/>
                    <a:gd name="connsiteY26" fmla="*/ 1227774 h 1623059"/>
                    <a:gd name="connsiteX27" fmla="*/ 2184400 w 2184400"/>
                    <a:gd name="connsiteY27" fmla="*/ 1209040 h 1623059"/>
                    <a:gd name="connsiteX28" fmla="*/ 2032000 w 2184400"/>
                    <a:gd name="connsiteY28" fmla="*/ 680720 h 1623059"/>
                    <a:gd name="connsiteX29" fmla="*/ 1564640 w 2184400"/>
                    <a:gd name="connsiteY29" fmla="*/ 426720 h 1623059"/>
                    <a:gd name="connsiteX30" fmla="*/ 975360 w 2184400"/>
                    <a:gd name="connsiteY30" fmla="*/ 182880 h 1623059"/>
                    <a:gd name="connsiteX31" fmla="*/ 203200 w 2184400"/>
                    <a:gd name="connsiteY31" fmla="*/ 0 h 1623059"/>
                    <a:gd name="connsiteX32" fmla="*/ 0 w 2184400"/>
                    <a:gd name="connsiteY32" fmla="*/ 325120 h 1623059"/>
                    <a:gd name="connsiteX33" fmla="*/ 215900 w 2184400"/>
                    <a:gd name="connsiteY33" fmla="*/ 1191895 h 1623059"/>
                    <a:gd name="connsiteX0" fmla="*/ 215900 w 2184400"/>
                    <a:gd name="connsiteY0" fmla="*/ 1191895 h 1623059"/>
                    <a:gd name="connsiteX1" fmla="*/ 296068 w 2184400"/>
                    <a:gd name="connsiteY1" fmla="*/ 1237297 h 1623059"/>
                    <a:gd name="connsiteX2" fmla="*/ 366712 w 2184400"/>
                    <a:gd name="connsiteY2" fmla="*/ 1347629 h 1623059"/>
                    <a:gd name="connsiteX3" fmla="*/ 569912 w 2184400"/>
                    <a:gd name="connsiteY3" fmla="*/ 1282541 h 1623059"/>
                    <a:gd name="connsiteX4" fmla="*/ 715169 w 2184400"/>
                    <a:gd name="connsiteY4" fmla="*/ 1282541 h 1623059"/>
                    <a:gd name="connsiteX5" fmla="*/ 750888 w 2184400"/>
                    <a:gd name="connsiteY5" fmla="*/ 1308735 h 1623059"/>
                    <a:gd name="connsiteX6" fmla="*/ 800893 w 2184400"/>
                    <a:gd name="connsiteY6" fmla="*/ 1301591 h 1623059"/>
                    <a:gd name="connsiteX7" fmla="*/ 805657 w 2184400"/>
                    <a:gd name="connsiteY7" fmla="*/ 1356361 h 1623059"/>
                    <a:gd name="connsiteX8" fmla="*/ 924720 w 2184400"/>
                    <a:gd name="connsiteY8" fmla="*/ 1430179 h 1623059"/>
                    <a:gd name="connsiteX9" fmla="*/ 943769 w 2184400"/>
                    <a:gd name="connsiteY9" fmla="*/ 1415891 h 1623059"/>
                    <a:gd name="connsiteX10" fmla="*/ 1042511 w 2184400"/>
                    <a:gd name="connsiteY10" fmla="*/ 1473042 h 1623059"/>
                    <a:gd name="connsiteX11" fmla="*/ 1029493 w 2184400"/>
                    <a:gd name="connsiteY11" fmla="*/ 1558766 h 1623059"/>
                    <a:gd name="connsiteX12" fmla="*/ 1081881 w 2184400"/>
                    <a:gd name="connsiteY12" fmla="*/ 1623059 h 1623059"/>
                    <a:gd name="connsiteX13" fmla="*/ 1162844 w 2184400"/>
                    <a:gd name="connsiteY13" fmla="*/ 1537335 h 1623059"/>
                    <a:gd name="connsiteX14" fmla="*/ 1160462 w 2184400"/>
                    <a:gd name="connsiteY14" fmla="*/ 1458754 h 1623059"/>
                    <a:gd name="connsiteX15" fmla="*/ 1093787 w 2184400"/>
                    <a:gd name="connsiteY15" fmla="*/ 1353979 h 1623059"/>
                    <a:gd name="connsiteX16" fmla="*/ 1108075 w 2184400"/>
                    <a:gd name="connsiteY16" fmla="*/ 1296829 h 1623059"/>
                    <a:gd name="connsiteX17" fmla="*/ 1103313 w 2184400"/>
                    <a:gd name="connsiteY17" fmla="*/ 1249204 h 1623059"/>
                    <a:gd name="connsiteX18" fmla="*/ 1443831 w 2184400"/>
                    <a:gd name="connsiteY18" fmla="*/ 1208722 h 1623059"/>
                    <a:gd name="connsiteX19" fmla="*/ 1448594 w 2184400"/>
                    <a:gd name="connsiteY19" fmla="*/ 1275398 h 1623059"/>
                    <a:gd name="connsiteX20" fmla="*/ 1491456 w 2184400"/>
                    <a:gd name="connsiteY20" fmla="*/ 1249204 h 1623059"/>
                    <a:gd name="connsiteX21" fmla="*/ 1550988 w 2184400"/>
                    <a:gd name="connsiteY21" fmla="*/ 1289685 h 1623059"/>
                    <a:gd name="connsiteX22" fmla="*/ 1593850 w 2184400"/>
                    <a:gd name="connsiteY22" fmla="*/ 1282542 h 1623059"/>
                    <a:gd name="connsiteX23" fmla="*/ 1615282 w 2184400"/>
                    <a:gd name="connsiteY23" fmla="*/ 1451610 h 1623059"/>
                    <a:gd name="connsiteX24" fmla="*/ 1789113 w 2184400"/>
                    <a:gd name="connsiteY24" fmla="*/ 1365884 h 1623059"/>
                    <a:gd name="connsiteX25" fmla="*/ 1814354 w 2184400"/>
                    <a:gd name="connsiteY25" fmla="*/ 1244441 h 1623059"/>
                    <a:gd name="connsiteX26" fmla="*/ 1801019 w 2184400"/>
                    <a:gd name="connsiteY26" fmla="*/ 1106331 h 1623059"/>
                    <a:gd name="connsiteX27" fmla="*/ 2184400 w 2184400"/>
                    <a:gd name="connsiteY27" fmla="*/ 1209040 h 1623059"/>
                    <a:gd name="connsiteX28" fmla="*/ 2032000 w 2184400"/>
                    <a:gd name="connsiteY28" fmla="*/ 680720 h 1623059"/>
                    <a:gd name="connsiteX29" fmla="*/ 1564640 w 2184400"/>
                    <a:gd name="connsiteY29" fmla="*/ 426720 h 1623059"/>
                    <a:gd name="connsiteX30" fmla="*/ 975360 w 2184400"/>
                    <a:gd name="connsiteY30" fmla="*/ 182880 h 1623059"/>
                    <a:gd name="connsiteX31" fmla="*/ 203200 w 2184400"/>
                    <a:gd name="connsiteY31" fmla="*/ 0 h 1623059"/>
                    <a:gd name="connsiteX32" fmla="*/ 0 w 2184400"/>
                    <a:gd name="connsiteY32" fmla="*/ 325120 h 1623059"/>
                    <a:gd name="connsiteX33" fmla="*/ 215900 w 2184400"/>
                    <a:gd name="connsiteY33" fmla="*/ 1191895 h 1623059"/>
                    <a:gd name="connsiteX0" fmla="*/ 215900 w 2184400"/>
                    <a:gd name="connsiteY0" fmla="*/ 1191895 h 1623059"/>
                    <a:gd name="connsiteX1" fmla="*/ 296068 w 2184400"/>
                    <a:gd name="connsiteY1" fmla="*/ 1237297 h 1623059"/>
                    <a:gd name="connsiteX2" fmla="*/ 366712 w 2184400"/>
                    <a:gd name="connsiteY2" fmla="*/ 1347629 h 1623059"/>
                    <a:gd name="connsiteX3" fmla="*/ 569912 w 2184400"/>
                    <a:gd name="connsiteY3" fmla="*/ 1282541 h 1623059"/>
                    <a:gd name="connsiteX4" fmla="*/ 715169 w 2184400"/>
                    <a:gd name="connsiteY4" fmla="*/ 1282541 h 1623059"/>
                    <a:gd name="connsiteX5" fmla="*/ 750888 w 2184400"/>
                    <a:gd name="connsiteY5" fmla="*/ 1308735 h 1623059"/>
                    <a:gd name="connsiteX6" fmla="*/ 800893 w 2184400"/>
                    <a:gd name="connsiteY6" fmla="*/ 1301591 h 1623059"/>
                    <a:gd name="connsiteX7" fmla="*/ 805657 w 2184400"/>
                    <a:gd name="connsiteY7" fmla="*/ 1356361 h 1623059"/>
                    <a:gd name="connsiteX8" fmla="*/ 924720 w 2184400"/>
                    <a:gd name="connsiteY8" fmla="*/ 1430179 h 1623059"/>
                    <a:gd name="connsiteX9" fmla="*/ 943769 w 2184400"/>
                    <a:gd name="connsiteY9" fmla="*/ 1415891 h 1623059"/>
                    <a:gd name="connsiteX10" fmla="*/ 1042511 w 2184400"/>
                    <a:gd name="connsiteY10" fmla="*/ 1473042 h 1623059"/>
                    <a:gd name="connsiteX11" fmla="*/ 1029493 w 2184400"/>
                    <a:gd name="connsiteY11" fmla="*/ 1558766 h 1623059"/>
                    <a:gd name="connsiteX12" fmla="*/ 1081881 w 2184400"/>
                    <a:gd name="connsiteY12" fmla="*/ 1623059 h 1623059"/>
                    <a:gd name="connsiteX13" fmla="*/ 1162844 w 2184400"/>
                    <a:gd name="connsiteY13" fmla="*/ 1537335 h 1623059"/>
                    <a:gd name="connsiteX14" fmla="*/ 1160462 w 2184400"/>
                    <a:gd name="connsiteY14" fmla="*/ 1458754 h 1623059"/>
                    <a:gd name="connsiteX15" fmla="*/ 1093787 w 2184400"/>
                    <a:gd name="connsiteY15" fmla="*/ 1353979 h 1623059"/>
                    <a:gd name="connsiteX16" fmla="*/ 1108075 w 2184400"/>
                    <a:gd name="connsiteY16" fmla="*/ 1296829 h 1623059"/>
                    <a:gd name="connsiteX17" fmla="*/ 1103313 w 2184400"/>
                    <a:gd name="connsiteY17" fmla="*/ 1249204 h 1623059"/>
                    <a:gd name="connsiteX18" fmla="*/ 1443831 w 2184400"/>
                    <a:gd name="connsiteY18" fmla="*/ 1208722 h 1623059"/>
                    <a:gd name="connsiteX19" fmla="*/ 1448594 w 2184400"/>
                    <a:gd name="connsiteY19" fmla="*/ 1275398 h 1623059"/>
                    <a:gd name="connsiteX20" fmla="*/ 1491456 w 2184400"/>
                    <a:gd name="connsiteY20" fmla="*/ 1249204 h 1623059"/>
                    <a:gd name="connsiteX21" fmla="*/ 1550988 w 2184400"/>
                    <a:gd name="connsiteY21" fmla="*/ 1289685 h 1623059"/>
                    <a:gd name="connsiteX22" fmla="*/ 1593850 w 2184400"/>
                    <a:gd name="connsiteY22" fmla="*/ 1282542 h 1623059"/>
                    <a:gd name="connsiteX23" fmla="*/ 1615282 w 2184400"/>
                    <a:gd name="connsiteY23" fmla="*/ 1451610 h 1623059"/>
                    <a:gd name="connsiteX24" fmla="*/ 1789113 w 2184400"/>
                    <a:gd name="connsiteY24" fmla="*/ 1365884 h 1623059"/>
                    <a:gd name="connsiteX25" fmla="*/ 1814354 w 2184400"/>
                    <a:gd name="connsiteY25" fmla="*/ 1244441 h 1623059"/>
                    <a:gd name="connsiteX26" fmla="*/ 1801019 w 2184400"/>
                    <a:gd name="connsiteY26" fmla="*/ 1106331 h 1623059"/>
                    <a:gd name="connsiteX27" fmla="*/ 2143919 w 2184400"/>
                    <a:gd name="connsiteY27" fmla="*/ 1194436 h 1623059"/>
                    <a:gd name="connsiteX28" fmla="*/ 2184400 w 2184400"/>
                    <a:gd name="connsiteY28" fmla="*/ 1209040 h 1623059"/>
                    <a:gd name="connsiteX29" fmla="*/ 2032000 w 2184400"/>
                    <a:gd name="connsiteY29" fmla="*/ 680720 h 1623059"/>
                    <a:gd name="connsiteX30" fmla="*/ 1564640 w 2184400"/>
                    <a:gd name="connsiteY30" fmla="*/ 426720 h 1623059"/>
                    <a:gd name="connsiteX31" fmla="*/ 975360 w 2184400"/>
                    <a:gd name="connsiteY31" fmla="*/ 182880 h 1623059"/>
                    <a:gd name="connsiteX32" fmla="*/ 203200 w 2184400"/>
                    <a:gd name="connsiteY32" fmla="*/ 0 h 1623059"/>
                    <a:gd name="connsiteX33" fmla="*/ 0 w 2184400"/>
                    <a:gd name="connsiteY33" fmla="*/ 325120 h 1623059"/>
                    <a:gd name="connsiteX34" fmla="*/ 215900 w 2184400"/>
                    <a:gd name="connsiteY34" fmla="*/ 1191895 h 1623059"/>
                    <a:gd name="connsiteX0" fmla="*/ 215900 w 2184400"/>
                    <a:gd name="connsiteY0" fmla="*/ 1191895 h 1623059"/>
                    <a:gd name="connsiteX1" fmla="*/ 296068 w 2184400"/>
                    <a:gd name="connsiteY1" fmla="*/ 1237297 h 1623059"/>
                    <a:gd name="connsiteX2" fmla="*/ 366712 w 2184400"/>
                    <a:gd name="connsiteY2" fmla="*/ 1347629 h 1623059"/>
                    <a:gd name="connsiteX3" fmla="*/ 569912 w 2184400"/>
                    <a:gd name="connsiteY3" fmla="*/ 1282541 h 1623059"/>
                    <a:gd name="connsiteX4" fmla="*/ 715169 w 2184400"/>
                    <a:gd name="connsiteY4" fmla="*/ 1282541 h 1623059"/>
                    <a:gd name="connsiteX5" fmla="*/ 750888 w 2184400"/>
                    <a:gd name="connsiteY5" fmla="*/ 1308735 h 1623059"/>
                    <a:gd name="connsiteX6" fmla="*/ 800893 w 2184400"/>
                    <a:gd name="connsiteY6" fmla="*/ 1301591 h 1623059"/>
                    <a:gd name="connsiteX7" fmla="*/ 805657 w 2184400"/>
                    <a:gd name="connsiteY7" fmla="*/ 1356361 h 1623059"/>
                    <a:gd name="connsiteX8" fmla="*/ 924720 w 2184400"/>
                    <a:gd name="connsiteY8" fmla="*/ 1430179 h 1623059"/>
                    <a:gd name="connsiteX9" fmla="*/ 943769 w 2184400"/>
                    <a:gd name="connsiteY9" fmla="*/ 1415891 h 1623059"/>
                    <a:gd name="connsiteX10" fmla="*/ 1042511 w 2184400"/>
                    <a:gd name="connsiteY10" fmla="*/ 1473042 h 1623059"/>
                    <a:gd name="connsiteX11" fmla="*/ 1029493 w 2184400"/>
                    <a:gd name="connsiteY11" fmla="*/ 1558766 h 1623059"/>
                    <a:gd name="connsiteX12" fmla="*/ 1081881 w 2184400"/>
                    <a:gd name="connsiteY12" fmla="*/ 1623059 h 1623059"/>
                    <a:gd name="connsiteX13" fmla="*/ 1162844 w 2184400"/>
                    <a:gd name="connsiteY13" fmla="*/ 1537335 h 1623059"/>
                    <a:gd name="connsiteX14" fmla="*/ 1160462 w 2184400"/>
                    <a:gd name="connsiteY14" fmla="*/ 1458754 h 1623059"/>
                    <a:gd name="connsiteX15" fmla="*/ 1093787 w 2184400"/>
                    <a:gd name="connsiteY15" fmla="*/ 1353979 h 1623059"/>
                    <a:gd name="connsiteX16" fmla="*/ 1108075 w 2184400"/>
                    <a:gd name="connsiteY16" fmla="*/ 1296829 h 1623059"/>
                    <a:gd name="connsiteX17" fmla="*/ 1103313 w 2184400"/>
                    <a:gd name="connsiteY17" fmla="*/ 1249204 h 1623059"/>
                    <a:gd name="connsiteX18" fmla="*/ 1443831 w 2184400"/>
                    <a:gd name="connsiteY18" fmla="*/ 1208722 h 1623059"/>
                    <a:gd name="connsiteX19" fmla="*/ 1448594 w 2184400"/>
                    <a:gd name="connsiteY19" fmla="*/ 1275398 h 1623059"/>
                    <a:gd name="connsiteX20" fmla="*/ 1491456 w 2184400"/>
                    <a:gd name="connsiteY20" fmla="*/ 1249204 h 1623059"/>
                    <a:gd name="connsiteX21" fmla="*/ 1550988 w 2184400"/>
                    <a:gd name="connsiteY21" fmla="*/ 1289685 h 1623059"/>
                    <a:gd name="connsiteX22" fmla="*/ 1593850 w 2184400"/>
                    <a:gd name="connsiteY22" fmla="*/ 1282542 h 1623059"/>
                    <a:gd name="connsiteX23" fmla="*/ 1615282 w 2184400"/>
                    <a:gd name="connsiteY23" fmla="*/ 1451610 h 1623059"/>
                    <a:gd name="connsiteX24" fmla="*/ 1789113 w 2184400"/>
                    <a:gd name="connsiteY24" fmla="*/ 1365884 h 1623059"/>
                    <a:gd name="connsiteX25" fmla="*/ 1814354 w 2184400"/>
                    <a:gd name="connsiteY25" fmla="*/ 1244441 h 1623059"/>
                    <a:gd name="connsiteX26" fmla="*/ 1801019 w 2184400"/>
                    <a:gd name="connsiteY26" fmla="*/ 1106331 h 1623059"/>
                    <a:gd name="connsiteX27" fmla="*/ 1865313 w 2184400"/>
                    <a:gd name="connsiteY27" fmla="*/ 1003936 h 1623059"/>
                    <a:gd name="connsiteX28" fmla="*/ 2184400 w 2184400"/>
                    <a:gd name="connsiteY28" fmla="*/ 1209040 h 1623059"/>
                    <a:gd name="connsiteX29" fmla="*/ 2032000 w 2184400"/>
                    <a:gd name="connsiteY29" fmla="*/ 680720 h 1623059"/>
                    <a:gd name="connsiteX30" fmla="*/ 1564640 w 2184400"/>
                    <a:gd name="connsiteY30" fmla="*/ 426720 h 1623059"/>
                    <a:gd name="connsiteX31" fmla="*/ 975360 w 2184400"/>
                    <a:gd name="connsiteY31" fmla="*/ 182880 h 1623059"/>
                    <a:gd name="connsiteX32" fmla="*/ 203200 w 2184400"/>
                    <a:gd name="connsiteY32" fmla="*/ 0 h 1623059"/>
                    <a:gd name="connsiteX33" fmla="*/ 0 w 2184400"/>
                    <a:gd name="connsiteY33" fmla="*/ 325120 h 1623059"/>
                    <a:gd name="connsiteX34" fmla="*/ 215900 w 2184400"/>
                    <a:gd name="connsiteY34" fmla="*/ 1191895 h 1623059"/>
                    <a:gd name="connsiteX0" fmla="*/ 215900 w 2184400"/>
                    <a:gd name="connsiteY0" fmla="*/ 1191895 h 1623059"/>
                    <a:gd name="connsiteX1" fmla="*/ 296068 w 2184400"/>
                    <a:gd name="connsiteY1" fmla="*/ 1237297 h 1623059"/>
                    <a:gd name="connsiteX2" fmla="*/ 366712 w 2184400"/>
                    <a:gd name="connsiteY2" fmla="*/ 1347629 h 1623059"/>
                    <a:gd name="connsiteX3" fmla="*/ 569912 w 2184400"/>
                    <a:gd name="connsiteY3" fmla="*/ 1282541 h 1623059"/>
                    <a:gd name="connsiteX4" fmla="*/ 715169 w 2184400"/>
                    <a:gd name="connsiteY4" fmla="*/ 1282541 h 1623059"/>
                    <a:gd name="connsiteX5" fmla="*/ 750888 w 2184400"/>
                    <a:gd name="connsiteY5" fmla="*/ 1308735 h 1623059"/>
                    <a:gd name="connsiteX6" fmla="*/ 800893 w 2184400"/>
                    <a:gd name="connsiteY6" fmla="*/ 1301591 h 1623059"/>
                    <a:gd name="connsiteX7" fmla="*/ 805657 w 2184400"/>
                    <a:gd name="connsiteY7" fmla="*/ 1356361 h 1623059"/>
                    <a:gd name="connsiteX8" fmla="*/ 924720 w 2184400"/>
                    <a:gd name="connsiteY8" fmla="*/ 1430179 h 1623059"/>
                    <a:gd name="connsiteX9" fmla="*/ 943769 w 2184400"/>
                    <a:gd name="connsiteY9" fmla="*/ 1415891 h 1623059"/>
                    <a:gd name="connsiteX10" fmla="*/ 1042511 w 2184400"/>
                    <a:gd name="connsiteY10" fmla="*/ 1473042 h 1623059"/>
                    <a:gd name="connsiteX11" fmla="*/ 1029493 w 2184400"/>
                    <a:gd name="connsiteY11" fmla="*/ 1558766 h 1623059"/>
                    <a:gd name="connsiteX12" fmla="*/ 1081881 w 2184400"/>
                    <a:gd name="connsiteY12" fmla="*/ 1623059 h 1623059"/>
                    <a:gd name="connsiteX13" fmla="*/ 1162844 w 2184400"/>
                    <a:gd name="connsiteY13" fmla="*/ 1537335 h 1623059"/>
                    <a:gd name="connsiteX14" fmla="*/ 1160462 w 2184400"/>
                    <a:gd name="connsiteY14" fmla="*/ 1458754 h 1623059"/>
                    <a:gd name="connsiteX15" fmla="*/ 1093787 w 2184400"/>
                    <a:gd name="connsiteY15" fmla="*/ 1353979 h 1623059"/>
                    <a:gd name="connsiteX16" fmla="*/ 1108075 w 2184400"/>
                    <a:gd name="connsiteY16" fmla="*/ 1296829 h 1623059"/>
                    <a:gd name="connsiteX17" fmla="*/ 1103313 w 2184400"/>
                    <a:gd name="connsiteY17" fmla="*/ 1249204 h 1623059"/>
                    <a:gd name="connsiteX18" fmla="*/ 1443831 w 2184400"/>
                    <a:gd name="connsiteY18" fmla="*/ 1208722 h 1623059"/>
                    <a:gd name="connsiteX19" fmla="*/ 1448594 w 2184400"/>
                    <a:gd name="connsiteY19" fmla="*/ 1275398 h 1623059"/>
                    <a:gd name="connsiteX20" fmla="*/ 1491456 w 2184400"/>
                    <a:gd name="connsiteY20" fmla="*/ 1249204 h 1623059"/>
                    <a:gd name="connsiteX21" fmla="*/ 1550988 w 2184400"/>
                    <a:gd name="connsiteY21" fmla="*/ 1289685 h 1623059"/>
                    <a:gd name="connsiteX22" fmla="*/ 1593850 w 2184400"/>
                    <a:gd name="connsiteY22" fmla="*/ 1282542 h 1623059"/>
                    <a:gd name="connsiteX23" fmla="*/ 1615282 w 2184400"/>
                    <a:gd name="connsiteY23" fmla="*/ 1451610 h 1623059"/>
                    <a:gd name="connsiteX24" fmla="*/ 1789113 w 2184400"/>
                    <a:gd name="connsiteY24" fmla="*/ 1365884 h 1623059"/>
                    <a:gd name="connsiteX25" fmla="*/ 1814354 w 2184400"/>
                    <a:gd name="connsiteY25" fmla="*/ 1244441 h 1623059"/>
                    <a:gd name="connsiteX26" fmla="*/ 1801019 w 2184400"/>
                    <a:gd name="connsiteY26" fmla="*/ 1106331 h 1623059"/>
                    <a:gd name="connsiteX27" fmla="*/ 1865313 w 2184400"/>
                    <a:gd name="connsiteY27" fmla="*/ 1003936 h 1623059"/>
                    <a:gd name="connsiteX28" fmla="*/ 2115344 w 2184400"/>
                    <a:gd name="connsiteY28" fmla="*/ 1163480 h 1623059"/>
                    <a:gd name="connsiteX29" fmla="*/ 2184400 w 2184400"/>
                    <a:gd name="connsiteY29" fmla="*/ 1209040 h 1623059"/>
                    <a:gd name="connsiteX30" fmla="*/ 2032000 w 2184400"/>
                    <a:gd name="connsiteY30" fmla="*/ 680720 h 1623059"/>
                    <a:gd name="connsiteX31" fmla="*/ 1564640 w 2184400"/>
                    <a:gd name="connsiteY31" fmla="*/ 426720 h 1623059"/>
                    <a:gd name="connsiteX32" fmla="*/ 975360 w 2184400"/>
                    <a:gd name="connsiteY32" fmla="*/ 182880 h 1623059"/>
                    <a:gd name="connsiteX33" fmla="*/ 203200 w 2184400"/>
                    <a:gd name="connsiteY33" fmla="*/ 0 h 1623059"/>
                    <a:gd name="connsiteX34" fmla="*/ 0 w 2184400"/>
                    <a:gd name="connsiteY34" fmla="*/ 325120 h 1623059"/>
                    <a:gd name="connsiteX35" fmla="*/ 215900 w 2184400"/>
                    <a:gd name="connsiteY35" fmla="*/ 1191895 h 1623059"/>
                    <a:gd name="connsiteX0" fmla="*/ 215900 w 2184400"/>
                    <a:gd name="connsiteY0" fmla="*/ 1191895 h 1623059"/>
                    <a:gd name="connsiteX1" fmla="*/ 296068 w 2184400"/>
                    <a:gd name="connsiteY1" fmla="*/ 1237297 h 1623059"/>
                    <a:gd name="connsiteX2" fmla="*/ 366712 w 2184400"/>
                    <a:gd name="connsiteY2" fmla="*/ 1347629 h 1623059"/>
                    <a:gd name="connsiteX3" fmla="*/ 569912 w 2184400"/>
                    <a:gd name="connsiteY3" fmla="*/ 1282541 h 1623059"/>
                    <a:gd name="connsiteX4" fmla="*/ 715169 w 2184400"/>
                    <a:gd name="connsiteY4" fmla="*/ 1282541 h 1623059"/>
                    <a:gd name="connsiteX5" fmla="*/ 750888 w 2184400"/>
                    <a:gd name="connsiteY5" fmla="*/ 1308735 h 1623059"/>
                    <a:gd name="connsiteX6" fmla="*/ 800893 w 2184400"/>
                    <a:gd name="connsiteY6" fmla="*/ 1301591 h 1623059"/>
                    <a:gd name="connsiteX7" fmla="*/ 805657 w 2184400"/>
                    <a:gd name="connsiteY7" fmla="*/ 1356361 h 1623059"/>
                    <a:gd name="connsiteX8" fmla="*/ 924720 w 2184400"/>
                    <a:gd name="connsiteY8" fmla="*/ 1430179 h 1623059"/>
                    <a:gd name="connsiteX9" fmla="*/ 943769 w 2184400"/>
                    <a:gd name="connsiteY9" fmla="*/ 1415891 h 1623059"/>
                    <a:gd name="connsiteX10" fmla="*/ 1042511 w 2184400"/>
                    <a:gd name="connsiteY10" fmla="*/ 1473042 h 1623059"/>
                    <a:gd name="connsiteX11" fmla="*/ 1029493 w 2184400"/>
                    <a:gd name="connsiteY11" fmla="*/ 1558766 h 1623059"/>
                    <a:gd name="connsiteX12" fmla="*/ 1081881 w 2184400"/>
                    <a:gd name="connsiteY12" fmla="*/ 1623059 h 1623059"/>
                    <a:gd name="connsiteX13" fmla="*/ 1162844 w 2184400"/>
                    <a:gd name="connsiteY13" fmla="*/ 1537335 h 1623059"/>
                    <a:gd name="connsiteX14" fmla="*/ 1160462 w 2184400"/>
                    <a:gd name="connsiteY14" fmla="*/ 1458754 h 1623059"/>
                    <a:gd name="connsiteX15" fmla="*/ 1093787 w 2184400"/>
                    <a:gd name="connsiteY15" fmla="*/ 1353979 h 1623059"/>
                    <a:gd name="connsiteX16" fmla="*/ 1108075 w 2184400"/>
                    <a:gd name="connsiteY16" fmla="*/ 1296829 h 1623059"/>
                    <a:gd name="connsiteX17" fmla="*/ 1103313 w 2184400"/>
                    <a:gd name="connsiteY17" fmla="*/ 1249204 h 1623059"/>
                    <a:gd name="connsiteX18" fmla="*/ 1443831 w 2184400"/>
                    <a:gd name="connsiteY18" fmla="*/ 1208722 h 1623059"/>
                    <a:gd name="connsiteX19" fmla="*/ 1448594 w 2184400"/>
                    <a:gd name="connsiteY19" fmla="*/ 1275398 h 1623059"/>
                    <a:gd name="connsiteX20" fmla="*/ 1491456 w 2184400"/>
                    <a:gd name="connsiteY20" fmla="*/ 1249204 h 1623059"/>
                    <a:gd name="connsiteX21" fmla="*/ 1550988 w 2184400"/>
                    <a:gd name="connsiteY21" fmla="*/ 1289685 h 1623059"/>
                    <a:gd name="connsiteX22" fmla="*/ 1593850 w 2184400"/>
                    <a:gd name="connsiteY22" fmla="*/ 1282542 h 1623059"/>
                    <a:gd name="connsiteX23" fmla="*/ 1615282 w 2184400"/>
                    <a:gd name="connsiteY23" fmla="*/ 1451610 h 1623059"/>
                    <a:gd name="connsiteX24" fmla="*/ 1789113 w 2184400"/>
                    <a:gd name="connsiteY24" fmla="*/ 1365884 h 1623059"/>
                    <a:gd name="connsiteX25" fmla="*/ 1814354 w 2184400"/>
                    <a:gd name="connsiteY25" fmla="*/ 1244441 h 1623059"/>
                    <a:gd name="connsiteX26" fmla="*/ 1801019 w 2184400"/>
                    <a:gd name="connsiteY26" fmla="*/ 1106331 h 1623059"/>
                    <a:gd name="connsiteX27" fmla="*/ 1865313 w 2184400"/>
                    <a:gd name="connsiteY27" fmla="*/ 1003936 h 1623059"/>
                    <a:gd name="connsiteX28" fmla="*/ 1903413 w 2184400"/>
                    <a:gd name="connsiteY28" fmla="*/ 956312 h 1623059"/>
                    <a:gd name="connsiteX29" fmla="*/ 2184400 w 2184400"/>
                    <a:gd name="connsiteY29" fmla="*/ 1209040 h 1623059"/>
                    <a:gd name="connsiteX30" fmla="*/ 2032000 w 2184400"/>
                    <a:gd name="connsiteY30" fmla="*/ 680720 h 1623059"/>
                    <a:gd name="connsiteX31" fmla="*/ 1564640 w 2184400"/>
                    <a:gd name="connsiteY31" fmla="*/ 426720 h 1623059"/>
                    <a:gd name="connsiteX32" fmla="*/ 975360 w 2184400"/>
                    <a:gd name="connsiteY32" fmla="*/ 182880 h 1623059"/>
                    <a:gd name="connsiteX33" fmla="*/ 203200 w 2184400"/>
                    <a:gd name="connsiteY33" fmla="*/ 0 h 1623059"/>
                    <a:gd name="connsiteX34" fmla="*/ 0 w 2184400"/>
                    <a:gd name="connsiteY34" fmla="*/ 325120 h 1623059"/>
                    <a:gd name="connsiteX35" fmla="*/ 215900 w 2184400"/>
                    <a:gd name="connsiteY35" fmla="*/ 1191895 h 1623059"/>
                    <a:gd name="connsiteX0" fmla="*/ 215900 w 2032000"/>
                    <a:gd name="connsiteY0" fmla="*/ 1191895 h 1623059"/>
                    <a:gd name="connsiteX1" fmla="*/ 296068 w 2032000"/>
                    <a:gd name="connsiteY1" fmla="*/ 1237297 h 1623059"/>
                    <a:gd name="connsiteX2" fmla="*/ 366712 w 2032000"/>
                    <a:gd name="connsiteY2" fmla="*/ 1347629 h 1623059"/>
                    <a:gd name="connsiteX3" fmla="*/ 569912 w 2032000"/>
                    <a:gd name="connsiteY3" fmla="*/ 1282541 h 1623059"/>
                    <a:gd name="connsiteX4" fmla="*/ 715169 w 2032000"/>
                    <a:gd name="connsiteY4" fmla="*/ 1282541 h 1623059"/>
                    <a:gd name="connsiteX5" fmla="*/ 750888 w 2032000"/>
                    <a:gd name="connsiteY5" fmla="*/ 1308735 h 1623059"/>
                    <a:gd name="connsiteX6" fmla="*/ 800893 w 2032000"/>
                    <a:gd name="connsiteY6" fmla="*/ 1301591 h 1623059"/>
                    <a:gd name="connsiteX7" fmla="*/ 805657 w 2032000"/>
                    <a:gd name="connsiteY7" fmla="*/ 1356361 h 1623059"/>
                    <a:gd name="connsiteX8" fmla="*/ 924720 w 2032000"/>
                    <a:gd name="connsiteY8" fmla="*/ 1430179 h 1623059"/>
                    <a:gd name="connsiteX9" fmla="*/ 943769 w 2032000"/>
                    <a:gd name="connsiteY9" fmla="*/ 1415891 h 1623059"/>
                    <a:gd name="connsiteX10" fmla="*/ 1042511 w 2032000"/>
                    <a:gd name="connsiteY10" fmla="*/ 1473042 h 1623059"/>
                    <a:gd name="connsiteX11" fmla="*/ 1029493 w 2032000"/>
                    <a:gd name="connsiteY11" fmla="*/ 1558766 h 1623059"/>
                    <a:gd name="connsiteX12" fmla="*/ 1081881 w 2032000"/>
                    <a:gd name="connsiteY12" fmla="*/ 1623059 h 1623059"/>
                    <a:gd name="connsiteX13" fmla="*/ 1162844 w 2032000"/>
                    <a:gd name="connsiteY13" fmla="*/ 1537335 h 1623059"/>
                    <a:gd name="connsiteX14" fmla="*/ 1160462 w 2032000"/>
                    <a:gd name="connsiteY14" fmla="*/ 1458754 h 1623059"/>
                    <a:gd name="connsiteX15" fmla="*/ 1093787 w 2032000"/>
                    <a:gd name="connsiteY15" fmla="*/ 1353979 h 1623059"/>
                    <a:gd name="connsiteX16" fmla="*/ 1108075 w 2032000"/>
                    <a:gd name="connsiteY16" fmla="*/ 1296829 h 1623059"/>
                    <a:gd name="connsiteX17" fmla="*/ 1103313 w 2032000"/>
                    <a:gd name="connsiteY17" fmla="*/ 1249204 h 1623059"/>
                    <a:gd name="connsiteX18" fmla="*/ 1443831 w 2032000"/>
                    <a:gd name="connsiteY18" fmla="*/ 1208722 h 1623059"/>
                    <a:gd name="connsiteX19" fmla="*/ 1448594 w 2032000"/>
                    <a:gd name="connsiteY19" fmla="*/ 1275398 h 1623059"/>
                    <a:gd name="connsiteX20" fmla="*/ 1491456 w 2032000"/>
                    <a:gd name="connsiteY20" fmla="*/ 1249204 h 1623059"/>
                    <a:gd name="connsiteX21" fmla="*/ 1550988 w 2032000"/>
                    <a:gd name="connsiteY21" fmla="*/ 1289685 h 1623059"/>
                    <a:gd name="connsiteX22" fmla="*/ 1593850 w 2032000"/>
                    <a:gd name="connsiteY22" fmla="*/ 1282542 h 1623059"/>
                    <a:gd name="connsiteX23" fmla="*/ 1615282 w 2032000"/>
                    <a:gd name="connsiteY23" fmla="*/ 1451610 h 1623059"/>
                    <a:gd name="connsiteX24" fmla="*/ 1789113 w 2032000"/>
                    <a:gd name="connsiteY24" fmla="*/ 1365884 h 1623059"/>
                    <a:gd name="connsiteX25" fmla="*/ 1814354 w 2032000"/>
                    <a:gd name="connsiteY25" fmla="*/ 1244441 h 1623059"/>
                    <a:gd name="connsiteX26" fmla="*/ 1801019 w 2032000"/>
                    <a:gd name="connsiteY26" fmla="*/ 1106331 h 1623059"/>
                    <a:gd name="connsiteX27" fmla="*/ 1865313 w 2032000"/>
                    <a:gd name="connsiteY27" fmla="*/ 1003936 h 1623059"/>
                    <a:gd name="connsiteX28" fmla="*/ 1903413 w 2032000"/>
                    <a:gd name="connsiteY28" fmla="*/ 956312 h 1623059"/>
                    <a:gd name="connsiteX29" fmla="*/ 1858169 w 2032000"/>
                    <a:gd name="connsiteY29" fmla="*/ 887572 h 1623059"/>
                    <a:gd name="connsiteX30" fmla="*/ 2032000 w 2032000"/>
                    <a:gd name="connsiteY30" fmla="*/ 680720 h 1623059"/>
                    <a:gd name="connsiteX31" fmla="*/ 1564640 w 2032000"/>
                    <a:gd name="connsiteY31" fmla="*/ 426720 h 1623059"/>
                    <a:gd name="connsiteX32" fmla="*/ 975360 w 2032000"/>
                    <a:gd name="connsiteY32" fmla="*/ 182880 h 1623059"/>
                    <a:gd name="connsiteX33" fmla="*/ 203200 w 2032000"/>
                    <a:gd name="connsiteY33" fmla="*/ 0 h 1623059"/>
                    <a:gd name="connsiteX34" fmla="*/ 0 w 2032000"/>
                    <a:gd name="connsiteY34" fmla="*/ 325120 h 1623059"/>
                    <a:gd name="connsiteX35" fmla="*/ 215900 w 2032000"/>
                    <a:gd name="connsiteY35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564640 w 1903413"/>
                    <a:gd name="connsiteY31" fmla="*/ 426720 h 1623059"/>
                    <a:gd name="connsiteX32" fmla="*/ 975360 w 1903413"/>
                    <a:gd name="connsiteY32" fmla="*/ 182880 h 1623059"/>
                    <a:gd name="connsiteX33" fmla="*/ 203200 w 1903413"/>
                    <a:gd name="connsiteY33" fmla="*/ 0 h 1623059"/>
                    <a:gd name="connsiteX34" fmla="*/ 0 w 1903413"/>
                    <a:gd name="connsiteY34" fmla="*/ 325120 h 1623059"/>
                    <a:gd name="connsiteX35" fmla="*/ 215900 w 1903413"/>
                    <a:gd name="connsiteY35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58145 w 1903413"/>
                    <a:gd name="connsiteY31" fmla="*/ 672942 h 1623059"/>
                    <a:gd name="connsiteX32" fmla="*/ 1564640 w 1903413"/>
                    <a:gd name="connsiteY32" fmla="*/ 426720 h 1623059"/>
                    <a:gd name="connsiteX33" fmla="*/ 975360 w 1903413"/>
                    <a:gd name="connsiteY33" fmla="*/ 182880 h 1623059"/>
                    <a:gd name="connsiteX34" fmla="*/ 203200 w 1903413"/>
                    <a:gd name="connsiteY34" fmla="*/ 0 h 1623059"/>
                    <a:gd name="connsiteX35" fmla="*/ 0 w 1903413"/>
                    <a:gd name="connsiteY35" fmla="*/ 325120 h 1623059"/>
                    <a:gd name="connsiteX36" fmla="*/ 215900 w 1903413"/>
                    <a:gd name="connsiteY36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64640 w 1903413"/>
                    <a:gd name="connsiteY32" fmla="*/ 426720 h 1623059"/>
                    <a:gd name="connsiteX33" fmla="*/ 975360 w 1903413"/>
                    <a:gd name="connsiteY33" fmla="*/ 182880 h 1623059"/>
                    <a:gd name="connsiteX34" fmla="*/ 203200 w 1903413"/>
                    <a:gd name="connsiteY34" fmla="*/ 0 h 1623059"/>
                    <a:gd name="connsiteX35" fmla="*/ 0 w 1903413"/>
                    <a:gd name="connsiteY35" fmla="*/ 325120 h 1623059"/>
                    <a:gd name="connsiteX36" fmla="*/ 215900 w 1903413"/>
                    <a:gd name="connsiteY36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615282 w 1903413"/>
                    <a:gd name="connsiteY32" fmla="*/ 618174 h 1623059"/>
                    <a:gd name="connsiteX33" fmla="*/ 1564640 w 1903413"/>
                    <a:gd name="connsiteY33" fmla="*/ 426720 h 1623059"/>
                    <a:gd name="connsiteX34" fmla="*/ 975360 w 1903413"/>
                    <a:gd name="connsiteY34" fmla="*/ 182880 h 1623059"/>
                    <a:gd name="connsiteX35" fmla="*/ 203200 w 1903413"/>
                    <a:gd name="connsiteY35" fmla="*/ 0 h 1623059"/>
                    <a:gd name="connsiteX36" fmla="*/ 0 w 1903413"/>
                    <a:gd name="connsiteY36" fmla="*/ 325120 h 1623059"/>
                    <a:gd name="connsiteX37" fmla="*/ 215900 w 1903413"/>
                    <a:gd name="connsiteY37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64640 w 1903413"/>
                    <a:gd name="connsiteY33" fmla="*/ 426720 h 1623059"/>
                    <a:gd name="connsiteX34" fmla="*/ 975360 w 1903413"/>
                    <a:gd name="connsiteY34" fmla="*/ 182880 h 1623059"/>
                    <a:gd name="connsiteX35" fmla="*/ 203200 w 1903413"/>
                    <a:gd name="connsiteY35" fmla="*/ 0 h 1623059"/>
                    <a:gd name="connsiteX36" fmla="*/ 0 w 1903413"/>
                    <a:gd name="connsiteY36" fmla="*/ 325120 h 1623059"/>
                    <a:gd name="connsiteX37" fmla="*/ 215900 w 1903413"/>
                    <a:gd name="connsiteY37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74801 w 1903413"/>
                    <a:gd name="connsiteY33" fmla="*/ 549117 h 1623059"/>
                    <a:gd name="connsiteX34" fmla="*/ 1564640 w 1903413"/>
                    <a:gd name="connsiteY34" fmla="*/ 426720 h 1623059"/>
                    <a:gd name="connsiteX35" fmla="*/ 975360 w 1903413"/>
                    <a:gd name="connsiteY35" fmla="*/ 182880 h 1623059"/>
                    <a:gd name="connsiteX36" fmla="*/ 203200 w 1903413"/>
                    <a:gd name="connsiteY36" fmla="*/ 0 h 1623059"/>
                    <a:gd name="connsiteX37" fmla="*/ 0 w 1903413"/>
                    <a:gd name="connsiteY37" fmla="*/ 325120 h 1623059"/>
                    <a:gd name="connsiteX38" fmla="*/ 215900 w 1903413"/>
                    <a:gd name="connsiteY38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64640 w 1903413"/>
                    <a:gd name="connsiteY34" fmla="*/ 426720 h 1623059"/>
                    <a:gd name="connsiteX35" fmla="*/ 975360 w 1903413"/>
                    <a:gd name="connsiteY35" fmla="*/ 182880 h 1623059"/>
                    <a:gd name="connsiteX36" fmla="*/ 203200 w 1903413"/>
                    <a:gd name="connsiteY36" fmla="*/ 0 h 1623059"/>
                    <a:gd name="connsiteX37" fmla="*/ 0 w 1903413"/>
                    <a:gd name="connsiteY37" fmla="*/ 325120 h 1623059"/>
                    <a:gd name="connsiteX38" fmla="*/ 215900 w 1903413"/>
                    <a:gd name="connsiteY38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74801 w 1903413"/>
                    <a:gd name="connsiteY34" fmla="*/ 494349 h 1623059"/>
                    <a:gd name="connsiteX35" fmla="*/ 1564640 w 1903413"/>
                    <a:gd name="connsiteY35" fmla="*/ 426720 h 1623059"/>
                    <a:gd name="connsiteX36" fmla="*/ 975360 w 1903413"/>
                    <a:gd name="connsiteY36" fmla="*/ 182880 h 1623059"/>
                    <a:gd name="connsiteX37" fmla="*/ 203200 w 1903413"/>
                    <a:gd name="connsiteY37" fmla="*/ 0 h 1623059"/>
                    <a:gd name="connsiteX38" fmla="*/ 0 w 1903413"/>
                    <a:gd name="connsiteY38" fmla="*/ 325120 h 1623059"/>
                    <a:gd name="connsiteX39" fmla="*/ 215900 w 1903413"/>
                    <a:gd name="connsiteY39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564640 w 1903413"/>
                    <a:gd name="connsiteY35" fmla="*/ 426720 h 1623059"/>
                    <a:gd name="connsiteX36" fmla="*/ 975360 w 1903413"/>
                    <a:gd name="connsiteY36" fmla="*/ 182880 h 1623059"/>
                    <a:gd name="connsiteX37" fmla="*/ 203200 w 1903413"/>
                    <a:gd name="connsiteY37" fmla="*/ 0 h 1623059"/>
                    <a:gd name="connsiteX38" fmla="*/ 0 w 1903413"/>
                    <a:gd name="connsiteY38" fmla="*/ 325120 h 1623059"/>
                    <a:gd name="connsiteX39" fmla="*/ 215900 w 1903413"/>
                    <a:gd name="connsiteY39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975360 w 1903413"/>
                    <a:gd name="connsiteY36" fmla="*/ 182880 h 1623059"/>
                    <a:gd name="connsiteX37" fmla="*/ 203200 w 1903413"/>
                    <a:gd name="connsiteY37" fmla="*/ 0 h 1623059"/>
                    <a:gd name="connsiteX38" fmla="*/ 0 w 1903413"/>
                    <a:gd name="connsiteY38" fmla="*/ 325120 h 1623059"/>
                    <a:gd name="connsiteX39" fmla="*/ 215900 w 1903413"/>
                    <a:gd name="connsiteY39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222376 w 1903413"/>
                    <a:gd name="connsiteY36" fmla="*/ 363380 h 1623059"/>
                    <a:gd name="connsiteX37" fmla="*/ 975360 w 1903413"/>
                    <a:gd name="connsiteY37" fmla="*/ 182880 h 1623059"/>
                    <a:gd name="connsiteX38" fmla="*/ 203200 w 1903413"/>
                    <a:gd name="connsiteY38" fmla="*/ 0 h 1623059"/>
                    <a:gd name="connsiteX39" fmla="*/ 0 w 1903413"/>
                    <a:gd name="connsiteY39" fmla="*/ 325120 h 1623059"/>
                    <a:gd name="connsiteX40" fmla="*/ 215900 w 1903413"/>
                    <a:gd name="connsiteY40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975360 w 1903413"/>
                    <a:gd name="connsiteY37" fmla="*/ 182880 h 1623059"/>
                    <a:gd name="connsiteX38" fmla="*/ 203200 w 1903413"/>
                    <a:gd name="connsiteY38" fmla="*/ 0 h 1623059"/>
                    <a:gd name="connsiteX39" fmla="*/ 0 w 1903413"/>
                    <a:gd name="connsiteY39" fmla="*/ 325120 h 1623059"/>
                    <a:gd name="connsiteX40" fmla="*/ 215900 w 1903413"/>
                    <a:gd name="connsiteY40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146176 w 1903413"/>
                    <a:gd name="connsiteY37" fmla="*/ 346711 h 1623059"/>
                    <a:gd name="connsiteX38" fmla="*/ 975360 w 1903413"/>
                    <a:gd name="connsiteY38" fmla="*/ 182880 h 1623059"/>
                    <a:gd name="connsiteX39" fmla="*/ 203200 w 1903413"/>
                    <a:gd name="connsiteY39" fmla="*/ 0 h 1623059"/>
                    <a:gd name="connsiteX40" fmla="*/ 0 w 1903413"/>
                    <a:gd name="connsiteY40" fmla="*/ 325120 h 1623059"/>
                    <a:gd name="connsiteX41" fmla="*/ 215900 w 1903413"/>
                    <a:gd name="connsiteY41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975360 w 1903413"/>
                    <a:gd name="connsiteY38" fmla="*/ 182880 h 1623059"/>
                    <a:gd name="connsiteX39" fmla="*/ 203200 w 1903413"/>
                    <a:gd name="connsiteY39" fmla="*/ 0 h 1623059"/>
                    <a:gd name="connsiteX40" fmla="*/ 0 w 1903413"/>
                    <a:gd name="connsiteY40" fmla="*/ 325120 h 1623059"/>
                    <a:gd name="connsiteX41" fmla="*/ 215900 w 1903413"/>
                    <a:gd name="connsiteY41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1077120 w 1903413"/>
                    <a:gd name="connsiteY38" fmla="*/ 344330 h 1623059"/>
                    <a:gd name="connsiteX39" fmla="*/ 975360 w 1903413"/>
                    <a:gd name="connsiteY39" fmla="*/ 182880 h 1623059"/>
                    <a:gd name="connsiteX40" fmla="*/ 203200 w 1903413"/>
                    <a:gd name="connsiteY40" fmla="*/ 0 h 1623059"/>
                    <a:gd name="connsiteX41" fmla="*/ 0 w 1903413"/>
                    <a:gd name="connsiteY41" fmla="*/ 325120 h 1623059"/>
                    <a:gd name="connsiteX42" fmla="*/ 215900 w 1903413"/>
                    <a:gd name="connsiteY42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1017589 w 1903413"/>
                    <a:gd name="connsiteY38" fmla="*/ 553880 h 1623059"/>
                    <a:gd name="connsiteX39" fmla="*/ 975360 w 1903413"/>
                    <a:gd name="connsiteY39" fmla="*/ 182880 h 1623059"/>
                    <a:gd name="connsiteX40" fmla="*/ 203200 w 1903413"/>
                    <a:gd name="connsiteY40" fmla="*/ 0 h 1623059"/>
                    <a:gd name="connsiteX41" fmla="*/ 0 w 1903413"/>
                    <a:gd name="connsiteY41" fmla="*/ 325120 h 1623059"/>
                    <a:gd name="connsiteX42" fmla="*/ 215900 w 1903413"/>
                    <a:gd name="connsiteY42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1017589 w 1903413"/>
                    <a:gd name="connsiteY38" fmla="*/ 553880 h 1623059"/>
                    <a:gd name="connsiteX39" fmla="*/ 989014 w 1903413"/>
                    <a:gd name="connsiteY39" fmla="*/ 277655 h 1623059"/>
                    <a:gd name="connsiteX40" fmla="*/ 975360 w 1903413"/>
                    <a:gd name="connsiteY40" fmla="*/ 182880 h 1623059"/>
                    <a:gd name="connsiteX41" fmla="*/ 203200 w 1903413"/>
                    <a:gd name="connsiteY41" fmla="*/ 0 h 1623059"/>
                    <a:gd name="connsiteX42" fmla="*/ 0 w 1903413"/>
                    <a:gd name="connsiteY42" fmla="*/ 325120 h 1623059"/>
                    <a:gd name="connsiteX43" fmla="*/ 215900 w 1903413"/>
                    <a:gd name="connsiteY43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1017589 w 1903413"/>
                    <a:gd name="connsiteY38" fmla="*/ 553880 h 1623059"/>
                    <a:gd name="connsiteX39" fmla="*/ 934245 w 1903413"/>
                    <a:gd name="connsiteY39" fmla="*/ 525305 h 1623059"/>
                    <a:gd name="connsiteX40" fmla="*/ 975360 w 1903413"/>
                    <a:gd name="connsiteY40" fmla="*/ 182880 h 1623059"/>
                    <a:gd name="connsiteX41" fmla="*/ 203200 w 1903413"/>
                    <a:gd name="connsiteY41" fmla="*/ 0 h 1623059"/>
                    <a:gd name="connsiteX42" fmla="*/ 0 w 1903413"/>
                    <a:gd name="connsiteY42" fmla="*/ 325120 h 1623059"/>
                    <a:gd name="connsiteX43" fmla="*/ 215900 w 1903413"/>
                    <a:gd name="connsiteY43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1017589 w 1903413"/>
                    <a:gd name="connsiteY38" fmla="*/ 553880 h 1623059"/>
                    <a:gd name="connsiteX39" fmla="*/ 934245 w 1903413"/>
                    <a:gd name="connsiteY39" fmla="*/ 525305 h 1623059"/>
                    <a:gd name="connsiteX40" fmla="*/ 967582 w 1903413"/>
                    <a:gd name="connsiteY40" fmla="*/ 241936 h 1623059"/>
                    <a:gd name="connsiteX41" fmla="*/ 975360 w 1903413"/>
                    <a:gd name="connsiteY41" fmla="*/ 182880 h 1623059"/>
                    <a:gd name="connsiteX42" fmla="*/ 203200 w 1903413"/>
                    <a:gd name="connsiteY42" fmla="*/ 0 h 1623059"/>
                    <a:gd name="connsiteX43" fmla="*/ 0 w 1903413"/>
                    <a:gd name="connsiteY43" fmla="*/ 325120 h 1623059"/>
                    <a:gd name="connsiteX44" fmla="*/ 215900 w 1903413"/>
                    <a:gd name="connsiteY44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1017589 w 1903413"/>
                    <a:gd name="connsiteY38" fmla="*/ 553880 h 1623059"/>
                    <a:gd name="connsiteX39" fmla="*/ 934245 w 1903413"/>
                    <a:gd name="connsiteY39" fmla="*/ 525305 h 1623059"/>
                    <a:gd name="connsiteX40" fmla="*/ 891382 w 1903413"/>
                    <a:gd name="connsiteY40" fmla="*/ 453868 h 1623059"/>
                    <a:gd name="connsiteX41" fmla="*/ 975360 w 1903413"/>
                    <a:gd name="connsiteY41" fmla="*/ 182880 h 1623059"/>
                    <a:gd name="connsiteX42" fmla="*/ 203200 w 1903413"/>
                    <a:gd name="connsiteY42" fmla="*/ 0 h 1623059"/>
                    <a:gd name="connsiteX43" fmla="*/ 0 w 1903413"/>
                    <a:gd name="connsiteY43" fmla="*/ 325120 h 1623059"/>
                    <a:gd name="connsiteX44" fmla="*/ 215900 w 1903413"/>
                    <a:gd name="connsiteY44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1017589 w 1903413"/>
                    <a:gd name="connsiteY38" fmla="*/ 553880 h 1623059"/>
                    <a:gd name="connsiteX39" fmla="*/ 934245 w 1903413"/>
                    <a:gd name="connsiteY39" fmla="*/ 525305 h 1623059"/>
                    <a:gd name="connsiteX40" fmla="*/ 891382 w 1903413"/>
                    <a:gd name="connsiteY40" fmla="*/ 453868 h 1623059"/>
                    <a:gd name="connsiteX41" fmla="*/ 849154 w 1903413"/>
                    <a:gd name="connsiteY41" fmla="*/ 418623 h 1623059"/>
                    <a:gd name="connsiteX42" fmla="*/ 203200 w 1903413"/>
                    <a:gd name="connsiteY42" fmla="*/ 0 h 1623059"/>
                    <a:gd name="connsiteX43" fmla="*/ 0 w 1903413"/>
                    <a:gd name="connsiteY43" fmla="*/ 325120 h 1623059"/>
                    <a:gd name="connsiteX44" fmla="*/ 215900 w 1903413"/>
                    <a:gd name="connsiteY44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1017589 w 1903413"/>
                    <a:gd name="connsiteY38" fmla="*/ 553880 h 1623059"/>
                    <a:gd name="connsiteX39" fmla="*/ 934245 w 1903413"/>
                    <a:gd name="connsiteY39" fmla="*/ 525305 h 1623059"/>
                    <a:gd name="connsiteX40" fmla="*/ 891382 w 1903413"/>
                    <a:gd name="connsiteY40" fmla="*/ 453868 h 1623059"/>
                    <a:gd name="connsiteX41" fmla="*/ 849154 w 1903413"/>
                    <a:gd name="connsiteY41" fmla="*/ 418623 h 1623059"/>
                    <a:gd name="connsiteX42" fmla="*/ 753270 w 1903413"/>
                    <a:gd name="connsiteY42" fmla="*/ 360999 h 1623059"/>
                    <a:gd name="connsiteX43" fmla="*/ 203200 w 1903413"/>
                    <a:gd name="connsiteY43" fmla="*/ 0 h 1623059"/>
                    <a:gd name="connsiteX44" fmla="*/ 0 w 1903413"/>
                    <a:gd name="connsiteY44" fmla="*/ 325120 h 1623059"/>
                    <a:gd name="connsiteX45" fmla="*/ 215900 w 1903413"/>
                    <a:gd name="connsiteY45" fmla="*/ 1191895 h 1623059"/>
                    <a:gd name="connsiteX0" fmla="*/ 215900 w 1903413"/>
                    <a:gd name="connsiteY0" fmla="*/ 1191895 h 1623059"/>
                    <a:gd name="connsiteX1" fmla="*/ 296068 w 1903413"/>
                    <a:gd name="connsiteY1" fmla="*/ 1237297 h 1623059"/>
                    <a:gd name="connsiteX2" fmla="*/ 366712 w 1903413"/>
                    <a:gd name="connsiteY2" fmla="*/ 1347629 h 1623059"/>
                    <a:gd name="connsiteX3" fmla="*/ 569912 w 1903413"/>
                    <a:gd name="connsiteY3" fmla="*/ 1282541 h 1623059"/>
                    <a:gd name="connsiteX4" fmla="*/ 715169 w 1903413"/>
                    <a:gd name="connsiteY4" fmla="*/ 1282541 h 1623059"/>
                    <a:gd name="connsiteX5" fmla="*/ 750888 w 1903413"/>
                    <a:gd name="connsiteY5" fmla="*/ 1308735 h 1623059"/>
                    <a:gd name="connsiteX6" fmla="*/ 800893 w 1903413"/>
                    <a:gd name="connsiteY6" fmla="*/ 1301591 h 1623059"/>
                    <a:gd name="connsiteX7" fmla="*/ 805657 w 1903413"/>
                    <a:gd name="connsiteY7" fmla="*/ 1356361 h 1623059"/>
                    <a:gd name="connsiteX8" fmla="*/ 924720 w 1903413"/>
                    <a:gd name="connsiteY8" fmla="*/ 1430179 h 1623059"/>
                    <a:gd name="connsiteX9" fmla="*/ 943769 w 1903413"/>
                    <a:gd name="connsiteY9" fmla="*/ 1415891 h 1623059"/>
                    <a:gd name="connsiteX10" fmla="*/ 1042511 w 1903413"/>
                    <a:gd name="connsiteY10" fmla="*/ 1473042 h 1623059"/>
                    <a:gd name="connsiteX11" fmla="*/ 1029493 w 1903413"/>
                    <a:gd name="connsiteY11" fmla="*/ 1558766 h 1623059"/>
                    <a:gd name="connsiteX12" fmla="*/ 1081881 w 1903413"/>
                    <a:gd name="connsiteY12" fmla="*/ 1623059 h 1623059"/>
                    <a:gd name="connsiteX13" fmla="*/ 1162844 w 1903413"/>
                    <a:gd name="connsiteY13" fmla="*/ 1537335 h 1623059"/>
                    <a:gd name="connsiteX14" fmla="*/ 1160462 w 1903413"/>
                    <a:gd name="connsiteY14" fmla="*/ 1458754 h 1623059"/>
                    <a:gd name="connsiteX15" fmla="*/ 1093787 w 1903413"/>
                    <a:gd name="connsiteY15" fmla="*/ 1353979 h 1623059"/>
                    <a:gd name="connsiteX16" fmla="*/ 1108075 w 1903413"/>
                    <a:gd name="connsiteY16" fmla="*/ 1296829 h 1623059"/>
                    <a:gd name="connsiteX17" fmla="*/ 1103313 w 1903413"/>
                    <a:gd name="connsiteY17" fmla="*/ 1249204 h 1623059"/>
                    <a:gd name="connsiteX18" fmla="*/ 1443831 w 1903413"/>
                    <a:gd name="connsiteY18" fmla="*/ 1208722 h 1623059"/>
                    <a:gd name="connsiteX19" fmla="*/ 1448594 w 1903413"/>
                    <a:gd name="connsiteY19" fmla="*/ 1275398 h 1623059"/>
                    <a:gd name="connsiteX20" fmla="*/ 1491456 w 1903413"/>
                    <a:gd name="connsiteY20" fmla="*/ 1249204 h 1623059"/>
                    <a:gd name="connsiteX21" fmla="*/ 1550988 w 1903413"/>
                    <a:gd name="connsiteY21" fmla="*/ 1289685 h 1623059"/>
                    <a:gd name="connsiteX22" fmla="*/ 1593850 w 1903413"/>
                    <a:gd name="connsiteY22" fmla="*/ 1282542 h 1623059"/>
                    <a:gd name="connsiteX23" fmla="*/ 1615282 w 1903413"/>
                    <a:gd name="connsiteY23" fmla="*/ 1451610 h 1623059"/>
                    <a:gd name="connsiteX24" fmla="*/ 1789113 w 1903413"/>
                    <a:gd name="connsiteY24" fmla="*/ 1365884 h 1623059"/>
                    <a:gd name="connsiteX25" fmla="*/ 1814354 w 1903413"/>
                    <a:gd name="connsiteY25" fmla="*/ 1244441 h 1623059"/>
                    <a:gd name="connsiteX26" fmla="*/ 1801019 w 1903413"/>
                    <a:gd name="connsiteY26" fmla="*/ 1106331 h 1623059"/>
                    <a:gd name="connsiteX27" fmla="*/ 1865313 w 1903413"/>
                    <a:gd name="connsiteY27" fmla="*/ 1003936 h 1623059"/>
                    <a:gd name="connsiteX28" fmla="*/ 1903413 w 1903413"/>
                    <a:gd name="connsiteY28" fmla="*/ 956312 h 1623059"/>
                    <a:gd name="connsiteX29" fmla="*/ 1858169 w 1903413"/>
                    <a:gd name="connsiteY29" fmla="*/ 887572 h 1623059"/>
                    <a:gd name="connsiteX30" fmla="*/ 1739107 w 1903413"/>
                    <a:gd name="connsiteY30" fmla="*/ 880745 h 1623059"/>
                    <a:gd name="connsiteX31" fmla="*/ 1662908 w 1903413"/>
                    <a:gd name="connsiteY31" fmla="*/ 825342 h 1623059"/>
                    <a:gd name="connsiteX32" fmla="*/ 1598613 w 1903413"/>
                    <a:gd name="connsiteY32" fmla="*/ 834868 h 1623059"/>
                    <a:gd name="connsiteX33" fmla="*/ 1598614 w 1903413"/>
                    <a:gd name="connsiteY33" fmla="*/ 768192 h 1623059"/>
                    <a:gd name="connsiteX34" fmla="*/ 1505745 w 1903413"/>
                    <a:gd name="connsiteY34" fmla="*/ 651512 h 1623059"/>
                    <a:gd name="connsiteX35" fmla="*/ 1457484 w 1903413"/>
                    <a:gd name="connsiteY35" fmla="*/ 541020 h 1623059"/>
                    <a:gd name="connsiteX36" fmla="*/ 1327151 w 1903413"/>
                    <a:gd name="connsiteY36" fmla="*/ 506255 h 1623059"/>
                    <a:gd name="connsiteX37" fmla="*/ 1231901 w 1903413"/>
                    <a:gd name="connsiteY37" fmla="*/ 584836 h 1623059"/>
                    <a:gd name="connsiteX38" fmla="*/ 1017589 w 1903413"/>
                    <a:gd name="connsiteY38" fmla="*/ 553880 h 1623059"/>
                    <a:gd name="connsiteX39" fmla="*/ 934245 w 1903413"/>
                    <a:gd name="connsiteY39" fmla="*/ 525305 h 1623059"/>
                    <a:gd name="connsiteX40" fmla="*/ 891382 w 1903413"/>
                    <a:gd name="connsiteY40" fmla="*/ 453868 h 1623059"/>
                    <a:gd name="connsiteX41" fmla="*/ 849154 w 1903413"/>
                    <a:gd name="connsiteY41" fmla="*/ 418623 h 1623059"/>
                    <a:gd name="connsiteX42" fmla="*/ 915195 w 1903413"/>
                    <a:gd name="connsiteY42" fmla="*/ 218124 h 1623059"/>
                    <a:gd name="connsiteX43" fmla="*/ 203200 w 1903413"/>
                    <a:gd name="connsiteY43" fmla="*/ 0 h 1623059"/>
                    <a:gd name="connsiteX44" fmla="*/ 0 w 1903413"/>
                    <a:gd name="connsiteY44" fmla="*/ 325120 h 1623059"/>
                    <a:gd name="connsiteX45" fmla="*/ 215900 w 1903413"/>
                    <a:gd name="connsiteY45" fmla="*/ 1191895 h 162305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</a:cxnLst>
                  <a:rect l="l" t="t" r="r" b="b"/>
                  <a:pathLst>
                    <a:path w="1903413" h="1623059">
                      <a:moveTo>
                        <a:pt x="215900" y="1191895"/>
                      </a:moveTo>
                      <a:lnTo>
                        <a:pt x="296068" y="1237297"/>
                      </a:lnTo>
                      <a:lnTo>
                        <a:pt x="366712" y="1347629"/>
                      </a:lnTo>
                      <a:lnTo>
                        <a:pt x="569912" y="1282541"/>
                      </a:lnTo>
                      <a:lnTo>
                        <a:pt x="715169" y="1282541"/>
                      </a:lnTo>
                      <a:lnTo>
                        <a:pt x="750888" y="1308735"/>
                      </a:lnTo>
                      <a:lnTo>
                        <a:pt x="800893" y="1301591"/>
                      </a:lnTo>
                      <a:lnTo>
                        <a:pt x="805657" y="1356361"/>
                      </a:lnTo>
                      <a:lnTo>
                        <a:pt x="924720" y="1430179"/>
                      </a:lnTo>
                      <a:lnTo>
                        <a:pt x="943769" y="1415891"/>
                      </a:lnTo>
                      <a:lnTo>
                        <a:pt x="1042511" y="1473042"/>
                      </a:lnTo>
                      <a:lnTo>
                        <a:pt x="1029493" y="1558766"/>
                      </a:lnTo>
                      <a:lnTo>
                        <a:pt x="1081881" y="1623059"/>
                      </a:lnTo>
                      <a:lnTo>
                        <a:pt x="1162844" y="1537335"/>
                      </a:lnTo>
                      <a:lnTo>
                        <a:pt x="1160462" y="1458754"/>
                      </a:lnTo>
                      <a:lnTo>
                        <a:pt x="1093787" y="1353979"/>
                      </a:lnTo>
                      <a:lnTo>
                        <a:pt x="1108075" y="1296829"/>
                      </a:lnTo>
                      <a:lnTo>
                        <a:pt x="1103313" y="1249204"/>
                      </a:lnTo>
                      <a:lnTo>
                        <a:pt x="1443831" y="1208722"/>
                      </a:lnTo>
                      <a:lnTo>
                        <a:pt x="1448594" y="1275398"/>
                      </a:lnTo>
                      <a:lnTo>
                        <a:pt x="1491456" y="1249204"/>
                      </a:lnTo>
                      <a:lnTo>
                        <a:pt x="1550988" y="1289685"/>
                      </a:lnTo>
                      <a:lnTo>
                        <a:pt x="1593850" y="1282542"/>
                      </a:lnTo>
                      <a:lnTo>
                        <a:pt x="1615282" y="1451610"/>
                      </a:lnTo>
                      <a:lnTo>
                        <a:pt x="1789113" y="1365884"/>
                      </a:lnTo>
                      <a:lnTo>
                        <a:pt x="1814354" y="1244441"/>
                      </a:lnTo>
                      <a:lnTo>
                        <a:pt x="1801019" y="1106331"/>
                      </a:lnTo>
                      <a:lnTo>
                        <a:pt x="1865313" y="1003936"/>
                      </a:lnTo>
                      <a:lnTo>
                        <a:pt x="1903413" y="956312"/>
                      </a:lnTo>
                      <a:lnTo>
                        <a:pt x="1858169" y="887572"/>
                      </a:lnTo>
                      <a:lnTo>
                        <a:pt x="1739107" y="880745"/>
                      </a:lnTo>
                      <a:lnTo>
                        <a:pt x="1662908" y="825342"/>
                      </a:lnTo>
                      <a:lnTo>
                        <a:pt x="1598613" y="834868"/>
                      </a:lnTo>
                      <a:cubicBezTo>
                        <a:pt x="1598613" y="812643"/>
                        <a:pt x="1598614" y="790417"/>
                        <a:pt x="1598614" y="768192"/>
                      </a:cubicBezTo>
                      <a:lnTo>
                        <a:pt x="1505745" y="651512"/>
                      </a:lnTo>
                      <a:lnTo>
                        <a:pt x="1457484" y="541020"/>
                      </a:lnTo>
                      <a:lnTo>
                        <a:pt x="1327151" y="506255"/>
                      </a:lnTo>
                      <a:lnTo>
                        <a:pt x="1231901" y="584836"/>
                      </a:lnTo>
                      <a:lnTo>
                        <a:pt x="1017589" y="553880"/>
                      </a:lnTo>
                      <a:lnTo>
                        <a:pt x="934245" y="525305"/>
                      </a:lnTo>
                      <a:lnTo>
                        <a:pt x="891382" y="453868"/>
                      </a:lnTo>
                      <a:lnTo>
                        <a:pt x="849154" y="418623"/>
                      </a:lnTo>
                      <a:lnTo>
                        <a:pt x="915195" y="218124"/>
                      </a:lnTo>
                      <a:lnTo>
                        <a:pt x="203200" y="0"/>
                      </a:lnTo>
                      <a:lnTo>
                        <a:pt x="0" y="325120"/>
                      </a:lnTo>
                      <a:lnTo>
                        <a:pt x="215900" y="1191895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100" name="Freeform 99"/>
                <p:cNvSpPr/>
                <p:nvPr/>
              </p:nvSpPr>
              <p:spPr>
                <a:xfrm>
                  <a:off x="1112044" y="1166812"/>
                  <a:ext cx="1340644" cy="2544762"/>
                </a:xfrm>
                <a:custGeom>
                  <a:avLst/>
                  <a:gdLst>
                    <a:gd name="connsiteX0" fmla="*/ 1066800 w 1841500"/>
                    <a:gd name="connsiteY0" fmla="*/ 0 h 2984500"/>
                    <a:gd name="connsiteX1" fmla="*/ 330200 w 1841500"/>
                    <a:gd name="connsiteY1" fmla="*/ 622300 h 2984500"/>
                    <a:gd name="connsiteX2" fmla="*/ 0 w 1841500"/>
                    <a:gd name="connsiteY2" fmla="*/ 1270000 h 2984500"/>
                    <a:gd name="connsiteX3" fmla="*/ 25400 w 1841500"/>
                    <a:gd name="connsiteY3" fmla="*/ 2108200 h 2984500"/>
                    <a:gd name="connsiteX4" fmla="*/ 114300 w 1841500"/>
                    <a:gd name="connsiteY4" fmla="*/ 2705100 h 2984500"/>
                    <a:gd name="connsiteX5" fmla="*/ 1016000 w 1841500"/>
                    <a:gd name="connsiteY5" fmla="*/ 2984500 h 2984500"/>
                    <a:gd name="connsiteX6" fmla="*/ 1562100 w 1841500"/>
                    <a:gd name="connsiteY6" fmla="*/ 1955800 h 2984500"/>
                    <a:gd name="connsiteX7" fmla="*/ 1841500 w 1841500"/>
                    <a:gd name="connsiteY7" fmla="*/ 1257300 h 2984500"/>
                    <a:gd name="connsiteX8" fmla="*/ 1473200 w 1841500"/>
                    <a:gd name="connsiteY8" fmla="*/ 304800 h 2984500"/>
                    <a:gd name="connsiteX9" fmla="*/ 1066800 w 1841500"/>
                    <a:gd name="connsiteY9" fmla="*/ 0 h 2984500"/>
                    <a:gd name="connsiteX0" fmla="*/ 1085850 w 1841500"/>
                    <a:gd name="connsiteY0" fmla="*/ 0 h 2743994"/>
                    <a:gd name="connsiteX1" fmla="*/ 330200 w 1841500"/>
                    <a:gd name="connsiteY1" fmla="*/ 381794 h 2743994"/>
                    <a:gd name="connsiteX2" fmla="*/ 0 w 1841500"/>
                    <a:gd name="connsiteY2" fmla="*/ 1029494 h 2743994"/>
                    <a:gd name="connsiteX3" fmla="*/ 25400 w 1841500"/>
                    <a:gd name="connsiteY3" fmla="*/ 1867694 h 2743994"/>
                    <a:gd name="connsiteX4" fmla="*/ 114300 w 1841500"/>
                    <a:gd name="connsiteY4" fmla="*/ 2464594 h 2743994"/>
                    <a:gd name="connsiteX5" fmla="*/ 1016000 w 1841500"/>
                    <a:gd name="connsiteY5" fmla="*/ 2743994 h 2743994"/>
                    <a:gd name="connsiteX6" fmla="*/ 1562100 w 1841500"/>
                    <a:gd name="connsiteY6" fmla="*/ 1715294 h 2743994"/>
                    <a:gd name="connsiteX7" fmla="*/ 1841500 w 1841500"/>
                    <a:gd name="connsiteY7" fmla="*/ 1016794 h 2743994"/>
                    <a:gd name="connsiteX8" fmla="*/ 1473200 w 1841500"/>
                    <a:gd name="connsiteY8" fmla="*/ 64294 h 2743994"/>
                    <a:gd name="connsiteX9" fmla="*/ 1085850 w 1841500"/>
                    <a:gd name="connsiteY9" fmla="*/ 0 h 2743994"/>
                    <a:gd name="connsiteX0" fmla="*/ 1085850 w 1841500"/>
                    <a:gd name="connsiteY0" fmla="*/ 0 h 2743994"/>
                    <a:gd name="connsiteX1" fmla="*/ 330200 w 1841500"/>
                    <a:gd name="connsiteY1" fmla="*/ 381794 h 2743994"/>
                    <a:gd name="connsiteX2" fmla="*/ 0 w 1841500"/>
                    <a:gd name="connsiteY2" fmla="*/ 1029494 h 2743994"/>
                    <a:gd name="connsiteX3" fmla="*/ 25400 w 1841500"/>
                    <a:gd name="connsiteY3" fmla="*/ 1867694 h 2743994"/>
                    <a:gd name="connsiteX4" fmla="*/ 114300 w 1841500"/>
                    <a:gd name="connsiteY4" fmla="*/ 2464594 h 2743994"/>
                    <a:gd name="connsiteX5" fmla="*/ 1016000 w 1841500"/>
                    <a:gd name="connsiteY5" fmla="*/ 2743994 h 2743994"/>
                    <a:gd name="connsiteX6" fmla="*/ 1562100 w 1841500"/>
                    <a:gd name="connsiteY6" fmla="*/ 1715294 h 2743994"/>
                    <a:gd name="connsiteX7" fmla="*/ 1841500 w 1841500"/>
                    <a:gd name="connsiteY7" fmla="*/ 1016794 h 2743994"/>
                    <a:gd name="connsiteX8" fmla="*/ 1473200 w 1841500"/>
                    <a:gd name="connsiteY8" fmla="*/ 64294 h 2743994"/>
                    <a:gd name="connsiteX9" fmla="*/ 1307306 w 1841500"/>
                    <a:gd name="connsiteY9" fmla="*/ 34925 h 2743994"/>
                    <a:gd name="connsiteX10" fmla="*/ 1085850 w 1841500"/>
                    <a:gd name="connsiteY10" fmla="*/ 0 h 2743994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473200 w 1841500"/>
                    <a:gd name="connsiteY8" fmla="*/ 217487 h 2897187"/>
                    <a:gd name="connsiteX9" fmla="*/ 1171575 w 1841500"/>
                    <a:gd name="connsiteY9" fmla="*/ 0 h 2897187"/>
                    <a:gd name="connsiteX10" fmla="*/ 1085850 w 1841500"/>
                    <a:gd name="connsiteY10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323181 w 1841500"/>
                    <a:gd name="connsiteY8" fmla="*/ 324644 h 2897187"/>
                    <a:gd name="connsiteX9" fmla="*/ 1171575 w 1841500"/>
                    <a:gd name="connsiteY9" fmla="*/ 0 h 2897187"/>
                    <a:gd name="connsiteX10" fmla="*/ 1085850 w 1841500"/>
                    <a:gd name="connsiteY10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366838 w 1841500"/>
                    <a:gd name="connsiteY8" fmla="*/ 400051 h 2897187"/>
                    <a:gd name="connsiteX9" fmla="*/ 1323181 w 1841500"/>
                    <a:gd name="connsiteY9" fmla="*/ 324644 h 2897187"/>
                    <a:gd name="connsiteX10" fmla="*/ 1171575 w 1841500"/>
                    <a:gd name="connsiteY10" fmla="*/ 0 h 2897187"/>
                    <a:gd name="connsiteX11" fmla="*/ 1085850 w 1841500"/>
                    <a:gd name="connsiteY11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302545 w 1841500"/>
                    <a:gd name="connsiteY8" fmla="*/ 445295 h 2897187"/>
                    <a:gd name="connsiteX9" fmla="*/ 1323181 w 1841500"/>
                    <a:gd name="connsiteY9" fmla="*/ 324644 h 2897187"/>
                    <a:gd name="connsiteX10" fmla="*/ 1171575 w 1841500"/>
                    <a:gd name="connsiteY10" fmla="*/ 0 h 2897187"/>
                    <a:gd name="connsiteX11" fmla="*/ 1085850 w 1841500"/>
                    <a:gd name="connsiteY11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793081 w 1841500"/>
                    <a:gd name="connsiteY8" fmla="*/ 1100138 h 2897187"/>
                    <a:gd name="connsiteX9" fmla="*/ 1302545 w 1841500"/>
                    <a:gd name="connsiteY9" fmla="*/ 445295 h 2897187"/>
                    <a:gd name="connsiteX10" fmla="*/ 1323181 w 1841500"/>
                    <a:gd name="connsiteY10" fmla="*/ 324644 h 2897187"/>
                    <a:gd name="connsiteX11" fmla="*/ 1171575 w 1841500"/>
                    <a:gd name="connsiteY11" fmla="*/ 0 h 2897187"/>
                    <a:gd name="connsiteX12" fmla="*/ 1085850 w 1841500"/>
                    <a:gd name="connsiteY12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321594 w 1841500"/>
                    <a:gd name="connsiteY8" fmla="*/ 523876 h 2897187"/>
                    <a:gd name="connsiteX9" fmla="*/ 1302545 w 1841500"/>
                    <a:gd name="connsiteY9" fmla="*/ 445295 h 2897187"/>
                    <a:gd name="connsiteX10" fmla="*/ 1323181 w 1841500"/>
                    <a:gd name="connsiteY10" fmla="*/ 324644 h 2897187"/>
                    <a:gd name="connsiteX11" fmla="*/ 1171575 w 1841500"/>
                    <a:gd name="connsiteY11" fmla="*/ 0 h 2897187"/>
                    <a:gd name="connsiteX12" fmla="*/ 1085850 w 1841500"/>
                    <a:gd name="connsiteY12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552575 w 1841500"/>
                    <a:gd name="connsiteY8" fmla="*/ 812007 h 2897187"/>
                    <a:gd name="connsiteX9" fmla="*/ 1321594 w 1841500"/>
                    <a:gd name="connsiteY9" fmla="*/ 523876 h 2897187"/>
                    <a:gd name="connsiteX10" fmla="*/ 1302545 w 1841500"/>
                    <a:gd name="connsiteY10" fmla="*/ 445295 h 2897187"/>
                    <a:gd name="connsiteX11" fmla="*/ 1323181 w 1841500"/>
                    <a:gd name="connsiteY11" fmla="*/ 324644 h 2897187"/>
                    <a:gd name="connsiteX12" fmla="*/ 1171575 w 1841500"/>
                    <a:gd name="connsiteY12" fmla="*/ 0 h 2897187"/>
                    <a:gd name="connsiteX13" fmla="*/ 1085850 w 1841500"/>
                    <a:gd name="connsiteY13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323975 w 1841500"/>
                    <a:gd name="connsiteY8" fmla="*/ 604838 h 2897187"/>
                    <a:gd name="connsiteX9" fmla="*/ 1321594 w 1841500"/>
                    <a:gd name="connsiteY9" fmla="*/ 523876 h 2897187"/>
                    <a:gd name="connsiteX10" fmla="*/ 1302545 w 1841500"/>
                    <a:gd name="connsiteY10" fmla="*/ 445295 h 2897187"/>
                    <a:gd name="connsiteX11" fmla="*/ 1323181 w 1841500"/>
                    <a:gd name="connsiteY11" fmla="*/ 324644 h 2897187"/>
                    <a:gd name="connsiteX12" fmla="*/ 1171575 w 1841500"/>
                    <a:gd name="connsiteY12" fmla="*/ 0 h 2897187"/>
                    <a:gd name="connsiteX13" fmla="*/ 1085850 w 1841500"/>
                    <a:gd name="connsiteY13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557338 w 1841500"/>
                    <a:gd name="connsiteY8" fmla="*/ 857251 h 2897187"/>
                    <a:gd name="connsiteX9" fmla="*/ 1323975 w 1841500"/>
                    <a:gd name="connsiteY9" fmla="*/ 604838 h 2897187"/>
                    <a:gd name="connsiteX10" fmla="*/ 1321594 w 1841500"/>
                    <a:gd name="connsiteY10" fmla="*/ 523876 h 2897187"/>
                    <a:gd name="connsiteX11" fmla="*/ 1302545 w 1841500"/>
                    <a:gd name="connsiteY11" fmla="*/ 445295 h 2897187"/>
                    <a:gd name="connsiteX12" fmla="*/ 1323181 w 1841500"/>
                    <a:gd name="connsiteY12" fmla="*/ 324644 h 2897187"/>
                    <a:gd name="connsiteX13" fmla="*/ 1171575 w 1841500"/>
                    <a:gd name="connsiteY13" fmla="*/ 0 h 2897187"/>
                    <a:gd name="connsiteX14" fmla="*/ 1085850 w 1841500"/>
                    <a:gd name="connsiteY14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383507 w 1841500"/>
                    <a:gd name="connsiteY8" fmla="*/ 664370 h 2897187"/>
                    <a:gd name="connsiteX9" fmla="*/ 1323975 w 1841500"/>
                    <a:gd name="connsiteY9" fmla="*/ 604838 h 2897187"/>
                    <a:gd name="connsiteX10" fmla="*/ 1321594 w 1841500"/>
                    <a:gd name="connsiteY10" fmla="*/ 523876 h 2897187"/>
                    <a:gd name="connsiteX11" fmla="*/ 1302545 w 1841500"/>
                    <a:gd name="connsiteY11" fmla="*/ 445295 h 2897187"/>
                    <a:gd name="connsiteX12" fmla="*/ 1323181 w 1841500"/>
                    <a:gd name="connsiteY12" fmla="*/ 324644 h 2897187"/>
                    <a:gd name="connsiteX13" fmla="*/ 1171575 w 1841500"/>
                    <a:gd name="connsiteY13" fmla="*/ 0 h 2897187"/>
                    <a:gd name="connsiteX14" fmla="*/ 1085850 w 1841500"/>
                    <a:gd name="connsiteY14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664494 w 1841500"/>
                    <a:gd name="connsiteY8" fmla="*/ 976313 h 2897187"/>
                    <a:gd name="connsiteX9" fmla="*/ 1383507 w 1841500"/>
                    <a:gd name="connsiteY9" fmla="*/ 664370 h 2897187"/>
                    <a:gd name="connsiteX10" fmla="*/ 1323975 w 1841500"/>
                    <a:gd name="connsiteY10" fmla="*/ 604838 h 2897187"/>
                    <a:gd name="connsiteX11" fmla="*/ 1321594 w 1841500"/>
                    <a:gd name="connsiteY11" fmla="*/ 523876 h 2897187"/>
                    <a:gd name="connsiteX12" fmla="*/ 1302545 w 1841500"/>
                    <a:gd name="connsiteY12" fmla="*/ 445295 h 2897187"/>
                    <a:gd name="connsiteX13" fmla="*/ 1323181 w 1841500"/>
                    <a:gd name="connsiteY13" fmla="*/ 324644 h 2897187"/>
                    <a:gd name="connsiteX14" fmla="*/ 1171575 w 1841500"/>
                    <a:gd name="connsiteY14" fmla="*/ 0 h 2897187"/>
                    <a:gd name="connsiteX15" fmla="*/ 1085850 w 1841500"/>
                    <a:gd name="connsiteY15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433513 w 1841500"/>
                    <a:gd name="connsiteY8" fmla="*/ 804863 h 2897187"/>
                    <a:gd name="connsiteX9" fmla="*/ 1383507 w 1841500"/>
                    <a:gd name="connsiteY9" fmla="*/ 664370 h 2897187"/>
                    <a:gd name="connsiteX10" fmla="*/ 1323975 w 1841500"/>
                    <a:gd name="connsiteY10" fmla="*/ 604838 h 2897187"/>
                    <a:gd name="connsiteX11" fmla="*/ 1321594 w 1841500"/>
                    <a:gd name="connsiteY11" fmla="*/ 523876 h 2897187"/>
                    <a:gd name="connsiteX12" fmla="*/ 1302545 w 1841500"/>
                    <a:gd name="connsiteY12" fmla="*/ 445295 h 2897187"/>
                    <a:gd name="connsiteX13" fmla="*/ 1323181 w 1841500"/>
                    <a:gd name="connsiteY13" fmla="*/ 324644 h 2897187"/>
                    <a:gd name="connsiteX14" fmla="*/ 1171575 w 1841500"/>
                    <a:gd name="connsiteY14" fmla="*/ 0 h 2897187"/>
                    <a:gd name="connsiteX15" fmla="*/ 1085850 w 1841500"/>
                    <a:gd name="connsiteY15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662113 w 1841500"/>
                    <a:gd name="connsiteY8" fmla="*/ 1007269 h 2897187"/>
                    <a:gd name="connsiteX9" fmla="*/ 1433513 w 1841500"/>
                    <a:gd name="connsiteY9" fmla="*/ 804863 h 2897187"/>
                    <a:gd name="connsiteX10" fmla="*/ 1383507 w 1841500"/>
                    <a:gd name="connsiteY10" fmla="*/ 664370 h 2897187"/>
                    <a:gd name="connsiteX11" fmla="*/ 1323975 w 1841500"/>
                    <a:gd name="connsiteY11" fmla="*/ 604838 h 2897187"/>
                    <a:gd name="connsiteX12" fmla="*/ 1321594 w 1841500"/>
                    <a:gd name="connsiteY12" fmla="*/ 523876 h 2897187"/>
                    <a:gd name="connsiteX13" fmla="*/ 1302545 w 1841500"/>
                    <a:gd name="connsiteY13" fmla="*/ 445295 h 2897187"/>
                    <a:gd name="connsiteX14" fmla="*/ 1323181 w 1841500"/>
                    <a:gd name="connsiteY14" fmla="*/ 324644 h 2897187"/>
                    <a:gd name="connsiteX15" fmla="*/ 1171575 w 1841500"/>
                    <a:gd name="connsiteY15" fmla="*/ 0 h 2897187"/>
                    <a:gd name="connsiteX16" fmla="*/ 1085850 w 1841500"/>
                    <a:gd name="connsiteY16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400176 w 1841500"/>
                    <a:gd name="connsiteY8" fmla="*/ 878682 h 2897187"/>
                    <a:gd name="connsiteX9" fmla="*/ 1433513 w 1841500"/>
                    <a:gd name="connsiteY9" fmla="*/ 804863 h 2897187"/>
                    <a:gd name="connsiteX10" fmla="*/ 1383507 w 1841500"/>
                    <a:gd name="connsiteY10" fmla="*/ 664370 h 2897187"/>
                    <a:gd name="connsiteX11" fmla="*/ 1323975 w 1841500"/>
                    <a:gd name="connsiteY11" fmla="*/ 604838 h 2897187"/>
                    <a:gd name="connsiteX12" fmla="*/ 1321594 w 1841500"/>
                    <a:gd name="connsiteY12" fmla="*/ 523876 h 2897187"/>
                    <a:gd name="connsiteX13" fmla="*/ 1302545 w 1841500"/>
                    <a:gd name="connsiteY13" fmla="*/ 445295 h 2897187"/>
                    <a:gd name="connsiteX14" fmla="*/ 1323181 w 1841500"/>
                    <a:gd name="connsiteY14" fmla="*/ 324644 h 2897187"/>
                    <a:gd name="connsiteX15" fmla="*/ 1171575 w 1841500"/>
                    <a:gd name="connsiteY15" fmla="*/ 0 h 2897187"/>
                    <a:gd name="connsiteX16" fmla="*/ 1085850 w 1841500"/>
                    <a:gd name="connsiteY16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664494 w 1841500"/>
                    <a:gd name="connsiteY8" fmla="*/ 1047751 h 2897187"/>
                    <a:gd name="connsiteX9" fmla="*/ 1400176 w 1841500"/>
                    <a:gd name="connsiteY9" fmla="*/ 878682 h 2897187"/>
                    <a:gd name="connsiteX10" fmla="*/ 1433513 w 1841500"/>
                    <a:gd name="connsiteY10" fmla="*/ 804863 h 2897187"/>
                    <a:gd name="connsiteX11" fmla="*/ 1383507 w 1841500"/>
                    <a:gd name="connsiteY11" fmla="*/ 664370 h 2897187"/>
                    <a:gd name="connsiteX12" fmla="*/ 1323975 w 1841500"/>
                    <a:gd name="connsiteY12" fmla="*/ 604838 h 2897187"/>
                    <a:gd name="connsiteX13" fmla="*/ 1321594 w 1841500"/>
                    <a:gd name="connsiteY13" fmla="*/ 523876 h 2897187"/>
                    <a:gd name="connsiteX14" fmla="*/ 1302545 w 1841500"/>
                    <a:gd name="connsiteY14" fmla="*/ 445295 h 2897187"/>
                    <a:gd name="connsiteX15" fmla="*/ 1323181 w 1841500"/>
                    <a:gd name="connsiteY15" fmla="*/ 324644 h 2897187"/>
                    <a:gd name="connsiteX16" fmla="*/ 1171575 w 1841500"/>
                    <a:gd name="connsiteY16" fmla="*/ 0 h 2897187"/>
                    <a:gd name="connsiteX17" fmla="*/ 1085850 w 1841500"/>
                    <a:gd name="connsiteY17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445419 w 1841500"/>
                    <a:gd name="connsiteY8" fmla="*/ 1007269 h 2897187"/>
                    <a:gd name="connsiteX9" fmla="*/ 1400176 w 1841500"/>
                    <a:gd name="connsiteY9" fmla="*/ 878682 h 2897187"/>
                    <a:gd name="connsiteX10" fmla="*/ 1433513 w 1841500"/>
                    <a:gd name="connsiteY10" fmla="*/ 804863 h 2897187"/>
                    <a:gd name="connsiteX11" fmla="*/ 1383507 w 1841500"/>
                    <a:gd name="connsiteY11" fmla="*/ 664370 h 2897187"/>
                    <a:gd name="connsiteX12" fmla="*/ 1323975 w 1841500"/>
                    <a:gd name="connsiteY12" fmla="*/ 604838 h 2897187"/>
                    <a:gd name="connsiteX13" fmla="*/ 1321594 w 1841500"/>
                    <a:gd name="connsiteY13" fmla="*/ 523876 h 2897187"/>
                    <a:gd name="connsiteX14" fmla="*/ 1302545 w 1841500"/>
                    <a:gd name="connsiteY14" fmla="*/ 445295 h 2897187"/>
                    <a:gd name="connsiteX15" fmla="*/ 1323181 w 1841500"/>
                    <a:gd name="connsiteY15" fmla="*/ 324644 h 2897187"/>
                    <a:gd name="connsiteX16" fmla="*/ 1171575 w 1841500"/>
                    <a:gd name="connsiteY16" fmla="*/ 0 h 2897187"/>
                    <a:gd name="connsiteX17" fmla="*/ 1085850 w 1841500"/>
                    <a:gd name="connsiteY17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762125 w 1841500"/>
                    <a:gd name="connsiteY8" fmla="*/ 1140619 h 2897187"/>
                    <a:gd name="connsiteX9" fmla="*/ 1445419 w 1841500"/>
                    <a:gd name="connsiteY9" fmla="*/ 1007269 h 2897187"/>
                    <a:gd name="connsiteX10" fmla="*/ 1400176 w 1841500"/>
                    <a:gd name="connsiteY10" fmla="*/ 878682 h 2897187"/>
                    <a:gd name="connsiteX11" fmla="*/ 1433513 w 1841500"/>
                    <a:gd name="connsiteY11" fmla="*/ 804863 h 2897187"/>
                    <a:gd name="connsiteX12" fmla="*/ 1383507 w 1841500"/>
                    <a:gd name="connsiteY12" fmla="*/ 664370 h 2897187"/>
                    <a:gd name="connsiteX13" fmla="*/ 1323975 w 1841500"/>
                    <a:gd name="connsiteY13" fmla="*/ 604838 h 2897187"/>
                    <a:gd name="connsiteX14" fmla="*/ 1321594 w 1841500"/>
                    <a:gd name="connsiteY14" fmla="*/ 523876 h 2897187"/>
                    <a:gd name="connsiteX15" fmla="*/ 1302545 w 1841500"/>
                    <a:gd name="connsiteY15" fmla="*/ 445295 h 2897187"/>
                    <a:gd name="connsiteX16" fmla="*/ 1323181 w 1841500"/>
                    <a:gd name="connsiteY16" fmla="*/ 324644 h 2897187"/>
                    <a:gd name="connsiteX17" fmla="*/ 1171575 w 1841500"/>
                    <a:gd name="connsiteY17" fmla="*/ 0 h 2897187"/>
                    <a:gd name="connsiteX18" fmla="*/ 1085850 w 1841500"/>
                    <a:gd name="connsiteY18" fmla="*/ 153193 h 2897187"/>
                    <a:gd name="connsiteX0" fmla="*/ 1085850 w 1841500"/>
                    <a:gd name="connsiteY0" fmla="*/ 153193 h 2897187"/>
                    <a:gd name="connsiteX1" fmla="*/ 330200 w 1841500"/>
                    <a:gd name="connsiteY1" fmla="*/ 534987 h 2897187"/>
                    <a:gd name="connsiteX2" fmla="*/ 0 w 1841500"/>
                    <a:gd name="connsiteY2" fmla="*/ 1182687 h 2897187"/>
                    <a:gd name="connsiteX3" fmla="*/ 25400 w 1841500"/>
                    <a:gd name="connsiteY3" fmla="*/ 2020887 h 2897187"/>
                    <a:gd name="connsiteX4" fmla="*/ 114300 w 1841500"/>
                    <a:gd name="connsiteY4" fmla="*/ 2617787 h 2897187"/>
                    <a:gd name="connsiteX5" fmla="*/ 1016000 w 1841500"/>
                    <a:gd name="connsiteY5" fmla="*/ 2897187 h 2897187"/>
                    <a:gd name="connsiteX6" fmla="*/ 1562100 w 1841500"/>
                    <a:gd name="connsiteY6" fmla="*/ 1868487 h 2897187"/>
                    <a:gd name="connsiteX7" fmla="*/ 1841500 w 1841500"/>
                    <a:gd name="connsiteY7" fmla="*/ 1169987 h 2897187"/>
                    <a:gd name="connsiteX8" fmla="*/ 1500188 w 1841500"/>
                    <a:gd name="connsiteY8" fmla="*/ 1190625 h 2897187"/>
                    <a:gd name="connsiteX9" fmla="*/ 1445419 w 1841500"/>
                    <a:gd name="connsiteY9" fmla="*/ 1007269 h 2897187"/>
                    <a:gd name="connsiteX10" fmla="*/ 1400176 w 1841500"/>
                    <a:gd name="connsiteY10" fmla="*/ 878682 h 2897187"/>
                    <a:gd name="connsiteX11" fmla="*/ 1433513 w 1841500"/>
                    <a:gd name="connsiteY11" fmla="*/ 804863 h 2897187"/>
                    <a:gd name="connsiteX12" fmla="*/ 1383507 w 1841500"/>
                    <a:gd name="connsiteY12" fmla="*/ 664370 h 2897187"/>
                    <a:gd name="connsiteX13" fmla="*/ 1323975 w 1841500"/>
                    <a:gd name="connsiteY13" fmla="*/ 604838 h 2897187"/>
                    <a:gd name="connsiteX14" fmla="*/ 1321594 w 1841500"/>
                    <a:gd name="connsiteY14" fmla="*/ 523876 h 2897187"/>
                    <a:gd name="connsiteX15" fmla="*/ 1302545 w 1841500"/>
                    <a:gd name="connsiteY15" fmla="*/ 445295 h 2897187"/>
                    <a:gd name="connsiteX16" fmla="*/ 1323181 w 1841500"/>
                    <a:gd name="connsiteY16" fmla="*/ 324644 h 2897187"/>
                    <a:gd name="connsiteX17" fmla="*/ 1171575 w 1841500"/>
                    <a:gd name="connsiteY17" fmla="*/ 0 h 2897187"/>
                    <a:gd name="connsiteX18" fmla="*/ 1085850 w 1841500"/>
                    <a:gd name="connsiteY18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462882 w 1562100"/>
                    <a:gd name="connsiteY7" fmla="*/ 1246187 h 2897187"/>
                    <a:gd name="connsiteX8" fmla="*/ 1500188 w 1562100"/>
                    <a:gd name="connsiteY8" fmla="*/ 1190625 h 2897187"/>
                    <a:gd name="connsiteX9" fmla="*/ 1445419 w 1562100"/>
                    <a:gd name="connsiteY9" fmla="*/ 1007269 h 2897187"/>
                    <a:gd name="connsiteX10" fmla="*/ 1400176 w 1562100"/>
                    <a:gd name="connsiteY10" fmla="*/ 878682 h 2897187"/>
                    <a:gd name="connsiteX11" fmla="*/ 1433513 w 1562100"/>
                    <a:gd name="connsiteY11" fmla="*/ 804863 h 2897187"/>
                    <a:gd name="connsiteX12" fmla="*/ 1383507 w 1562100"/>
                    <a:gd name="connsiteY12" fmla="*/ 664370 h 2897187"/>
                    <a:gd name="connsiteX13" fmla="*/ 1323975 w 1562100"/>
                    <a:gd name="connsiteY13" fmla="*/ 604838 h 2897187"/>
                    <a:gd name="connsiteX14" fmla="*/ 1321594 w 1562100"/>
                    <a:gd name="connsiteY14" fmla="*/ 523876 h 2897187"/>
                    <a:gd name="connsiteX15" fmla="*/ 1302545 w 1562100"/>
                    <a:gd name="connsiteY15" fmla="*/ 445295 h 2897187"/>
                    <a:gd name="connsiteX16" fmla="*/ 1323181 w 1562100"/>
                    <a:gd name="connsiteY16" fmla="*/ 324644 h 2897187"/>
                    <a:gd name="connsiteX17" fmla="*/ 1171575 w 1562100"/>
                    <a:gd name="connsiteY17" fmla="*/ 0 h 2897187"/>
                    <a:gd name="connsiteX18" fmla="*/ 1085850 w 1562100"/>
                    <a:gd name="connsiteY18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514475 w 1562100"/>
                    <a:gd name="connsiteY7" fmla="*/ 1547813 h 2897187"/>
                    <a:gd name="connsiteX8" fmla="*/ 1462882 w 1562100"/>
                    <a:gd name="connsiteY8" fmla="*/ 1246187 h 2897187"/>
                    <a:gd name="connsiteX9" fmla="*/ 1500188 w 1562100"/>
                    <a:gd name="connsiteY9" fmla="*/ 1190625 h 2897187"/>
                    <a:gd name="connsiteX10" fmla="*/ 1445419 w 1562100"/>
                    <a:gd name="connsiteY10" fmla="*/ 1007269 h 2897187"/>
                    <a:gd name="connsiteX11" fmla="*/ 1400176 w 1562100"/>
                    <a:gd name="connsiteY11" fmla="*/ 878682 h 2897187"/>
                    <a:gd name="connsiteX12" fmla="*/ 1433513 w 1562100"/>
                    <a:gd name="connsiteY12" fmla="*/ 804863 h 2897187"/>
                    <a:gd name="connsiteX13" fmla="*/ 1383507 w 1562100"/>
                    <a:gd name="connsiteY13" fmla="*/ 664370 h 2897187"/>
                    <a:gd name="connsiteX14" fmla="*/ 1323975 w 1562100"/>
                    <a:gd name="connsiteY14" fmla="*/ 604838 h 2897187"/>
                    <a:gd name="connsiteX15" fmla="*/ 1321594 w 1562100"/>
                    <a:gd name="connsiteY15" fmla="*/ 523876 h 2897187"/>
                    <a:gd name="connsiteX16" fmla="*/ 1302545 w 1562100"/>
                    <a:gd name="connsiteY16" fmla="*/ 445295 h 2897187"/>
                    <a:gd name="connsiteX17" fmla="*/ 1323181 w 1562100"/>
                    <a:gd name="connsiteY17" fmla="*/ 324644 h 2897187"/>
                    <a:gd name="connsiteX18" fmla="*/ 1171575 w 1562100"/>
                    <a:gd name="connsiteY18" fmla="*/ 0 h 2897187"/>
                    <a:gd name="connsiteX19" fmla="*/ 1085850 w 1562100"/>
                    <a:gd name="connsiteY19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57313 w 1562100"/>
                    <a:gd name="connsiteY7" fmla="*/ 1443038 h 2897187"/>
                    <a:gd name="connsiteX8" fmla="*/ 1462882 w 1562100"/>
                    <a:gd name="connsiteY8" fmla="*/ 1246187 h 2897187"/>
                    <a:gd name="connsiteX9" fmla="*/ 1500188 w 1562100"/>
                    <a:gd name="connsiteY9" fmla="*/ 1190625 h 2897187"/>
                    <a:gd name="connsiteX10" fmla="*/ 1445419 w 1562100"/>
                    <a:gd name="connsiteY10" fmla="*/ 1007269 h 2897187"/>
                    <a:gd name="connsiteX11" fmla="*/ 1400176 w 1562100"/>
                    <a:gd name="connsiteY11" fmla="*/ 878682 h 2897187"/>
                    <a:gd name="connsiteX12" fmla="*/ 1433513 w 1562100"/>
                    <a:gd name="connsiteY12" fmla="*/ 804863 h 2897187"/>
                    <a:gd name="connsiteX13" fmla="*/ 1383507 w 1562100"/>
                    <a:gd name="connsiteY13" fmla="*/ 664370 h 2897187"/>
                    <a:gd name="connsiteX14" fmla="*/ 1323975 w 1562100"/>
                    <a:gd name="connsiteY14" fmla="*/ 604838 h 2897187"/>
                    <a:gd name="connsiteX15" fmla="*/ 1321594 w 1562100"/>
                    <a:gd name="connsiteY15" fmla="*/ 523876 h 2897187"/>
                    <a:gd name="connsiteX16" fmla="*/ 1302545 w 1562100"/>
                    <a:gd name="connsiteY16" fmla="*/ 445295 h 2897187"/>
                    <a:gd name="connsiteX17" fmla="*/ 1323181 w 1562100"/>
                    <a:gd name="connsiteY17" fmla="*/ 324644 h 2897187"/>
                    <a:gd name="connsiteX18" fmla="*/ 1171575 w 1562100"/>
                    <a:gd name="connsiteY18" fmla="*/ 0 h 2897187"/>
                    <a:gd name="connsiteX19" fmla="*/ 1085850 w 1562100"/>
                    <a:gd name="connsiteY19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57313 w 1562100"/>
                    <a:gd name="connsiteY7" fmla="*/ 1443038 h 2897187"/>
                    <a:gd name="connsiteX8" fmla="*/ 1423988 w 1562100"/>
                    <a:gd name="connsiteY8" fmla="*/ 1323976 h 2897187"/>
                    <a:gd name="connsiteX9" fmla="*/ 1462882 w 1562100"/>
                    <a:gd name="connsiteY9" fmla="*/ 1246187 h 2897187"/>
                    <a:gd name="connsiteX10" fmla="*/ 1500188 w 1562100"/>
                    <a:gd name="connsiteY10" fmla="*/ 1190625 h 2897187"/>
                    <a:gd name="connsiteX11" fmla="*/ 1445419 w 1562100"/>
                    <a:gd name="connsiteY11" fmla="*/ 1007269 h 2897187"/>
                    <a:gd name="connsiteX12" fmla="*/ 1400176 w 1562100"/>
                    <a:gd name="connsiteY12" fmla="*/ 878682 h 2897187"/>
                    <a:gd name="connsiteX13" fmla="*/ 1433513 w 1562100"/>
                    <a:gd name="connsiteY13" fmla="*/ 804863 h 2897187"/>
                    <a:gd name="connsiteX14" fmla="*/ 1383507 w 1562100"/>
                    <a:gd name="connsiteY14" fmla="*/ 664370 h 2897187"/>
                    <a:gd name="connsiteX15" fmla="*/ 1323975 w 1562100"/>
                    <a:gd name="connsiteY15" fmla="*/ 604838 h 2897187"/>
                    <a:gd name="connsiteX16" fmla="*/ 1321594 w 1562100"/>
                    <a:gd name="connsiteY16" fmla="*/ 523876 h 2897187"/>
                    <a:gd name="connsiteX17" fmla="*/ 1302545 w 1562100"/>
                    <a:gd name="connsiteY17" fmla="*/ 445295 h 2897187"/>
                    <a:gd name="connsiteX18" fmla="*/ 1323181 w 1562100"/>
                    <a:gd name="connsiteY18" fmla="*/ 324644 h 2897187"/>
                    <a:gd name="connsiteX19" fmla="*/ 1171575 w 1562100"/>
                    <a:gd name="connsiteY19" fmla="*/ 0 h 2897187"/>
                    <a:gd name="connsiteX20" fmla="*/ 1085850 w 1562100"/>
                    <a:gd name="connsiteY20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57313 w 1562100"/>
                    <a:gd name="connsiteY7" fmla="*/ 1443038 h 2897187"/>
                    <a:gd name="connsiteX8" fmla="*/ 1426369 w 1562100"/>
                    <a:gd name="connsiteY8" fmla="*/ 1254920 h 2897187"/>
                    <a:gd name="connsiteX9" fmla="*/ 1462882 w 1562100"/>
                    <a:gd name="connsiteY9" fmla="*/ 1246187 h 2897187"/>
                    <a:gd name="connsiteX10" fmla="*/ 1500188 w 1562100"/>
                    <a:gd name="connsiteY10" fmla="*/ 1190625 h 2897187"/>
                    <a:gd name="connsiteX11" fmla="*/ 1445419 w 1562100"/>
                    <a:gd name="connsiteY11" fmla="*/ 1007269 h 2897187"/>
                    <a:gd name="connsiteX12" fmla="*/ 1400176 w 1562100"/>
                    <a:gd name="connsiteY12" fmla="*/ 878682 h 2897187"/>
                    <a:gd name="connsiteX13" fmla="*/ 1433513 w 1562100"/>
                    <a:gd name="connsiteY13" fmla="*/ 804863 h 2897187"/>
                    <a:gd name="connsiteX14" fmla="*/ 1383507 w 1562100"/>
                    <a:gd name="connsiteY14" fmla="*/ 664370 h 2897187"/>
                    <a:gd name="connsiteX15" fmla="*/ 1323975 w 1562100"/>
                    <a:gd name="connsiteY15" fmla="*/ 604838 h 2897187"/>
                    <a:gd name="connsiteX16" fmla="*/ 1321594 w 1562100"/>
                    <a:gd name="connsiteY16" fmla="*/ 523876 h 2897187"/>
                    <a:gd name="connsiteX17" fmla="*/ 1302545 w 1562100"/>
                    <a:gd name="connsiteY17" fmla="*/ 445295 h 2897187"/>
                    <a:gd name="connsiteX18" fmla="*/ 1323181 w 1562100"/>
                    <a:gd name="connsiteY18" fmla="*/ 324644 h 2897187"/>
                    <a:gd name="connsiteX19" fmla="*/ 1171575 w 1562100"/>
                    <a:gd name="connsiteY19" fmla="*/ 0 h 2897187"/>
                    <a:gd name="connsiteX20" fmla="*/ 1085850 w 1562100"/>
                    <a:gd name="connsiteY20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57313 w 1562100"/>
                    <a:gd name="connsiteY7" fmla="*/ 1443038 h 2897187"/>
                    <a:gd name="connsiteX8" fmla="*/ 1390650 w 1562100"/>
                    <a:gd name="connsiteY8" fmla="*/ 1354932 h 2897187"/>
                    <a:gd name="connsiteX9" fmla="*/ 1426369 w 1562100"/>
                    <a:gd name="connsiteY9" fmla="*/ 1254920 h 2897187"/>
                    <a:gd name="connsiteX10" fmla="*/ 1462882 w 1562100"/>
                    <a:gd name="connsiteY10" fmla="*/ 1246187 h 2897187"/>
                    <a:gd name="connsiteX11" fmla="*/ 1500188 w 1562100"/>
                    <a:gd name="connsiteY11" fmla="*/ 1190625 h 2897187"/>
                    <a:gd name="connsiteX12" fmla="*/ 1445419 w 1562100"/>
                    <a:gd name="connsiteY12" fmla="*/ 1007269 h 2897187"/>
                    <a:gd name="connsiteX13" fmla="*/ 1400176 w 1562100"/>
                    <a:gd name="connsiteY13" fmla="*/ 878682 h 2897187"/>
                    <a:gd name="connsiteX14" fmla="*/ 1433513 w 1562100"/>
                    <a:gd name="connsiteY14" fmla="*/ 804863 h 2897187"/>
                    <a:gd name="connsiteX15" fmla="*/ 1383507 w 1562100"/>
                    <a:gd name="connsiteY15" fmla="*/ 664370 h 2897187"/>
                    <a:gd name="connsiteX16" fmla="*/ 1323975 w 1562100"/>
                    <a:gd name="connsiteY16" fmla="*/ 604838 h 2897187"/>
                    <a:gd name="connsiteX17" fmla="*/ 1321594 w 1562100"/>
                    <a:gd name="connsiteY17" fmla="*/ 523876 h 2897187"/>
                    <a:gd name="connsiteX18" fmla="*/ 1302545 w 1562100"/>
                    <a:gd name="connsiteY18" fmla="*/ 445295 h 2897187"/>
                    <a:gd name="connsiteX19" fmla="*/ 1323181 w 1562100"/>
                    <a:gd name="connsiteY19" fmla="*/ 324644 h 2897187"/>
                    <a:gd name="connsiteX20" fmla="*/ 1171575 w 1562100"/>
                    <a:gd name="connsiteY20" fmla="*/ 0 h 2897187"/>
                    <a:gd name="connsiteX21" fmla="*/ 1085850 w 1562100"/>
                    <a:gd name="connsiteY21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57313 w 1562100"/>
                    <a:gd name="connsiteY7" fmla="*/ 1443038 h 2897187"/>
                    <a:gd name="connsiteX8" fmla="*/ 1435894 w 1562100"/>
                    <a:gd name="connsiteY8" fmla="*/ 1302545 h 2897187"/>
                    <a:gd name="connsiteX9" fmla="*/ 1426369 w 1562100"/>
                    <a:gd name="connsiteY9" fmla="*/ 1254920 h 2897187"/>
                    <a:gd name="connsiteX10" fmla="*/ 1462882 w 1562100"/>
                    <a:gd name="connsiteY10" fmla="*/ 1246187 h 2897187"/>
                    <a:gd name="connsiteX11" fmla="*/ 1500188 w 1562100"/>
                    <a:gd name="connsiteY11" fmla="*/ 1190625 h 2897187"/>
                    <a:gd name="connsiteX12" fmla="*/ 1445419 w 1562100"/>
                    <a:gd name="connsiteY12" fmla="*/ 1007269 h 2897187"/>
                    <a:gd name="connsiteX13" fmla="*/ 1400176 w 1562100"/>
                    <a:gd name="connsiteY13" fmla="*/ 878682 h 2897187"/>
                    <a:gd name="connsiteX14" fmla="*/ 1433513 w 1562100"/>
                    <a:gd name="connsiteY14" fmla="*/ 804863 h 2897187"/>
                    <a:gd name="connsiteX15" fmla="*/ 1383507 w 1562100"/>
                    <a:gd name="connsiteY15" fmla="*/ 664370 h 2897187"/>
                    <a:gd name="connsiteX16" fmla="*/ 1323975 w 1562100"/>
                    <a:gd name="connsiteY16" fmla="*/ 604838 h 2897187"/>
                    <a:gd name="connsiteX17" fmla="*/ 1321594 w 1562100"/>
                    <a:gd name="connsiteY17" fmla="*/ 523876 h 2897187"/>
                    <a:gd name="connsiteX18" fmla="*/ 1302545 w 1562100"/>
                    <a:gd name="connsiteY18" fmla="*/ 445295 h 2897187"/>
                    <a:gd name="connsiteX19" fmla="*/ 1323181 w 1562100"/>
                    <a:gd name="connsiteY19" fmla="*/ 324644 h 2897187"/>
                    <a:gd name="connsiteX20" fmla="*/ 1171575 w 1562100"/>
                    <a:gd name="connsiteY20" fmla="*/ 0 h 2897187"/>
                    <a:gd name="connsiteX21" fmla="*/ 1085850 w 1562100"/>
                    <a:gd name="connsiteY21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57313 w 1562100"/>
                    <a:gd name="connsiteY7" fmla="*/ 1443038 h 2897187"/>
                    <a:gd name="connsiteX8" fmla="*/ 1385888 w 1562100"/>
                    <a:gd name="connsiteY8" fmla="*/ 1381126 h 2897187"/>
                    <a:gd name="connsiteX9" fmla="*/ 1435894 w 1562100"/>
                    <a:gd name="connsiteY9" fmla="*/ 1302545 h 2897187"/>
                    <a:gd name="connsiteX10" fmla="*/ 1426369 w 1562100"/>
                    <a:gd name="connsiteY10" fmla="*/ 1254920 h 2897187"/>
                    <a:gd name="connsiteX11" fmla="*/ 1462882 w 1562100"/>
                    <a:gd name="connsiteY11" fmla="*/ 1246187 h 2897187"/>
                    <a:gd name="connsiteX12" fmla="*/ 1500188 w 1562100"/>
                    <a:gd name="connsiteY12" fmla="*/ 1190625 h 2897187"/>
                    <a:gd name="connsiteX13" fmla="*/ 1445419 w 1562100"/>
                    <a:gd name="connsiteY13" fmla="*/ 1007269 h 2897187"/>
                    <a:gd name="connsiteX14" fmla="*/ 1400176 w 1562100"/>
                    <a:gd name="connsiteY14" fmla="*/ 878682 h 2897187"/>
                    <a:gd name="connsiteX15" fmla="*/ 1433513 w 1562100"/>
                    <a:gd name="connsiteY15" fmla="*/ 804863 h 2897187"/>
                    <a:gd name="connsiteX16" fmla="*/ 1383507 w 1562100"/>
                    <a:gd name="connsiteY16" fmla="*/ 664370 h 2897187"/>
                    <a:gd name="connsiteX17" fmla="*/ 1323975 w 1562100"/>
                    <a:gd name="connsiteY17" fmla="*/ 604838 h 2897187"/>
                    <a:gd name="connsiteX18" fmla="*/ 1321594 w 1562100"/>
                    <a:gd name="connsiteY18" fmla="*/ 523876 h 2897187"/>
                    <a:gd name="connsiteX19" fmla="*/ 1302545 w 1562100"/>
                    <a:gd name="connsiteY19" fmla="*/ 445295 h 2897187"/>
                    <a:gd name="connsiteX20" fmla="*/ 1323181 w 1562100"/>
                    <a:gd name="connsiteY20" fmla="*/ 324644 h 2897187"/>
                    <a:gd name="connsiteX21" fmla="*/ 1171575 w 1562100"/>
                    <a:gd name="connsiteY21" fmla="*/ 0 h 2897187"/>
                    <a:gd name="connsiteX22" fmla="*/ 1085850 w 1562100"/>
                    <a:gd name="connsiteY22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57313 w 1562100"/>
                    <a:gd name="connsiteY7" fmla="*/ 1443038 h 2897187"/>
                    <a:gd name="connsiteX8" fmla="*/ 1328738 w 1562100"/>
                    <a:gd name="connsiteY8" fmla="*/ 1388270 h 2897187"/>
                    <a:gd name="connsiteX9" fmla="*/ 1435894 w 1562100"/>
                    <a:gd name="connsiteY9" fmla="*/ 1302545 h 2897187"/>
                    <a:gd name="connsiteX10" fmla="*/ 1426369 w 1562100"/>
                    <a:gd name="connsiteY10" fmla="*/ 1254920 h 2897187"/>
                    <a:gd name="connsiteX11" fmla="*/ 1462882 w 1562100"/>
                    <a:gd name="connsiteY11" fmla="*/ 1246187 h 2897187"/>
                    <a:gd name="connsiteX12" fmla="*/ 1500188 w 1562100"/>
                    <a:gd name="connsiteY12" fmla="*/ 1190625 h 2897187"/>
                    <a:gd name="connsiteX13" fmla="*/ 1445419 w 1562100"/>
                    <a:gd name="connsiteY13" fmla="*/ 1007269 h 2897187"/>
                    <a:gd name="connsiteX14" fmla="*/ 1400176 w 1562100"/>
                    <a:gd name="connsiteY14" fmla="*/ 878682 h 2897187"/>
                    <a:gd name="connsiteX15" fmla="*/ 1433513 w 1562100"/>
                    <a:gd name="connsiteY15" fmla="*/ 804863 h 2897187"/>
                    <a:gd name="connsiteX16" fmla="*/ 1383507 w 1562100"/>
                    <a:gd name="connsiteY16" fmla="*/ 664370 h 2897187"/>
                    <a:gd name="connsiteX17" fmla="*/ 1323975 w 1562100"/>
                    <a:gd name="connsiteY17" fmla="*/ 604838 h 2897187"/>
                    <a:gd name="connsiteX18" fmla="*/ 1321594 w 1562100"/>
                    <a:gd name="connsiteY18" fmla="*/ 523876 h 2897187"/>
                    <a:gd name="connsiteX19" fmla="*/ 1302545 w 1562100"/>
                    <a:gd name="connsiteY19" fmla="*/ 445295 h 2897187"/>
                    <a:gd name="connsiteX20" fmla="*/ 1323181 w 1562100"/>
                    <a:gd name="connsiteY20" fmla="*/ 324644 h 2897187"/>
                    <a:gd name="connsiteX21" fmla="*/ 1171575 w 1562100"/>
                    <a:gd name="connsiteY21" fmla="*/ 0 h 2897187"/>
                    <a:gd name="connsiteX22" fmla="*/ 1085850 w 1562100"/>
                    <a:gd name="connsiteY22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57313 w 1562100"/>
                    <a:gd name="connsiteY7" fmla="*/ 1443038 h 2897187"/>
                    <a:gd name="connsiteX8" fmla="*/ 1328738 w 1562100"/>
                    <a:gd name="connsiteY8" fmla="*/ 1388270 h 2897187"/>
                    <a:gd name="connsiteX9" fmla="*/ 1393031 w 1562100"/>
                    <a:gd name="connsiteY9" fmla="*/ 1340644 h 2897187"/>
                    <a:gd name="connsiteX10" fmla="*/ 1435894 w 1562100"/>
                    <a:gd name="connsiteY10" fmla="*/ 1302545 h 2897187"/>
                    <a:gd name="connsiteX11" fmla="*/ 1426369 w 1562100"/>
                    <a:gd name="connsiteY11" fmla="*/ 1254920 h 2897187"/>
                    <a:gd name="connsiteX12" fmla="*/ 1462882 w 1562100"/>
                    <a:gd name="connsiteY12" fmla="*/ 1246187 h 2897187"/>
                    <a:gd name="connsiteX13" fmla="*/ 1500188 w 1562100"/>
                    <a:gd name="connsiteY13" fmla="*/ 1190625 h 2897187"/>
                    <a:gd name="connsiteX14" fmla="*/ 1445419 w 1562100"/>
                    <a:gd name="connsiteY14" fmla="*/ 1007269 h 2897187"/>
                    <a:gd name="connsiteX15" fmla="*/ 1400176 w 1562100"/>
                    <a:gd name="connsiteY15" fmla="*/ 878682 h 2897187"/>
                    <a:gd name="connsiteX16" fmla="*/ 1433513 w 1562100"/>
                    <a:gd name="connsiteY16" fmla="*/ 804863 h 2897187"/>
                    <a:gd name="connsiteX17" fmla="*/ 1383507 w 1562100"/>
                    <a:gd name="connsiteY17" fmla="*/ 664370 h 2897187"/>
                    <a:gd name="connsiteX18" fmla="*/ 1323975 w 1562100"/>
                    <a:gd name="connsiteY18" fmla="*/ 604838 h 2897187"/>
                    <a:gd name="connsiteX19" fmla="*/ 1321594 w 1562100"/>
                    <a:gd name="connsiteY19" fmla="*/ 523876 h 2897187"/>
                    <a:gd name="connsiteX20" fmla="*/ 1302545 w 1562100"/>
                    <a:gd name="connsiteY20" fmla="*/ 445295 h 2897187"/>
                    <a:gd name="connsiteX21" fmla="*/ 1323181 w 1562100"/>
                    <a:gd name="connsiteY21" fmla="*/ 324644 h 2897187"/>
                    <a:gd name="connsiteX22" fmla="*/ 1171575 w 1562100"/>
                    <a:gd name="connsiteY22" fmla="*/ 0 h 2897187"/>
                    <a:gd name="connsiteX23" fmla="*/ 1085850 w 1562100"/>
                    <a:gd name="connsiteY23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57313 w 1562100"/>
                    <a:gd name="connsiteY7" fmla="*/ 1443038 h 2897187"/>
                    <a:gd name="connsiteX8" fmla="*/ 1328738 w 1562100"/>
                    <a:gd name="connsiteY8" fmla="*/ 1388270 h 2897187"/>
                    <a:gd name="connsiteX9" fmla="*/ 1383506 w 1562100"/>
                    <a:gd name="connsiteY9" fmla="*/ 1381125 h 2897187"/>
                    <a:gd name="connsiteX10" fmla="*/ 1435894 w 1562100"/>
                    <a:gd name="connsiteY10" fmla="*/ 1302545 h 2897187"/>
                    <a:gd name="connsiteX11" fmla="*/ 1426369 w 1562100"/>
                    <a:gd name="connsiteY11" fmla="*/ 1254920 h 2897187"/>
                    <a:gd name="connsiteX12" fmla="*/ 1462882 w 1562100"/>
                    <a:gd name="connsiteY12" fmla="*/ 1246187 h 2897187"/>
                    <a:gd name="connsiteX13" fmla="*/ 1500188 w 1562100"/>
                    <a:gd name="connsiteY13" fmla="*/ 1190625 h 2897187"/>
                    <a:gd name="connsiteX14" fmla="*/ 1445419 w 1562100"/>
                    <a:gd name="connsiteY14" fmla="*/ 1007269 h 2897187"/>
                    <a:gd name="connsiteX15" fmla="*/ 1400176 w 1562100"/>
                    <a:gd name="connsiteY15" fmla="*/ 878682 h 2897187"/>
                    <a:gd name="connsiteX16" fmla="*/ 1433513 w 1562100"/>
                    <a:gd name="connsiteY16" fmla="*/ 804863 h 2897187"/>
                    <a:gd name="connsiteX17" fmla="*/ 1383507 w 1562100"/>
                    <a:gd name="connsiteY17" fmla="*/ 664370 h 2897187"/>
                    <a:gd name="connsiteX18" fmla="*/ 1323975 w 1562100"/>
                    <a:gd name="connsiteY18" fmla="*/ 604838 h 2897187"/>
                    <a:gd name="connsiteX19" fmla="*/ 1321594 w 1562100"/>
                    <a:gd name="connsiteY19" fmla="*/ 523876 h 2897187"/>
                    <a:gd name="connsiteX20" fmla="*/ 1302545 w 1562100"/>
                    <a:gd name="connsiteY20" fmla="*/ 445295 h 2897187"/>
                    <a:gd name="connsiteX21" fmla="*/ 1323181 w 1562100"/>
                    <a:gd name="connsiteY21" fmla="*/ 324644 h 2897187"/>
                    <a:gd name="connsiteX22" fmla="*/ 1171575 w 1562100"/>
                    <a:gd name="connsiteY22" fmla="*/ 0 h 2897187"/>
                    <a:gd name="connsiteX23" fmla="*/ 1085850 w 1562100"/>
                    <a:gd name="connsiteY23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447800 w 1562100"/>
                    <a:gd name="connsiteY7" fmla="*/ 1621632 h 2897187"/>
                    <a:gd name="connsiteX8" fmla="*/ 1357313 w 1562100"/>
                    <a:gd name="connsiteY8" fmla="*/ 1443038 h 2897187"/>
                    <a:gd name="connsiteX9" fmla="*/ 1328738 w 1562100"/>
                    <a:gd name="connsiteY9" fmla="*/ 1388270 h 2897187"/>
                    <a:gd name="connsiteX10" fmla="*/ 1383506 w 1562100"/>
                    <a:gd name="connsiteY10" fmla="*/ 1381125 h 2897187"/>
                    <a:gd name="connsiteX11" fmla="*/ 1435894 w 1562100"/>
                    <a:gd name="connsiteY11" fmla="*/ 1302545 h 2897187"/>
                    <a:gd name="connsiteX12" fmla="*/ 1426369 w 1562100"/>
                    <a:gd name="connsiteY12" fmla="*/ 1254920 h 2897187"/>
                    <a:gd name="connsiteX13" fmla="*/ 1462882 w 1562100"/>
                    <a:gd name="connsiteY13" fmla="*/ 1246187 h 2897187"/>
                    <a:gd name="connsiteX14" fmla="*/ 1500188 w 1562100"/>
                    <a:gd name="connsiteY14" fmla="*/ 1190625 h 2897187"/>
                    <a:gd name="connsiteX15" fmla="*/ 1445419 w 1562100"/>
                    <a:gd name="connsiteY15" fmla="*/ 1007269 h 2897187"/>
                    <a:gd name="connsiteX16" fmla="*/ 1400176 w 1562100"/>
                    <a:gd name="connsiteY16" fmla="*/ 878682 h 2897187"/>
                    <a:gd name="connsiteX17" fmla="*/ 1433513 w 1562100"/>
                    <a:gd name="connsiteY17" fmla="*/ 804863 h 2897187"/>
                    <a:gd name="connsiteX18" fmla="*/ 1383507 w 1562100"/>
                    <a:gd name="connsiteY18" fmla="*/ 664370 h 2897187"/>
                    <a:gd name="connsiteX19" fmla="*/ 1323975 w 1562100"/>
                    <a:gd name="connsiteY19" fmla="*/ 604838 h 2897187"/>
                    <a:gd name="connsiteX20" fmla="*/ 1321594 w 1562100"/>
                    <a:gd name="connsiteY20" fmla="*/ 523876 h 2897187"/>
                    <a:gd name="connsiteX21" fmla="*/ 1302545 w 1562100"/>
                    <a:gd name="connsiteY21" fmla="*/ 445295 h 2897187"/>
                    <a:gd name="connsiteX22" fmla="*/ 1323181 w 1562100"/>
                    <a:gd name="connsiteY22" fmla="*/ 324644 h 2897187"/>
                    <a:gd name="connsiteX23" fmla="*/ 1171575 w 1562100"/>
                    <a:gd name="connsiteY23" fmla="*/ 0 h 2897187"/>
                    <a:gd name="connsiteX24" fmla="*/ 1085850 w 1562100"/>
                    <a:gd name="connsiteY24" fmla="*/ 153193 h 2897187"/>
                    <a:gd name="connsiteX0" fmla="*/ 1085850 w 1562100"/>
                    <a:gd name="connsiteY0" fmla="*/ 153193 h 2897187"/>
                    <a:gd name="connsiteX1" fmla="*/ 330200 w 1562100"/>
                    <a:gd name="connsiteY1" fmla="*/ 534987 h 2897187"/>
                    <a:gd name="connsiteX2" fmla="*/ 0 w 1562100"/>
                    <a:gd name="connsiteY2" fmla="*/ 1182687 h 2897187"/>
                    <a:gd name="connsiteX3" fmla="*/ 25400 w 1562100"/>
                    <a:gd name="connsiteY3" fmla="*/ 2020887 h 2897187"/>
                    <a:gd name="connsiteX4" fmla="*/ 114300 w 1562100"/>
                    <a:gd name="connsiteY4" fmla="*/ 2617787 h 2897187"/>
                    <a:gd name="connsiteX5" fmla="*/ 1016000 w 1562100"/>
                    <a:gd name="connsiteY5" fmla="*/ 2897187 h 2897187"/>
                    <a:gd name="connsiteX6" fmla="*/ 1562100 w 1562100"/>
                    <a:gd name="connsiteY6" fmla="*/ 1868487 h 2897187"/>
                    <a:gd name="connsiteX7" fmla="*/ 1304925 w 1562100"/>
                    <a:gd name="connsiteY7" fmla="*/ 1531144 h 2897187"/>
                    <a:gd name="connsiteX8" fmla="*/ 1357313 w 1562100"/>
                    <a:gd name="connsiteY8" fmla="*/ 1443038 h 2897187"/>
                    <a:gd name="connsiteX9" fmla="*/ 1328738 w 1562100"/>
                    <a:gd name="connsiteY9" fmla="*/ 1388270 h 2897187"/>
                    <a:gd name="connsiteX10" fmla="*/ 1383506 w 1562100"/>
                    <a:gd name="connsiteY10" fmla="*/ 1381125 h 2897187"/>
                    <a:gd name="connsiteX11" fmla="*/ 1435894 w 1562100"/>
                    <a:gd name="connsiteY11" fmla="*/ 1302545 h 2897187"/>
                    <a:gd name="connsiteX12" fmla="*/ 1426369 w 1562100"/>
                    <a:gd name="connsiteY12" fmla="*/ 1254920 h 2897187"/>
                    <a:gd name="connsiteX13" fmla="*/ 1462882 w 1562100"/>
                    <a:gd name="connsiteY13" fmla="*/ 1246187 h 2897187"/>
                    <a:gd name="connsiteX14" fmla="*/ 1500188 w 1562100"/>
                    <a:gd name="connsiteY14" fmla="*/ 1190625 h 2897187"/>
                    <a:gd name="connsiteX15" fmla="*/ 1445419 w 1562100"/>
                    <a:gd name="connsiteY15" fmla="*/ 1007269 h 2897187"/>
                    <a:gd name="connsiteX16" fmla="*/ 1400176 w 1562100"/>
                    <a:gd name="connsiteY16" fmla="*/ 878682 h 2897187"/>
                    <a:gd name="connsiteX17" fmla="*/ 1433513 w 1562100"/>
                    <a:gd name="connsiteY17" fmla="*/ 804863 h 2897187"/>
                    <a:gd name="connsiteX18" fmla="*/ 1383507 w 1562100"/>
                    <a:gd name="connsiteY18" fmla="*/ 664370 h 2897187"/>
                    <a:gd name="connsiteX19" fmla="*/ 1323975 w 1562100"/>
                    <a:gd name="connsiteY19" fmla="*/ 604838 h 2897187"/>
                    <a:gd name="connsiteX20" fmla="*/ 1321594 w 1562100"/>
                    <a:gd name="connsiteY20" fmla="*/ 523876 h 2897187"/>
                    <a:gd name="connsiteX21" fmla="*/ 1302545 w 1562100"/>
                    <a:gd name="connsiteY21" fmla="*/ 445295 h 2897187"/>
                    <a:gd name="connsiteX22" fmla="*/ 1323181 w 1562100"/>
                    <a:gd name="connsiteY22" fmla="*/ 324644 h 2897187"/>
                    <a:gd name="connsiteX23" fmla="*/ 1171575 w 1562100"/>
                    <a:gd name="connsiteY23" fmla="*/ 0 h 2897187"/>
                    <a:gd name="connsiteX24" fmla="*/ 1085850 w 1562100"/>
                    <a:gd name="connsiteY24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340644 w 1500188"/>
                    <a:gd name="connsiteY6" fmla="*/ 1723231 h 2897187"/>
                    <a:gd name="connsiteX7" fmla="*/ 1304925 w 1500188"/>
                    <a:gd name="connsiteY7" fmla="*/ 1531144 h 2897187"/>
                    <a:gd name="connsiteX8" fmla="*/ 1357313 w 1500188"/>
                    <a:gd name="connsiteY8" fmla="*/ 1443038 h 2897187"/>
                    <a:gd name="connsiteX9" fmla="*/ 1328738 w 1500188"/>
                    <a:gd name="connsiteY9" fmla="*/ 1388270 h 2897187"/>
                    <a:gd name="connsiteX10" fmla="*/ 1383506 w 1500188"/>
                    <a:gd name="connsiteY10" fmla="*/ 1381125 h 2897187"/>
                    <a:gd name="connsiteX11" fmla="*/ 1435894 w 1500188"/>
                    <a:gd name="connsiteY11" fmla="*/ 1302545 h 2897187"/>
                    <a:gd name="connsiteX12" fmla="*/ 1426369 w 1500188"/>
                    <a:gd name="connsiteY12" fmla="*/ 1254920 h 2897187"/>
                    <a:gd name="connsiteX13" fmla="*/ 1462882 w 1500188"/>
                    <a:gd name="connsiteY13" fmla="*/ 1246187 h 2897187"/>
                    <a:gd name="connsiteX14" fmla="*/ 1500188 w 1500188"/>
                    <a:gd name="connsiteY14" fmla="*/ 1190625 h 2897187"/>
                    <a:gd name="connsiteX15" fmla="*/ 1445419 w 1500188"/>
                    <a:gd name="connsiteY15" fmla="*/ 1007269 h 2897187"/>
                    <a:gd name="connsiteX16" fmla="*/ 1400176 w 1500188"/>
                    <a:gd name="connsiteY16" fmla="*/ 878682 h 2897187"/>
                    <a:gd name="connsiteX17" fmla="*/ 1433513 w 1500188"/>
                    <a:gd name="connsiteY17" fmla="*/ 804863 h 2897187"/>
                    <a:gd name="connsiteX18" fmla="*/ 1383507 w 1500188"/>
                    <a:gd name="connsiteY18" fmla="*/ 664370 h 2897187"/>
                    <a:gd name="connsiteX19" fmla="*/ 1323975 w 1500188"/>
                    <a:gd name="connsiteY19" fmla="*/ 604838 h 2897187"/>
                    <a:gd name="connsiteX20" fmla="*/ 1321594 w 1500188"/>
                    <a:gd name="connsiteY20" fmla="*/ 523876 h 2897187"/>
                    <a:gd name="connsiteX21" fmla="*/ 1302545 w 1500188"/>
                    <a:gd name="connsiteY21" fmla="*/ 445295 h 2897187"/>
                    <a:gd name="connsiteX22" fmla="*/ 1323181 w 1500188"/>
                    <a:gd name="connsiteY22" fmla="*/ 324644 h 2897187"/>
                    <a:gd name="connsiteX23" fmla="*/ 1171575 w 1500188"/>
                    <a:gd name="connsiteY23" fmla="*/ 0 h 2897187"/>
                    <a:gd name="connsiteX24" fmla="*/ 1085850 w 1500188"/>
                    <a:gd name="connsiteY24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276350 w 1500188"/>
                    <a:gd name="connsiteY6" fmla="*/ 1928813 h 2897187"/>
                    <a:gd name="connsiteX7" fmla="*/ 1340644 w 1500188"/>
                    <a:gd name="connsiteY7" fmla="*/ 1723231 h 2897187"/>
                    <a:gd name="connsiteX8" fmla="*/ 1304925 w 1500188"/>
                    <a:gd name="connsiteY8" fmla="*/ 1531144 h 2897187"/>
                    <a:gd name="connsiteX9" fmla="*/ 1357313 w 1500188"/>
                    <a:gd name="connsiteY9" fmla="*/ 1443038 h 2897187"/>
                    <a:gd name="connsiteX10" fmla="*/ 1328738 w 1500188"/>
                    <a:gd name="connsiteY10" fmla="*/ 1388270 h 2897187"/>
                    <a:gd name="connsiteX11" fmla="*/ 1383506 w 1500188"/>
                    <a:gd name="connsiteY11" fmla="*/ 1381125 h 2897187"/>
                    <a:gd name="connsiteX12" fmla="*/ 1435894 w 1500188"/>
                    <a:gd name="connsiteY12" fmla="*/ 1302545 h 2897187"/>
                    <a:gd name="connsiteX13" fmla="*/ 1426369 w 1500188"/>
                    <a:gd name="connsiteY13" fmla="*/ 1254920 h 2897187"/>
                    <a:gd name="connsiteX14" fmla="*/ 1462882 w 1500188"/>
                    <a:gd name="connsiteY14" fmla="*/ 1246187 h 2897187"/>
                    <a:gd name="connsiteX15" fmla="*/ 1500188 w 1500188"/>
                    <a:gd name="connsiteY15" fmla="*/ 1190625 h 2897187"/>
                    <a:gd name="connsiteX16" fmla="*/ 1445419 w 1500188"/>
                    <a:gd name="connsiteY16" fmla="*/ 1007269 h 2897187"/>
                    <a:gd name="connsiteX17" fmla="*/ 1400176 w 1500188"/>
                    <a:gd name="connsiteY17" fmla="*/ 878682 h 2897187"/>
                    <a:gd name="connsiteX18" fmla="*/ 1433513 w 1500188"/>
                    <a:gd name="connsiteY18" fmla="*/ 804863 h 2897187"/>
                    <a:gd name="connsiteX19" fmla="*/ 1383507 w 1500188"/>
                    <a:gd name="connsiteY19" fmla="*/ 664370 h 2897187"/>
                    <a:gd name="connsiteX20" fmla="*/ 1323975 w 1500188"/>
                    <a:gd name="connsiteY20" fmla="*/ 604838 h 2897187"/>
                    <a:gd name="connsiteX21" fmla="*/ 1321594 w 1500188"/>
                    <a:gd name="connsiteY21" fmla="*/ 523876 h 2897187"/>
                    <a:gd name="connsiteX22" fmla="*/ 1302545 w 1500188"/>
                    <a:gd name="connsiteY22" fmla="*/ 445295 h 2897187"/>
                    <a:gd name="connsiteX23" fmla="*/ 1323181 w 1500188"/>
                    <a:gd name="connsiteY23" fmla="*/ 324644 h 2897187"/>
                    <a:gd name="connsiteX24" fmla="*/ 1171575 w 1500188"/>
                    <a:gd name="connsiteY24" fmla="*/ 0 h 2897187"/>
                    <a:gd name="connsiteX25" fmla="*/ 1085850 w 1500188"/>
                    <a:gd name="connsiteY25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245394 w 1500188"/>
                    <a:gd name="connsiteY6" fmla="*/ 1735931 h 2897187"/>
                    <a:gd name="connsiteX7" fmla="*/ 1340644 w 1500188"/>
                    <a:gd name="connsiteY7" fmla="*/ 1723231 h 2897187"/>
                    <a:gd name="connsiteX8" fmla="*/ 1304925 w 1500188"/>
                    <a:gd name="connsiteY8" fmla="*/ 1531144 h 2897187"/>
                    <a:gd name="connsiteX9" fmla="*/ 1357313 w 1500188"/>
                    <a:gd name="connsiteY9" fmla="*/ 1443038 h 2897187"/>
                    <a:gd name="connsiteX10" fmla="*/ 1328738 w 1500188"/>
                    <a:gd name="connsiteY10" fmla="*/ 1388270 h 2897187"/>
                    <a:gd name="connsiteX11" fmla="*/ 1383506 w 1500188"/>
                    <a:gd name="connsiteY11" fmla="*/ 1381125 h 2897187"/>
                    <a:gd name="connsiteX12" fmla="*/ 1435894 w 1500188"/>
                    <a:gd name="connsiteY12" fmla="*/ 1302545 h 2897187"/>
                    <a:gd name="connsiteX13" fmla="*/ 1426369 w 1500188"/>
                    <a:gd name="connsiteY13" fmla="*/ 1254920 h 2897187"/>
                    <a:gd name="connsiteX14" fmla="*/ 1462882 w 1500188"/>
                    <a:gd name="connsiteY14" fmla="*/ 1246187 h 2897187"/>
                    <a:gd name="connsiteX15" fmla="*/ 1500188 w 1500188"/>
                    <a:gd name="connsiteY15" fmla="*/ 1190625 h 2897187"/>
                    <a:gd name="connsiteX16" fmla="*/ 1445419 w 1500188"/>
                    <a:gd name="connsiteY16" fmla="*/ 1007269 h 2897187"/>
                    <a:gd name="connsiteX17" fmla="*/ 1400176 w 1500188"/>
                    <a:gd name="connsiteY17" fmla="*/ 878682 h 2897187"/>
                    <a:gd name="connsiteX18" fmla="*/ 1433513 w 1500188"/>
                    <a:gd name="connsiteY18" fmla="*/ 804863 h 2897187"/>
                    <a:gd name="connsiteX19" fmla="*/ 1383507 w 1500188"/>
                    <a:gd name="connsiteY19" fmla="*/ 664370 h 2897187"/>
                    <a:gd name="connsiteX20" fmla="*/ 1323975 w 1500188"/>
                    <a:gd name="connsiteY20" fmla="*/ 604838 h 2897187"/>
                    <a:gd name="connsiteX21" fmla="*/ 1321594 w 1500188"/>
                    <a:gd name="connsiteY21" fmla="*/ 523876 h 2897187"/>
                    <a:gd name="connsiteX22" fmla="*/ 1302545 w 1500188"/>
                    <a:gd name="connsiteY22" fmla="*/ 445295 h 2897187"/>
                    <a:gd name="connsiteX23" fmla="*/ 1323181 w 1500188"/>
                    <a:gd name="connsiteY23" fmla="*/ 324644 h 2897187"/>
                    <a:gd name="connsiteX24" fmla="*/ 1171575 w 1500188"/>
                    <a:gd name="connsiteY24" fmla="*/ 0 h 2897187"/>
                    <a:gd name="connsiteX25" fmla="*/ 1085850 w 1500188"/>
                    <a:gd name="connsiteY25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245394 w 1500188"/>
                    <a:gd name="connsiteY6" fmla="*/ 1735931 h 2897187"/>
                    <a:gd name="connsiteX7" fmla="*/ 1302544 w 1500188"/>
                    <a:gd name="connsiteY7" fmla="*/ 1731169 h 2897187"/>
                    <a:gd name="connsiteX8" fmla="*/ 1340644 w 1500188"/>
                    <a:gd name="connsiteY8" fmla="*/ 1723231 h 2897187"/>
                    <a:gd name="connsiteX9" fmla="*/ 1304925 w 1500188"/>
                    <a:gd name="connsiteY9" fmla="*/ 1531144 h 2897187"/>
                    <a:gd name="connsiteX10" fmla="*/ 1357313 w 1500188"/>
                    <a:gd name="connsiteY10" fmla="*/ 1443038 h 2897187"/>
                    <a:gd name="connsiteX11" fmla="*/ 1328738 w 1500188"/>
                    <a:gd name="connsiteY11" fmla="*/ 1388270 h 2897187"/>
                    <a:gd name="connsiteX12" fmla="*/ 1383506 w 1500188"/>
                    <a:gd name="connsiteY12" fmla="*/ 1381125 h 2897187"/>
                    <a:gd name="connsiteX13" fmla="*/ 1435894 w 1500188"/>
                    <a:gd name="connsiteY13" fmla="*/ 1302545 h 2897187"/>
                    <a:gd name="connsiteX14" fmla="*/ 1426369 w 1500188"/>
                    <a:gd name="connsiteY14" fmla="*/ 1254920 h 2897187"/>
                    <a:gd name="connsiteX15" fmla="*/ 1462882 w 1500188"/>
                    <a:gd name="connsiteY15" fmla="*/ 1246187 h 2897187"/>
                    <a:gd name="connsiteX16" fmla="*/ 1500188 w 1500188"/>
                    <a:gd name="connsiteY16" fmla="*/ 1190625 h 2897187"/>
                    <a:gd name="connsiteX17" fmla="*/ 1445419 w 1500188"/>
                    <a:gd name="connsiteY17" fmla="*/ 1007269 h 2897187"/>
                    <a:gd name="connsiteX18" fmla="*/ 1400176 w 1500188"/>
                    <a:gd name="connsiteY18" fmla="*/ 878682 h 2897187"/>
                    <a:gd name="connsiteX19" fmla="*/ 1433513 w 1500188"/>
                    <a:gd name="connsiteY19" fmla="*/ 804863 h 2897187"/>
                    <a:gd name="connsiteX20" fmla="*/ 1383507 w 1500188"/>
                    <a:gd name="connsiteY20" fmla="*/ 664370 h 2897187"/>
                    <a:gd name="connsiteX21" fmla="*/ 1323975 w 1500188"/>
                    <a:gd name="connsiteY21" fmla="*/ 604838 h 2897187"/>
                    <a:gd name="connsiteX22" fmla="*/ 1321594 w 1500188"/>
                    <a:gd name="connsiteY22" fmla="*/ 523876 h 2897187"/>
                    <a:gd name="connsiteX23" fmla="*/ 1302545 w 1500188"/>
                    <a:gd name="connsiteY23" fmla="*/ 445295 h 2897187"/>
                    <a:gd name="connsiteX24" fmla="*/ 1323181 w 1500188"/>
                    <a:gd name="connsiteY24" fmla="*/ 324644 h 2897187"/>
                    <a:gd name="connsiteX25" fmla="*/ 1171575 w 1500188"/>
                    <a:gd name="connsiteY25" fmla="*/ 0 h 2897187"/>
                    <a:gd name="connsiteX26" fmla="*/ 1085850 w 1500188"/>
                    <a:gd name="connsiteY26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245394 w 1500188"/>
                    <a:gd name="connsiteY6" fmla="*/ 1735931 h 2897187"/>
                    <a:gd name="connsiteX7" fmla="*/ 1288257 w 1500188"/>
                    <a:gd name="connsiteY7" fmla="*/ 1724026 h 2897187"/>
                    <a:gd name="connsiteX8" fmla="*/ 1340644 w 1500188"/>
                    <a:gd name="connsiteY8" fmla="*/ 1723231 h 2897187"/>
                    <a:gd name="connsiteX9" fmla="*/ 1304925 w 1500188"/>
                    <a:gd name="connsiteY9" fmla="*/ 1531144 h 2897187"/>
                    <a:gd name="connsiteX10" fmla="*/ 1357313 w 1500188"/>
                    <a:gd name="connsiteY10" fmla="*/ 1443038 h 2897187"/>
                    <a:gd name="connsiteX11" fmla="*/ 1328738 w 1500188"/>
                    <a:gd name="connsiteY11" fmla="*/ 1388270 h 2897187"/>
                    <a:gd name="connsiteX12" fmla="*/ 1383506 w 1500188"/>
                    <a:gd name="connsiteY12" fmla="*/ 1381125 h 2897187"/>
                    <a:gd name="connsiteX13" fmla="*/ 1435894 w 1500188"/>
                    <a:gd name="connsiteY13" fmla="*/ 1302545 h 2897187"/>
                    <a:gd name="connsiteX14" fmla="*/ 1426369 w 1500188"/>
                    <a:gd name="connsiteY14" fmla="*/ 1254920 h 2897187"/>
                    <a:gd name="connsiteX15" fmla="*/ 1462882 w 1500188"/>
                    <a:gd name="connsiteY15" fmla="*/ 1246187 h 2897187"/>
                    <a:gd name="connsiteX16" fmla="*/ 1500188 w 1500188"/>
                    <a:gd name="connsiteY16" fmla="*/ 1190625 h 2897187"/>
                    <a:gd name="connsiteX17" fmla="*/ 1445419 w 1500188"/>
                    <a:gd name="connsiteY17" fmla="*/ 1007269 h 2897187"/>
                    <a:gd name="connsiteX18" fmla="*/ 1400176 w 1500188"/>
                    <a:gd name="connsiteY18" fmla="*/ 878682 h 2897187"/>
                    <a:gd name="connsiteX19" fmla="*/ 1433513 w 1500188"/>
                    <a:gd name="connsiteY19" fmla="*/ 804863 h 2897187"/>
                    <a:gd name="connsiteX20" fmla="*/ 1383507 w 1500188"/>
                    <a:gd name="connsiteY20" fmla="*/ 664370 h 2897187"/>
                    <a:gd name="connsiteX21" fmla="*/ 1323975 w 1500188"/>
                    <a:gd name="connsiteY21" fmla="*/ 604838 h 2897187"/>
                    <a:gd name="connsiteX22" fmla="*/ 1321594 w 1500188"/>
                    <a:gd name="connsiteY22" fmla="*/ 523876 h 2897187"/>
                    <a:gd name="connsiteX23" fmla="*/ 1302545 w 1500188"/>
                    <a:gd name="connsiteY23" fmla="*/ 445295 h 2897187"/>
                    <a:gd name="connsiteX24" fmla="*/ 1323181 w 1500188"/>
                    <a:gd name="connsiteY24" fmla="*/ 324644 h 2897187"/>
                    <a:gd name="connsiteX25" fmla="*/ 1171575 w 1500188"/>
                    <a:gd name="connsiteY25" fmla="*/ 0 h 2897187"/>
                    <a:gd name="connsiteX26" fmla="*/ 1085850 w 1500188"/>
                    <a:gd name="connsiteY26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212056 w 1500188"/>
                    <a:gd name="connsiteY6" fmla="*/ 1905001 h 2897187"/>
                    <a:gd name="connsiteX7" fmla="*/ 1245394 w 1500188"/>
                    <a:gd name="connsiteY7" fmla="*/ 1735931 h 2897187"/>
                    <a:gd name="connsiteX8" fmla="*/ 1288257 w 1500188"/>
                    <a:gd name="connsiteY8" fmla="*/ 1724026 h 2897187"/>
                    <a:gd name="connsiteX9" fmla="*/ 1340644 w 1500188"/>
                    <a:gd name="connsiteY9" fmla="*/ 1723231 h 2897187"/>
                    <a:gd name="connsiteX10" fmla="*/ 1304925 w 1500188"/>
                    <a:gd name="connsiteY10" fmla="*/ 1531144 h 2897187"/>
                    <a:gd name="connsiteX11" fmla="*/ 1357313 w 1500188"/>
                    <a:gd name="connsiteY11" fmla="*/ 1443038 h 2897187"/>
                    <a:gd name="connsiteX12" fmla="*/ 1328738 w 1500188"/>
                    <a:gd name="connsiteY12" fmla="*/ 1388270 h 2897187"/>
                    <a:gd name="connsiteX13" fmla="*/ 1383506 w 1500188"/>
                    <a:gd name="connsiteY13" fmla="*/ 1381125 h 2897187"/>
                    <a:gd name="connsiteX14" fmla="*/ 1435894 w 1500188"/>
                    <a:gd name="connsiteY14" fmla="*/ 1302545 h 2897187"/>
                    <a:gd name="connsiteX15" fmla="*/ 1426369 w 1500188"/>
                    <a:gd name="connsiteY15" fmla="*/ 1254920 h 2897187"/>
                    <a:gd name="connsiteX16" fmla="*/ 1462882 w 1500188"/>
                    <a:gd name="connsiteY16" fmla="*/ 1246187 h 2897187"/>
                    <a:gd name="connsiteX17" fmla="*/ 1500188 w 1500188"/>
                    <a:gd name="connsiteY17" fmla="*/ 1190625 h 2897187"/>
                    <a:gd name="connsiteX18" fmla="*/ 1445419 w 1500188"/>
                    <a:gd name="connsiteY18" fmla="*/ 1007269 h 2897187"/>
                    <a:gd name="connsiteX19" fmla="*/ 1400176 w 1500188"/>
                    <a:gd name="connsiteY19" fmla="*/ 878682 h 2897187"/>
                    <a:gd name="connsiteX20" fmla="*/ 1433513 w 1500188"/>
                    <a:gd name="connsiteY20" fmla="*/ 804863 h 2897187"/>
                    <a:gd name="connsiteX21" fmla="*/ 1383507 w 1500188"/>
                    <a:gd name="connsiteY21" fmla="*/ 664370 h 2897187"/>
                    <a:gd name="connsiteX22" fmla="*/ 1323975 w 1500188"/>
                    <a:gd name="connsiteY22" fmla="*/ 604838 h 2897187"/>
                    <a:gd name="connsiteX23" fmla="*/ 1321594 w 1500188"/>
                    <a:gd name="connsiteY23" fmla="*/ 523876 h 2897187"/>
                    <a:gd name="connsiteX24" fmla="*/ 1302545 w 1500188"/>
                    <a:gd name="connsiteY24" fmla="*/ 445295 h 2897187"/>
                    <a:gd name="connsiteX25" fmla="*/ 1323181 w 1500188"/>
                    <a:gd name="connsiteY25" fmla="*/ 324644 h 2897187"/>
                    <a:gd name="connsiteX26" fmla="*/ 1171575 w 1500188"/>
                    <a:gd name="connsiteY26" fmla="*/ 0 h 2897187"/>
                    <a:gd name="connsiteX27" fmla="*/ 1085850 w 1500188"/>
                    <a:gd name="connsiteY27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154906 w 1500188"/>
                    <a:gd name="connsiteY6" fmla="*/ 1600201 h 2897187"/>
                    <a:gd name="connsiteX7" fmla="*/ 1245394 w 1500188"/>
                    <a:gd name="connsiteY7" fmla="*/ 1735931 h 2897187"/>
                    <a:gd name="connsiteX8" fmla="*/ 1288257 w 1500188"/>
                    <a:gd name="connsiteY8" fmla="*/ 1724026 h 2897187"/>
                    <a:gd name="connsiteX9" fmla="*/ 1340644 w 1500188"/>
                    <a:gd name="connsiteY9" fmla="*/ 1723231 h 2897187"/>
                    <a:gd name="connsiteX10" fmla="*/ 1304925 w 1500188"/>
                    <a:gd name="connsiteY10" fmla="*/ 1531144 h 2897187"/>
                    <a:gd name="connsiteX11" fmla="*/ 1357313 w 1500188"/>
                    <a:gd name="connsiteY11" fmla="*/ 1443038 h 2897187"/>
                    <a:gd name="connsiteX12" fmla="*/ 1328738 w 1500188"/>
                    <a:gd name="connsiteY12" fmla="*/ 1388270 h 2897187"/>
                    <a:gd name="connsiteX13" fmla="*/ 1383506 w 1500188"/>
                    <a:gd name="connsiteY13" fmla="*/ 1381125 h 2897187"/>
                    <a:gd name="connsiteX14" fmla="*/ 1435894 w 1500188"/>
                    <a:gd name="connsiteY14" fmla="*/ 1302545 h 2897187"/>
                    <a:gd name="connsiteX15" fmla="*/ 1426369 w 1500188"/>
                    <a:gd name="connsiteY15" fmla="*/ 1254920 h 2897187"/>
                    <a:gd name="connsiteX16" fmla="*/ 1462882 w 1500188"/>
                    <a:gd name="connsiteY16" fmla="*/ 1246187 h 2897187"/>
                    <a:gd name="connsiteX17" fmla="*/ 1500188 w 1500188"/>
                    <a:gd name="connsiteY17" fmla="*/ 1190625 h 2897187"/>
                    <a:gd name="connsiteX18" fmla="*/ 1445419 w 1500188"/>
                    <a:gd name="connsiteY18" fmla="*/ 1007269 h 2897187"/>
                    <a:gd name="connsiteX19" fmla="*/ 1400176 w 1500188"/>
                    <a:gd name="connsiteY19" fmla="*/ 878682 h 2897187"/>
                    <a:gd name="connsiteX20" fmla="*/ 1433513 w 1500188"/>
                    <a:gd name="connsiteY20" fmla="*/ 804863 h 2897187"/>
                    <a:gd name="connsiteX21" fmla="*/ 1383507 w 1500188"/>
                    <a:gd name="connsiteY21" fmla="*/ 664370 h 2897187"/>
                    <a:gd name="connsiteX22" fmla="*/ 1323975 w 1500188"/>
                    <a:gd name="connsiteY22" fmla="*/ 604838 h 2897187"/>
                    <a:gd name="connsiteX23" fmla="*/ 1321594 w 1500188"/>
                    <a:gd name="connsiteY23" fmla="*/ 523876 h 2897187"/>
                    <a:gd name="connsiteX24" fmla="*/ 1302545 w 1500188"/>
                    <a:gd name="connsiteY24" fmla="*/ 445295 h 2897187"/>
                    <a:gd name="connsiteX25" fmla="*/ 1323181 w 1500188"/>
                    <a:gd name="connsiteY25" fmla="*/ 324644 h 2897187"/>
                    <a:gd name="connsiteX26" fmla="*/ 1171575 w 1500188"/>
                    <a:gd name="connsiteY26" fmla="*/ 0 h 2897187"/>
                    <a:gd name="connsiteX27" fmla="*/ 1085850 w 1500188"/>
                    <a:gd name="connsiteY27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154906 w 1500188"/>
                    <a:gd name="connsiteY6" fmla="*/ 1600201 h 2897187"/>
                    <a:gd name="connsiteX7" fmla="*/ 1214438 w 1500188"/>
                    <a:gd name="connsiteY7" fmla="*/ 1678782 h 2897187"/>
                    <a:gd name="connsiteX8" fmla="*/ 1245394 w 1500188"/>
                    <a:gd name="connsiteY8" fmla="*/ 1735931 h 2897187"/>
                    <a:gd name="connsiteX9" fmla="*/ 1288257 w 1500188"/>
                    <a:gd name="connsiteY9" fmla="*/ 1724026 h 2897187"/>
                    <a:gd name="connsiteX10" fmla="*/ 1340644 w 1500188"/>
                    <a:gd name="connsiteY10" fmla="*/ 1723231 h 2897187"/>
                    <a:gd name="connsiteX11" fmla="*/ 1304925 w 1500188"/>
                    <a:gd name="connsiteY11" fmla="*/ 1531144 h 2897187"/>
                    <a:gd name="connsiteX12" fmla="*/ 1357313 w 1500188"/>
                    <a:gd name="connsiteY12" fmla="*/ 1443038 h 2897187"/>
                    <a:gd name="connsiteX13" fmla="*/ 1328738 w 1500188"/>
                    <a:gd name="connsiteY13" fmla="*/ 1388270 h 2897187"/>
                    <a:gd name="connsiteX14" fmla="*/ 1383506 w 1500188"/>
                    <a:gd name="connsiteY14" fmla="*/ 1381125 h 2897187"/>
                    <a:gd name="connsiteX15" fmla="*/ 1435894 w 1500188"/>
                    <a:gd name="connsiteY15" fmla="*/ 1302545 h 2897187"/>
                    <a:gd name="connsiteX16" fmla="*/ 1426369 w 1500188"/>
                    <a:gd name="connsiteY16" fmla="*/ 1254920 h 2897187"/>
                    <a:gd name="connsiteX17" fmla="*/ 1462882 w 1500188"/>
                    <a:gd name="connsiteY17" fmla="*/ 1246187 h 2897187"/>
                    <a:gd name="connsiteX18" fmla="*/ 1500188 w 1500188"/>
                    <a:gd name="connsiteY18" fmla="*/ 1190625 h 2897187"/>
                    <a:gd name="connsiteX19" fmla="*/ 1445419 w 1500188"/>
                    <a:gd name="connsiteY19" fmla="*/ 1007269 h 2897187"/>
                    <a:gd name="connsiteX20" fmla="*/ 1400176 w 1500188"/>
                    <a:gd name="connsiteY20" fmla="*/ 878682 h 2897187"/>
                    <a:gd name="connsiteX21" fmla="*/ 1433513 w 1500188"/>
                    <a:gd name="connsiteY21" fmla="*/ 804863 h 2897187"/>
                    <a:gd name="connsiteX22" fmla="*/ 1383507 w 1500188"/>
                    <a:gd name="connsiteY22" fmla="*/ 664370 h 2897187"/>
                    <a:gd name="connsiteX23" fmla="*/ 1323975 w 1500188"/>
                    <a:gd name="connsiteY23" fmla="*/ 604838 h 2897187"/>
                    <a:gd name="connsiteX24" fmla="*/ 1321594 w 1500188"/>
                    <a:gd name="connsiteY24" fmla="*/ 523876 h 2897187"/>
                    <a:gd name="connsiteX25" fmla="*/ 1302545 w 1500188"/>
                    <a:gd name="connsiteY25" fmla="*/ 445295 h 2897187"/>
                    <a:gd name="connsiteX26" fmla="*/ 1323181 w 1500188"/>
                    <a:gd name="connsiteY26" fmla="*/ 324644 h 2897187"/>
                    <a:gd name="connsiteX27" fmla="*/ 1171575 w 1500188"/>
                    <a:gd name="connsiteY27" fmla="*/ 0 h 2897187"/>
                    <a:gd name="connsiteX28" fmla="*/ 1085850 w 1500188"/>
                    <a:gd name="connsiteY28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154906 w 1500188"/>
                    <a:gd name="connsiteY6" fmla="*/ 1600201 h 2897187"/>
                    <a:gd name="connsiteX7" fmla="*/ 1202532 w 1500188"/>
                    <a:gd name="connsiteY7" fmla="*/ 1678782 h 2897187"/>
                    <a:gd name="connsiteX8" fmla="*/ 1245394 w 1500188"/>
                    <a:gd name="connsiteY8" fmla="*/ 1735931 h 2897187"/>
                    <a:gd name="connsiteX9" fmla="*/ 1288257 w 1500188"/>
                    <a:gd name="connsiteY9" fmla="*/ 1724026 h 2897187"/>
                    <a:gd name="connsiteX10" fmla="*/ 1340644 w 1500188"/>
                    <a:gd name="connsiteY10" fmla="*/ 1723231 h 2897187"/>
                    <a:gd name="connsiteX11" fmla="*/ 1304925 w 1500188"/>
                    <a:gd name="connsiteY11" fmla="*/ 1531144 h 2897187"/>
                    <a:gd name="connsiteX12" fmla="*/ 1357313 w 1500188"/>
                    <a:gd name="connsiteY12" fmla="*/ 1443038 h 2897187"/>
                    <a:gd name="connsiteX13" fmla="*/ 1328738 w 1500188"/>
                    <a:gd name="connsiteY13" fmla="*/ 1388270 h 2897187"/>
                    <a:gd name="connsiteX14" fmla="*/ 1383506 w 1500188"/>
                    <a:gd name="connsiteY14" fmla="*/ 1381125 h 2897187"/>
                    <a:gd name="connsiteX15" fmla="*/ 1435894 w 1500188"/>
                    <a:gd name="connsiteY15" fmla="*/ 1302545 h 2897187"/>
                    <a:gd name="connsiteX16" fmla="*/ 1426369 w 1500188"/>
                    <a:gd name="connsiteY16" fmla="*/ 1254920 h 2897187"/>
                    <a:gd name="connsiteX17" fmla="*/ 1462882 w 1500188"/>
                    <a:gd name="connsiteY17" fmla="*/ 1246187 h 2897187"/>
                    <a:gd name="connsiteX18" fmla="*/ 1500188 w 1500188"/>
                    <a:gd name="connsiteY18" fmla="*/ 1190625 h 2897187"/>
                    <a:gd name="connsiteX19" fmla="*/ 1445419 w 1500188"/>
                    <a:gd name="connsiteY19" fmla="*/ 1007269 h 2897187"/>
                    <a:gd name="connsiteX20" fmla="*/ 1400176 w 1500188"/>
                    <a:gd name="connsiteY20" fmla="*/ 878682 h 2897187"/>
                    <a:gd name="connsiteX21" fmla="*/ 1433513 w 1500188"/>
                    <a:gd name="connsiteY21" fmla="*/ 804863 h 2897187"/>
                    <a:gd name="connsiteX22" fmla="*/ 1383507 w 1500188"/>
                    <a:gd name="connsiteY22" fmla="*/ 664370 h 2897187"/>
                    <a:gd name="connsiteX23" fmla="*/ 1323975 w 1500188"/>
                    <a:gd name="connsiteY23" fmla="*/ 604838 h 2897187"/>
                    <a:gd name="connsiteX24" fmla="*/ 1321594 w 1500188"/>
                    <a:gd name="connsiteY24" fmla="*/ 523876 h 2897187"/>
                    <a:gd name="connsiteX25" fmla="*/ 1302545 w 1500188"/>
                    <a:gd name="connsiteY25" fmla="*/ 445295 h 2897187"/>
                    <a:gd name="connsiteX26" fmla="*/ 1323181 w 1500188"/>
                    <a:gd name="connsiteY26" fmla="*/ 324644 h 2897187"/>
                    <a:gd name="connsiteX27" fmla="*/ 1171575 w 1500188"/>
                    <a:gd name="connsiteY27" fmla="*/ 0 h 2897187"/>
                    <a:gd name="connsiteX28" fmla="*/ 1085850 w 1500188"/>
                    <a:gd name="connsiteY28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154906 w 1500188"/>
                    <a:gd name="connsiteY6" fmla="*/ 1600201 h 2897187"/>
                    <a:gd name="connsiteX7" fmla="*/ 1202532 w 1500188"/>
                    <a:gd name="connsiteY7" fmla="*/ 1678782 h 2897187"/>
                    <a:gd name="connsiteX8" fmla="*/ 1233488 w 1500188"/>
                    <a:gd name="connsiteY8" fmla="*/ 1743074 h 2897187"/>
                    <a:gd name="connsiteX9" fmla="*/ 1288257 w 1500188"/>
                    <a:gd name="connsiteY9" fmla="*/ 1724026 h 2897187"/>
                    <a:gd name="connsiteX10" fmla="*/ 1340644 w 1500188"/>
                    <a:gd name="connsiteY10" fmla="*/ 1723231 h 2897187"/>
                    <a:gd name="connsiteX11" fmla="*/ 1304925 w 1500188"/>
                    <a:gd name="connsiteY11" fmla="*/ 1531144 h 2897187"/>
                    <a:gd name="connsiteX12" fmla="*/ 1357313 w 1500188"/>
                    <a:gd name="connsiteY12" fmla="*/ 1443038 h 2897187"/>
                    <a:gd name="connsiteX13" fmla="*/ 1328738 w 1500188"/>
                    <a:gd name="connsiteY13" fmla="*/ 1388270 h 2897187"/>
                    <a:gd name="connsiteX14" fmla="*/ 1383506 w 1500188"/>
                    <a:gd name="connsiteY14" fmla="*/ 1381125 h 2897187"/>
                    <a:gd name="connsiteX15" fmla="*/ 1435894 w 1500188"/>
                    <a:gd name="connsiteY15" fmla="*/ 1302545 h 2897187"/>
                    <a:gd name="connsiteX16" fmla="*/ 1426369 w 1500188"/>
                    <a:gd name="connsiteY16" fmla="*/ 1254920 h 2897187"/>
                    <a:gd name="connsiteX17" fmla="*/ 1462882 w 1500188"/>
                    <a:gd name="connsiteY17" fmla="*/ 1246187 h 2897187"/>
                    <a:gd name="connsiteX18" fmla="*/ 1500188 w 1500188"/>
                    <a:gd name="connsiteY18" fmla="*/ 1190625 h 2897187"/>
                    <a:gd name="connsiteX19" fmla="*/ 1445419 w 1500188"/>
                    <a:gd name="connsiteY19" fmla="*/ 1007269 h 2897187"/>
                    <a:gd name="connsiteX20" fmla="*/ 1400176 w 1500188"/>
                    <a:gd name="connsiteY20" fmla="*/ 878682 h 2897187"/>
                    <a:gd name="connsiteX21" fmla="*/ 1433513 w 1500188"/>
                    <a:gd name="connsiteY21" fmla="*/ 804863 h 2897187"/>
                    <a:gd name="connsiteX22" fmla="*/ 1383507 w 1500188"/>
                    <a:gd name="connsiteY22" fmla="*/ 664370 h 2897187"/>
                    <a:gd name="connsiteX23" fmla="*/ 1323975 w 1500188"/>
                    <a:gd name="connsiteY23" fmla="*/ 604838 h 2897187"/>
                    <a:gd name="connsiteX24" fmla="*/ 1321594 w 1500188"/>
                    <a:gd name="connsiteY24" fmla="*/ 523876 h 2897187"/>
                    <a:gd name="connsiteX25" fmla="*/ 1302545 w 1500188"/>
                    <a:gd name="connsiteY25" fmla="*/ 445295 h 2897187"/>
                    <a:gd name="connsiteX26" fmla="*/ 1323181 w 1500188"/>
                    <a:gd name="connsiteY26" fmla="*/ 324644 h 2897187"/>
                    <a:gd name="connsiteX27" fmla="*/ 1171575 w 1500188"/>
                    <a:gd name="connsiteY27" fmla="*/ 0 h 2897187"/>
                    <a:gd name="connsiteX28" fmla="*/ 1085850 w 1500188"/>
                    <a:gd name="connsiteY28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100138 w 1500188"/>
                    <a:gd name="connsiteY6" fmla="*/ 2090738 h 2897187"/>
                    <a:gd name="connsiteX7" fmla="*/ 1154906 w 1500188"/>
                    <a:gd name="connsiteY7" fmla="*/ 1600201 h 2897187"/>
                    <a:gd name="connsiteX8" fmla="*/ 1202532 w 1500188"/>
                    <a:gd name="connsiteY8" fmla="*/ 1678782 h 2897187"/>
                    <a:gd name="connsiteX9" fmla="*/ 1233488 w 1500188"/>
                    <a:gd name="connsiteY9" fmla="*/ 1743074 h 2897187"/>
                    <a:gd name="connsiteX10" fmla="*/ 1288257 w 1500188"/>
                    <a:gd name="connsiteY10" fmla="*/ 1724026 h 2897187"/>
                    <a:gd name="connsiteX11" fmla="*/ 1340644 w 1500188"/>
                    <a:gd name="connsiteY11" fmla="*/ 1723231 h 2897187"/>
                    <a:gd name="connsiteX12" fmla="*/ 1304925 w 1500188"/>
                    <a:gd name="connsiteY12" fmla="*/ 1531144 h 2897187"/>
                    <a:gd name="connsiteX13" fmla="*/ 1357313 w 1500188"/>
                    <a:gd name="connsiteY13" fmla="*/ 1443038 h 2897187"/>
                    <a:gd name="connsiteX14" fmla="*/ 1328738 w 1500188"/>
                    <a:gd name="connsiteY14" fmla="*/ 1388270 h 2897187"/>
                    <a:gd name="connsiteX15" fmla="*/ 1383506 w 1500188"/>
                    <a:gd name="connsiteY15" fmla="*/ 1381125 h 2897187"/>
                    <a:gd name="connsiteX16" fmla="*/ 1435894 w 1500188"/>
                    <a:gd name="connsiteY16" fmla="*/ 1302545 h 2897187"/>
                    <a:gd name="connsiteX17" fmla="*/ 1426369 w 1500188"/>
                    <a:gd name="connsiteY17" fmla="*/ 1254920 h 2897187"/>
                    <a:gd name="connsiteX18" fmla="*/ 1462882 w 1500188"/>
                    <a:gd name="connsiteY18" fmla="*/ 1246187 h 2897187"/>
                    <a:gd name="connsiteX19" fmla="*/ 1500188 w 1500188"/>
                    <a:gd name="connsiteY19" fmla="*/ 1190625 h 2897187"/>
                    <a:gd name="connsiteX20" fmla="*/ 1445419 w 1500188"/>
                    <a:gd name="connsiteY20" fmla="*/ 1007269 h 2897187"/>
                    <a:gd name="connsiteX21" fmla="*/ 1400176 w 1500188"/>
                    <a:gd name="connsiteY21" fmla="*/ 878682 h 2897187"/>
                    <a:gd name="connsiteX22" fmla="*/ 1433513 w 1500188"/>
                    <a:gd name="connsiteY22" fmla="*/ 804863 h 2897187"/>
                    <a:gd name="connsiteX23" fmla="*/ 1383507 w 1500188"/>
                    <a:gd name="connsiteY23" fmla="*/ 664370 h 2897187"/>
                    <a:gd name="connsiteX24" fmla="*/ 1323975 w 1500188"/>
                    <a:gd name="connsiteY24" fmla="*/ 604838 h 2897187"/>
                    <a:gd name="connsiteX25" fmla="*/ 1321594 w 1500188"/>
                    <a:gd name="connsiteY25" fmla="*/ 523876 h 2897187"/>
                    <a:gd name="connsiteX26" fmla="*/ 1302545 w 1500188"/>
                    <a:gd name="connsiteY26" fmla="*/ 445295 h 2897187"/>
                    <a:gd name="connsiteX27" fmla="*/ 1323181 w 1500188"/>
                    <a:gd name="connsiteY27" fmla="*/ 324644 h 2897187"/>
                    <a:gd name="connsiteX28" fmla="*/ 1171575 w 1500188"/>
                    <a:gd name="connsiteY28" fmla="*/ 0 h 2897187"/>
                    <a:gd name="connsiteX29" fmla="*/ 1085850 w 1500188"/>
                    <a:gd name="connsiteY29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076325 w 1500188"/>
                    <a:gd name="connsiteY6" fmla="*/ 1628776 h 2897187"/>
                    <a:gd name="connsiteX7" fmla="*/ 1154906 w 1500188"/>
                    <a:gd name="connsiteY7" fmla="*/ 1600201 h 2897187"/>
                    <a:gd name="connsiteX8" fmla="*/ 1202532 w 1500188"/>
                    <a:gd name="connsiteY8" fmla="*/ 1678782 h 2897187"/>
                    <a:gd name="connsiteX9" fmla="*/ 1233488 w 1500188"/>
                    <a:gd name="connsiteY9" fmla="*/ 1743074 h 2897187"/>
                    <a:gd name="connsiteX10" fmla="*/ 1288257 w 1500188"/>
                    <a:gd name="connsiteY10" fmla="*/ 1724026 h 2897187"/>
                    <a:gd name="connsiteX11" fmla="*/ 1340644 w 1500188"/>
                    <a:gd name="connsiteY11" fmla="*/ 1723231 h 2897187"/>
                    <a:gd name="connsiteX12" fmla="*/ 1304925 w 1500188"/>
                    <a:gd name="connsiteY12" fmla="*/ 1531144 h 2897187"/>
                    <a:gd name="connsiteX13" fmla="*/ 1357313 w 1500188"/>
                    <a:gd name="connsiteY13" fmla="*/ 1443038 h 2897187"/>
                    <a:gd name="connsiteX14" fmla="*/ 1328738 w 1500188"/>
                    <a:gd name="connsiteY14" fmla="*/ 1388270 h 2897187"/>
                    <a:gd name="connsiteX15" fmla="*/ 1383506 w 1500188"/>
                    <a:gd name="connsiteY15" fmla="*/ 1381125 h 2897187"/>
                    <a:gd name="connsiteX16" fmla="*/ 1435894 w 1500188"/>
                    <a:gd name="connsiteY16" fmla="*/ 1302545 h 2897187"/>
                    <a:gd name="connsiteX17" fmla="*/ 1426369 w 1500188"/>
                    <a:gd name="connsiteY17" fmla="*/ 1254920 h 2897187"/>
                    <a:gd name="connsiteX18" fmla="*/ 1462882 w 1500188"/>
                    <a:gd name="connsiteY18" fmla="*/ 1246187 h 2897187"/>
                    <a:gd name="connsiteX19" fmla="*/ 1500188 w 1500188"/>
                    <a:gd name="connsiteY19" fmla="*/ 1190625 h 2897187"/>
                    <a:gd name="connsiteX20" fmla="*/ 1445419 w 1500188"/>
                    <a:gd name="connsiteY20" fmla="*/ 1007269 h 2897187"/>
                    <a:gd name="connsiteX21" fmla="*/ 1400176 w 1500188"/>
                    <a:gd name="connsiteY21" fmla="*/ 878682 h 2897187"/>
                    <a:gd name="connsiteX22" fmla="*/ 1433513 w 1500188"/>
                    <a:gd name="connsiteY22" fmla="*/ 804863 h 2897187"/>
                    <a:gd name="connsiteX23" fmla="*/ 1383507 w 1500188"/>
                    <a:gd name="connsiteY23" fmla="*/ 664370 h 2897187"/>
                    <a:gd name="connsiteX24" fmla="*/ 1323975 w 1500188"/>
                    <a:gd name="connsiteY24" fmla="*/ 604838 h 2897187"/>
                    <a:gd name="connsiteX25" fmla="*/ 1321594 w 1500188"/>
                    <a:gd name="connsiteY25" fmla="*/ 523876 h 2897187"/>
                    <a:gd name="connsiteX26" fmla="*/ 1302545 w 1500188"/>
                    <a:gd name="connsiteY26" fmla="*/ 445295 h 2897187"/>
                    <a:gd name="connsiteX27" fmla="*/ 1323181 w 1500188"/>
                    <a:gd name="connsiteY27" fmla="*/ 324644 h 2897187"/>
                    <a:gd name="connsiteX28" fmla="*/ 1171575 w 1500188"/>
                    <a:gd name="connsiteY28" fmla="*/ 0 h 2897187"/>
                    <a:gd name="connsiteX29" fmla="*/ 1085850 w 1500188"/>
                    <a:gd name="connsiteY29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1052513 w 1500188"/>
                    <a:gd name="connsiteY6" fmla="*/ 2181226 h 2897187"/>
                    <a:gd name="connsiteX7" fmla="*/ 1076325 w 1500188"/>
                    <a:gd name="connsiteY7" fmla="*/ 1628776 h 2897187"/>
                    <a:gd name="connsiteX8" fmla="*/ 1154906 w 1500188"/>
                    <a:gd name="connsiteY8" fmla="*/ 1600201 h 2897187"/>
                    <a:gd name="connsiteX9" fmla="*/ 1202532 w 1500188"/>
                    <a:gd name="connsiteY9" fmla="*/ 1678782 h 2897187"/>
                    <a:gd name="connsiteX10" fmla="*/ 1233488 w 1500188"/>
                    <a:gd name="connsiteY10" fmla="*/ 1743074 h 2897187"/>
                    <a:gd name="connsiteX11" fmla="*/ 1288257 w 1500188"/>
                    <a:gd name="connsiteY11" fmla="*/ 1724026 h 2897187"/>
                    <a:gd name="connsiteX12" fmla="*/ 1340644 w 1500188"/>
                    <a:gd name="connsiteY12" fmla="*/ 1723231 h 2897187"/>
                    <a:gd name="connsiteX13" fmla="*/ 1304925 w 1500188"/>
                    <a:gd name="connsiteY13" fmla="*/ 1531144 h 2897187"/>
                    <a:gd name="connsiteX14" fmla="*/ 1357313 w 1500188"/>
                    <a:gd name="connsiteY14" fmla="*/ 1443038 h 2897187"/>
                    <a:gd name="connsiteX15" fmla="*/ 1328738 w 1500188"/>
                    <a:gd name="connsiteY15" fmla="*/ 1388270 h 2897187"/>
                    <a:gd name="connsiteX16" fmla="*/ 1383506 w 1500188"/>
                    <a:gd name="connsiteY16" fmla="*/ 1381125 h 2897187"/>
                    <a:gd name="connsiteX17" fmla="*/ 1435894 w 1500188"/>
                    <a:gd name="connsiteY17" fmla="*/ 1302545 h 2897187"/>
                    <a:gd name="connsiteX18" fmla="*/ 1426369 w 1500188"/>
                    <a:gd name="connsiteY18" fmla="*/ 1254920 h 2897187"/>
                    <a:gd name="connsiteX19" fmla="*/ 1462882 w 1500188"/>
                    <a:gd name="connsiteY19" fmla="*/ 1246187 h 2897187"/>
                    <a:gd name="connsiteX20" fmla="*/ 1500188 w 1500188"/>
                    <a:gd name="connsiteY20" fmla="*/ 1190625 h 2897187"/>
                    <a:gd name="connsiteX21" fmla="*/ 1445419 w 1500188"/>
                    <a:gd name="connsiteY21" fmla="*/ 1007269 h 2897187"/>
                    <a:gd name="connsiteX22" fmla="*/ 1400176 w 1500188"/>
                    <a:gd name="connsiteY22" fmla="*/ 878682 h 2897187"/>
                    <a:gd name="connsiteX23" fmla="*/ 1433513 w 1500188"/>
                    <a:gd name="connsiteY23" fmla="*/ 804863 h 2897187"/>
                    <a:gd name="connsiteX24" fmla="*/ 1383507 w 1500188"/>
                    <a:gd name="connsiteY24" fmla="*/ 664370 h 2897187"/>
                    <a:gd name="connsiteX25" fmla="*/ 1323975 w 1500188"/>
                    <a:gd name="connsiteY25" fmla="*/ 604838 h 2897187"/>
                    <a:gd name="connsiteX26" fmla="*/ 1321594 w 1500188"/>
                    <a:gd name="connsiteY26" fmla="*/ 523876 h 2897187"/>
                    <a:gd name="connsiteX27" fmla="*/ 1302545 w 1500188"/>
                    <a:gd name="connsiteY27" fmla="*/ 445295 h 2897187"/>
                    <a:gd name="connsiteX28" fmla="*/ 1323181 w 1500188"/>
                    <a:gd name="connsiteY28" fmla="*/ 324644 h 2897187"/>
                    <a:gd name="connsiteX29" fmla="*/ 1171575 w 1500188"/>
                    <a:gd name="connsiteY29" fmla="*/ 0 h 2897187"/>
                    <a:gd name="connsiteX30" fmla="*/ 1085850 w 1500188"/>
                    <a:gd name="connsiteY30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45307 w 1500188"/>
                    <a:gd name="connsiteY6" fmla="*/ 1638301 h 2897187"/>
                    <a:gd name="connsiteX7" fmla="*/ 1076325 w 1500188"/>
                    <a:gd name="connsiteY7" fmla="*/ 1628776 h 2897187"/>
                    <a:gd name="connsiteX8" fmla="*/ 1154906 w 1500188"/>
                    <a:gd name="connsiteY8" fmla="*/ 1600201 h 2897187"/>
                    <a:gd name="connsiteX9" fmla="*/ 1202532 w 1500188"/>
                    <a:gd name="connsiteY9" fmla="*/ 1678782 h 2897187"/>
                    <a:gd name="connsiteX10" fmla="*/ 1233488 w 1500188"/>
                    <a:gd name="connsiteY10" fmla="*/ 1743074 h 2897187"/>
                    <a:gd name="connsiteX11" fmla="*/ 1288257 w 1500188"/>
                    <a:gd name="connsiteY11" fmla="*/ 1724026 h 2897187"/>
                    <a:gd name="connsiteX12" fmla="*/ 1340644 w 1500188"/>
                    <a:gd name="connsiteY12" fmla="*/ 1723231 h 2897187"/>
                    <a:gd name="connsiteX13" fmla="*/ 1304925 w 1500188"/>
                    <a:gd name="connsiteY13" fmla="*/ 1531144 h 2897187"/>
                    <a:gd name="connsiteX14" fmla="*/ 1357313 w 1500188"/>
                    <a:gd name="connsiteY14" fmla="*/ 1443038 h 2897187"/>
                    <a:gd name="connsiteX15" fmla="*/ 1328738 w 1500188"/>
                    <a:gd name="connsiteY15" fmla="*/ 1388270 h 2897187"/>
                    <a:gd name="connsiteX16" fmla="*/ 1383506 w 1500188"/>
                    <a:gd name="connsiteY16" fmla="*/ 1381125 h 2897187"/>
                    <a:gd name="connsiteX17" fmla="*/ 1435894 w 1500188"/>
                    <a:gd name="connsiteY17" fmla="*/ 1302545 h 2897187"/>
                    <a:gd name="connsiteX18" fmla="*/ 1426369 w 1500188"/>
                    <a:gd name="connsiteY18" fmla="*/ 1254920 h 2897187"/>
                    <a:gd name="connsiteX19" fmla="*/ 1462882 w 1500188"/>
                    <a:gd name="connsiteY19" fmla="*/ 1246187 h 2897187"/>
                    <a:gd name="connsiteX20" fmla="*/ 1500188 w 1500188"/>
                    <a:gd name="connsiteY20" fmla="*/ 1190625 h 2897187"/>
                    <a:gd name="connsiteX21" fmla="*/ 1445419 w 1500188"/>
                    <a:gd name="connsiteY21" fmla="*/ 1007269 h 2897187"/>
                    <a:gd name="connsiteX22" fmla="*/ 1400176 w 1500188"/>
                    <a:gd name="connsiteY22" fmla="*/ 878682 h 2897187"/>
                    <a:gd name="connsiteX23" fmla="*/ 1433513 w 1500188"/>
                    <a:gd name="connsiteY23" fmla="*/ 804863 h 2897187"/>
                    <a:gd name="connsiteX24" fmla="*/ 1383507 w 1500188"/>
                    <a:gd name="connsiteY24" fmla="*/ 664370 h 2897187"/>
                    <a:gd name="connsiteX25" fmla="*/ 1323975 w 1500188"/>
                    <a:gd name="connsiteY25" fmla="*/ 604838 h 2897187"/>
                    <a:gd name="connsiteX26" fmla="*/ 1321594 w 1500188"/>
                    <a:gd name="connsiteY26" fmla="*/ 523876 h 2897187"/>
                    <a:gd name="connsiteX27" fmla="*/ 1302545 w 1500188"/>
                    <a:gd name="connsiteY27" fmla="*/ 445295 h 2897187"/>
                    <a:gd name="connsiteX28" fmla="*/ 1323181 w 1500188"/>
                    <a:gd name="connsiteY28" fmla="*/ 324644 h 2897187"/>
                    <a:gd name="connsiteX29" fmla="*/ 1171575 w 1500188"/>
                    <a:gd name="connsiteY29" fmla="*/ 0 h 2897187"/>
                    <a:gd name="connsiteX30" fmla="*/ 1085850 w 1500188"/>
                    <a:gd name="connsiteY30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45307 w 1500188"/>
                    <a:gd name="connsiteY6" fmla="*/ 1638301 h 2897187"/>
                    <a:gd name="connsiteX7" fmla="*/ 1085850 w 1500188"/>
                    <a:gd name="connsiteY7" fmla="*/ 1590676 h 2897187"/>
                    <a:gd name="connsiteX8" fmla="*/ 1076325 w 1500188"/>
                    <a:gd name="connsiteY8" fmla="*/ 1628776 h 2897187"/>
                    <a:gd name="connsiteX9" fmla="*/ 1154906 w 1500188"/>
                    <a:gd name="connsiteY9" fmla="*/ 1600201 h 2897187"/>
                    <a:gd name="connsiteX10" fmla="*/ 1202532 w 1500188"/>
                    <a:gd name="connsiteY10" fmla="*/ 1678782 h 2897187"/>
                    <a:gd name="connsiteX11" fmla="*/ 1233488 w 1500188"/>
                    <a:gd name="connsiteY11" fmla="*/ 1743074 h 2897187"/>
                    <a:gd name="connsiteX12" fmla="*/ 1288257 w 1500188"/>
                    <a:gd name="connsiteY12" fmla="*/ 1724026 h 2897187"/>
                    <a:gd name="connsiteX13" fmla="*/ 1340644 w 1500188"/>
                    <a:gd name="connsiteY13" fmla="*/ 1723231 h 2897187"/>
                    <a:gd name="connsiteX14" fmla="*/ 1304925 w 1500188"/>
                    <a:gd name="connsiteY14" fmla="*/ 1531144 h 2897187"/>
                    <a:gd name="connsiteX15" fmla="*/ 1357313 w 1500188"/>
                    <a:gd name="connsiteY15" fmla="*/ 1443038 h 2897187"/>
                    <a:gd name="connsiteX16" fmla="*/ 1328738 w 1500188"/>
                    <a:gd name="connsiteY16" fmla="*/ 1388270 h 2897187"/>
                    <a:gd name="connsiteX17" fmla="*/ 1383506 w 1500188"/>
                    <a:gd name="connsiteY17" fmla="*/ 1381125 h 2897187"/>
                    <a:gd name="connsiteX18" fmla="*/ 1435894 w 1500188"/>
                    <a:gd name="connsiteY18" fmla="*/ 1302545 h 2897187"/>
                    <a:gd name="connsiteX19" fmla="*/ 1426369 w 1500188"/>
                    <a:gd name="connsiteY19" fmla="*/ 1254920 h 2897187"/>
                    <a:gd name="connsiteX20" fmla="*/ 1462882 w 1500188"/>
                    <a:gd name="connsiteY20" fmla="*/ 1246187 h 2897187"/>
                    <a:gd name="connsiteX21" fmla="*/ 1500188 w 1500188"/>
                    <a:gd name="connsiteY21" fmla="*/ 1190625 h 2897187"/>
                    <a:gd name="connsiteX22" fmla="*/ 1445419 w 1500188"/>
                    <a:gd name="connsiteY22" fmla="*/ 1007269 h 2897187"/>
                    <a:gd name="connsiteX23" fmla="*/ 1400176 w 1500188"/>
                    <a:gd name="connsiteY23" fmla="*/ 878682 h 2897187"/>
                    <a:gd name="connsiteX24" fmla="*/ 1433513 w 1500188"/>
                    <a:gd name="connsiteY24" fmla="*/ 804863 h 2897187"/>
                    <a:gd name="connsiteX25" fmla="*/ 1383507 w 1500188"/>
                    <a:gd name="connsiteY25" fmla="*/ 664370 h 2897187"/>
                    <a:gd name="connsiteX26" fmla="*/ 1323975 w 1500188"/>
                    <a:gd name="connsiteY26" fmla="*/ 604838 h 2897187"/>
                    <a:gd name="connsiteX27" fmla="*/ 1321594 w 1500188"/>
                    <a:gd name="connsiteY27" fmla="*/ 523876 h 2897187"/>
                    <a:gd name="connsiteX28" fmla="*/ 1302545 w 1500188"/>
                    <a:gd name="connsiteY28" fmla="*/ 445295 h 2897187"/>
                    <a:gd name="connsiteX29" fmla="*/ 1323181 w 1500188"/>
                    <a:gd name="connsiteY29" fmla="*/ 324644 h 2897187"/>
                    <a:gd name="connsiteX30" fmla="*/ 1171575 w 1500188"/>
                    <a:gd name="connsiteY30" fmla="*/ 0 h 2897187"/>
                    <a:gd name="connsiteX31" fmla="*/ 1085850 w 1500188"/>
                    <a:gd name="connsiteY31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45307 w 1500188"/>
                    <a:gd name="connsiteY6" fmla="*/ 1638301 h 2897187"/>
                    <a:gd name="connsiteX7" fmla="*/ 1085850 w 1500188"/>
                    <a:gd name="connsiteY7" fmla="*/ 1590676 h 2897187"/>
                    <a:gd name="connsiteX8" fmla="*/ 1076325 w 1500188"/>
                    <a:gd name="connsiteY8" fmla="*/ 1628776 h 2897187"/>
                    <a:gd name="connsiteX9" fmla="*/ 1154906 w 1500188"/>
                    <a:gd name="connsiteY9" fmla="*/ 1600201 h 2897187"/>
                    <a:gd name="connsiteX10" fmla="*/ 1202532 w 1500188"/>
                    <a:gd name="connsiteY10" fmla="*/ 1678782 h 2897187"/>
                    <a:gd name="connsiteX11" fmla="*/ 1233488 w 1500188"/>
                    <a:gd name="connsiteY11" fmla="*/ 1743074 h 2897187"/>
                    <a:gd name="connsiteX12" fmla="*/ 1288257 w 1500188"/>
                    <a:gd name="connsiteY12" fmla="*/ 1724026 h 2897187"/>
                    <a:gd name="connsiteX13" fmla="*/ 1340644 w 1500188"/>
                    <a:gd name="connsiteY13" fmla="*/ 1723231 h 2897187"/>
                    <a:gd name="connsiteX14" fmla="*/ 1304925 w 1500188"/>
                    <a:gd name="connsiteY14" fmla="*/ 1531144 h 2897187"/>
                    <a:gd name="connsiteX15" fmla="*/ 1357313 w 1500188"/>
                    <a:gd name="connsiteY15" fmla="*/ 1443038 h 2897187"/>
                    <a:gd name="connsiteX16" fmla="*/ 1328738 w 1500188"/>
                    <a:gd name="connsiteY16" fmla="*/ 1388270 h 2897187"/>
                    <a:gd name="connsiteX17" fmla="*/ 1383506 w 1500188"/>
                    <a:gd name="connsiteY17" fmla="*/ 1381125 h 2897187"/>
                    <a:gd name="connsiteX18" fmla="*/ 1435894 w 1500188"/>
                    <a:gd name="connsiteY18" fmla="*/ 1302545 h 2897187"/>
                    <a:gd name="connsiteX19" fmla="*/ 1426369 w 1500188"/>
                    <a:gd name="connsiteY19" fmla="*/ 1254920 h 2897187"/>
                    <a:gd name="connsiteX20" fmla="*/ 1462882 w 1500188"/>
                    <a:gd name="connsiteY20" fmla="*/ 1246187 h 2897187"/>
                    <a:gd name="connsiteX21" fmla="*/ 1500188 w 1500188"/>
                    <a:gd name="connsiteY21" fmla="*/ 1190625 h 2897187"/>
                    <a:gd name="connsiteX22" fmla="*/ 1445419 w 1500188"/>
                    <a:gd name="connsiteY22" fmla="*/ 1007269 h 2897187"/>
                    <a:gd name="connsiteX23" fmla="*/ 1400176 w 1500188"/>
                    <a:gd name="connsiteY23" fmla="*/ 878682 h 2897187"/>
                    <a:gd name="connsiteX24" fmla="*/ 1433513 w 1500188"/>
                    <a:gd name="connsiteY24" fmla="*/ 804863 h 2897187"/>
                    <a:gd name="connsiteX25" fmla="*/ 1383507 w 1500188"/>
                    <a:gd name="connsiteY25" fmla="*/ 664370 h 2897187"/>
                    <a:gd name="connsiteX26" fmla="*/ 1323975 w 1500188"/>
                    <a:gd name="connsiteY26" fmla="*/ 604838 h 2897187"/>
                    <a:gd name="connsiteX27" fmla="*/ 1321594 w 1500188"/>
                    <a:gd name="connsiteY27" fmla="*/ 523876 h 2897187"/>
                    <a:gd name="connsiteX28" fmla="*/ 1302545 w 1500188"/>
                    <a:gd name="connsiteY28" fmla="*/ 445295 h 2897187"/>
                    <a:gd name="connsiteX29" fmla="*/ 1323181 w 1500188"/>
                    <a:gd name="connsiteY29" fmla="*/ 324644 h 2897187"/>
                    <a:gd name="connsiteX30" fmla="*/ 1171575 w 1500188"/>
                    <a:gd name="connsiteY30" fmla="*/ 0 h 2897187"/>
                    <a:gd name="connsiteX31" fmla="*/ 1085850 w 1500188"/>
                    <a:gd name="connsiteY31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45307 w 1500188"/>
                    <a:gd name="connsiteY6" fmla="*/ 1638301 h 2897187"/>
                    <a:gd name="connsiteX7" fmla="*/ 864394 w 1500188"/>
                    <a:gd name="connsiteY7" fmla="*/ 1607344 h 2897187"/>
                    <a:gd name="connsiteX8" fmla="*/ 1085850 w 1500188"/>
                    <a:gd name="connsiteY8" fmla="*/ 1590676 h 2897187"/>
                    <a:gd name="connsiteX9" fmla="*/ 1076325 w 1500188"/>
                    <a:gd name="connsiteY9" fmla="*/ 1628776 h 2897187"/>
                    <a:gd name="connsiteX10" fmla="*/ 1154906 w 1500188"/>
                    <a:gd name="connsiteY10" fmla="*/ 1600201 h 2897187"/>
                    <a:gd name="connsiteX11" fmla="*/ 1202532 w 1500188"/>
                    <a:gd name="connsiteY11" fmla="*/ 1678782 h 2897187"/>
                    <a:gd name="connsiteX12" fmla="*/ 1233488 w 1500188"/>
                    <a:gd name="connsiteY12" fmla="*/ 1743074 h 2897187"/>
                    <a:gd name="connsiteX13" fmla="*/ 1288257 w 1500188"/>
                    <a:gd name="connsiteY13" fmla="*/ 1724026 h 2897187"/>
                    <a:gd name="connsiteX14" fmla="*/ 1340644 w 1500188"/>
                    <a:gd name="connsiteY14" fmla="*/ 1723231 h 2897187"/>
                    <a:gd name="connsiteX15" fmla="*/ 1304925 w 1500188"/>
                    <a:gd name="connsiteY15" fmla="*/ 1531144 h 2897187"/>
                    <a:gd name="connsiteX16" fmla="*/ 1357313 w 1500188"/>
                    <a:gd name="connsiteY16" fmla="*/ 1443038 h 2897187"/>
                    <a:gd name="connsiteX17" fmla="*/ 1328738 w 1500188"/>
                    <a:gd name="connsiteY17" fmla="*/ 1388270 h 2897187"/>
                    <a:gd name="connsiteX18" fmla="*/ 1383506 w 1500188"/>
                    <a:gd name="connsiteY18" fmla="*/ 1381125 h 2897187"/>
                    <a:gd name="connsiteX19" fmla="*/ 1435894 w 1500188"/>
                    <a:gd name="connsiteY19" fmla="*/ 1302545 h 2897187"/>
                    <a:gd name="connsiteX20" fmla="*/ 1426369 w 1500188"/>
                    <a:gd name="connsiteY20" fmla="*/ 1254920 h 2897187"/>
                    <a:gd name="connsiteX21" fmla="*/ 1462882 w 1500188"/>
                    <a:gd name="connsiteY21" fmla="*/ 1246187 h 2897187"/>
                    <a:gd name="connsiteX22" fmla="*/ 1500188 w 1500188"/>
                    <a:gd name="connsiteY22" fmla="*/ 1190625 h 2897187"/>
                    <a:gd name="connsiteX23" fmla="*/ 1445419 w 1500188"/>
                    <a:gd name="connsiteY23" fmla="*/ 1007269 h 2897187"/>
                    <a:gd name="connsiteX24" fmla="*/ 1400176 w 1500188"/>
                    <a:gd name="connsiteY24" fmla="*/ 878682 h 2897187"/>
                    <a:gd name="connsiteX25" fmla="*/ 1433513 w 1500188"/>
                    <a:gd name="connsiteY25" fmla="*/ 804863 h 2897187"/>
                    <a:gd name="connsiteX26" fmla="*/ 1383507 w 1500188"/>
                    <a:gd name="connsiteY26" fmla="*/ 664370 h 2897187"/>
                    <a:gd name="connsiteX27" fmla="*/ 1323975 w 1500188"/>
                    <a:gd name="connsiteY27" fmla="*/ 604838 h 2897187"/>
                    <a:gd name="connsiteX28" fmla="*/ 1321594 w 1500188"/>
                    <a:gd name="connsiteY28" fmla="*/ 523876 h 2897187"/>
                    <a:gd name="connsiteX29" fmla="*/ 1302545 w 1500188"/>
                    <a:gd name="connsiteY29" fmla="*/ 445295 h 2897187"/>
                    <a:gd name="connsiteX30" fmla="*/ 1323181 w 1500188"/>
                    <a:gd name="connsiteY30" fmla="*/ 324644 h 2897187"/>
                    <a:gd name="connsiteX31" fmla="*/ 1171575 w 1500188"/>
                    <a:gd name="connsiteY31" fmla="*/ 0 h 2897187"/>
                    <a:gd name="connsiteX32" fmla="*/ 1085850 w 1500188"/>
                    <a:gd name="connsiteY32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45307 w 1500188"/>
                    <a:gd name="connsiteY6" fmla="*/ 1638301 h 2897187"/>
                    <a:gd name="connsiteX7" fmla="*/ 1033463 w 1500188"/>
                    <a:gd name="connsiteY7" fmla="*/ 1543050 h 2897187"/>
                    <a:gd name="connsiteX8" fmla="*/ 1085850 w 1500188"/>
                    <a:gd name="connsiteY8" fmla="*/ 1590676 h 2897187"/>
                    <a:gd name="connsiteX9" fmla="*/ 1076325 w 1500188"/>
                    <a:gd name="connsiteY9" fmla="*/ 1628776 h 2897187"/>
                    <a:gd name="connsiteX10" fmla="*/ 1154906 w 1500188"/>
                    <a:gd name="connsiteY10" fmla="*/ 1600201 h 2897187"/>
                    <a:gd name="connsiteX11" fmla="*/ 1202532 w 1500188"/>
                    <a:gd name="connsiteY11" fmla="*/ 1678782 h 2897187"/>
                    <a:gd name="connsiteX12" fmla="*/ 1233488 w 1500188"/>
                    <a:gd name="connsiteY12" fmla="*/ 1743074 h 2897187"/>
                    <a:gd name="connsiteX13" fmla="*/ 1288257 w 1500188"/>
                    <a:gd name="connsiteY13" fmla="*/ 1724026 h 2897187"/>
                    <a:gd name="connsiteX14" fmla="*/ 1340644 w 1500188"/>
                    <a:gd name="connsiteY14" fmla="*/ 1723231 h 2897187"/>
                    <a:gd name="connsiteX15" fmla="*/ 1304925 w 1500188"/>
                    <a:gd name="connsiteY15" fmla="*/ 1531144 h 2897187"/>
                    <a:gd name="connsiteX16" fmla="*/ 1357313 w 1500188"/>
                    <a:gd name="connsiteY16" fmla="*/ 1443038 h 2897187"/>
                    <a:gd name="connsiteX17" fmla="*/ 1328738 w 1500188"/>
                    <a:gd name="connsiteY17" fmla="*/ 1388270 h 2897187"/>
                    <a:gd name="connsiteX18" fmla="*/ 1383506 w 1500188"/>
                    <a:gd name="connsiteY18" fmla="*/ 1381125 h 2897187"/>
                    <a:gd name="connsiteX19" fmla="*/ 1435894 w 1500188"/>
                    <a:gd name="connsiteY19" fmla="*/ 1302545 h 2897187"/>
                    <a:gd name="connsiteX20" fmla="*/ 1426369 w 1500188"/>
                    <a:gd name="connsiteY20" fmla="*/ 1254920 h 2897187"/>
                    <a:gd name="connsiteX21" fmla="*/ 1462882 w 1500188"/>
                    <a:gd name="connsiteY21" fmla="*/ 1246187 h 2897187"/>
                    <a:gd name="connsiteX22" fmla="*/ 1500188 w 1500188"/>
                    <a:gd name="connsiteY22" fmla="*/ 1190625 h 2897187"/>
                    <a:gd name="connsiteX23" fmla="*/ 1445419 w 1500188"/>
                    <a:gd name="connsiteY23" fmla="*/ 1007269 h 2897187"/>
                    <a:gd name="connsiteX24" fmla="*/ 1400176 w 1500188"/>
                    <a:gd name="connsiteY24" fmla="*/ 878682 h 2897187"/>
                    <a:gd name="connsiteX25" fmla="*/ 1433513 w 1500188"/>
                    <a:gd name="connsiteY25" fmla="*/ 804863 h 2897187"/>
                    <a:gd name="connsiteX26" fmla="*/ 1383507 w 1500188"/>
                    <a:gd name="connsiteY26" fmla="*/ 664370 h 2897187"/>
                    <a:gd name="connsiteX27" fmla="*/ 1323975 w 1500188"/>
                    <a:gd name="connsiteY27" fmla="*/ 604838 h 2897187"/>
                    <a:gd name="connsiteX28" fmla="*/ 1321594 w 1500188"/>
                    <a:gd name="connsiteY28" fmla="*/ 523876 h 2897187"/>
                    <a:gd name="connsiteX29" fmla="*/ 1302545 w 1500188"/>
                    <a:gd name="connsiteY29" fmla="*/ 445295 h 2897187"/>
                    <a:gd name="connsiteX30" fmla="*/ 1323181 w 1500188"/>
                    <a:gd name="connsiteY30" fmla="*/ 324644 h 2897187"/>
                    <a:gd name="connsiteX31" fmla="*/ 1171575 w 1500188"/>
                    <a:gd name="connsiteY31" fmla="*/ 0 h 2897187"/>
                    <a:gd name="connsiteX32" fmla="*/ 1085850 w 1500188"/>
                    <a:gd name="connsiteY32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45307 w 1500188"/>
                    <a:gd name="connsiteY6" fmla="*/ 1638301 h 2897187"/>
                    <a:gd name="connsiteX7" fmla="*/ 697706 w 1500188"/>
                    <a:gd name="connsiteY7" fmla="*/ 1607344 h 2897187"/>
                    <a:gd name="connsiteX8" fmla="*/ 1033463 w 1500188"/>
                    <a:gd name="connsiteY8" fmla="*/ 1543050 h 2897187"/>
                    <a:gd name="connsiteX9" fmla="*/ 1085850 w 1500188"/>
                    <a:gd name="connsiteY9" fmla="*/ 1590676 h 2897187"/>
                    <a:gd name="connsiteX10" fmla="*/ 1076325 w 1500188"/>
                    <a:gd name="connsiteY10" fmla="*/ 1628776 h 2897187"/>
                    <a:gd name="connsiteX11" fmla="*/ 1154906 w 1500188"/>
                    <a:gd name="connsiteY11" fmla="*/ 1600201 h 2897187"/>
                    <a:gd name="connsiteX12" fmla="*/ 1202532 w 1500188"/>
                    <a:gd name="connsiteY12" fmla="*/ 1678782 h 2897187"/>
                    <a:gd name="connsiteX13" fmla="*/ 1233488 w 1500188"/>
                    <a:gd name="connsiteY13" fmla="*/ 1743074 h 2897187"/>
                    <a:gd name="connsiteX14" fmla="*/ 1288257 w 1500188"/>
                    <a:gd name="connsiteY14" fmla="*/ 1724026 h 2897187"/>
                    <a:gd name="connsiteX15" fmla="*/ 1340644 w 1500188"/>
                    <a:gd name="connsiteY15" fmla="*/ 1723231 h 2897187"/>
                    <a:gd name="connsiteX16" fmla="*/ 1304925 w 1500188"/>
                    <a:gd name="connsiteY16" fmla="*/ 1531144 h 2897187"/>
                    <a:gd name="connsiteX17" fmla="*/ 1357313 w 1500188"/>
                    <a:gd name="connsiteY17" fmla="*/ 1443038 h 2897187"/>
                    <a:gd name="connsiteX18" fmla="*/ 1328738 w 1500188"/>
                    <a:gd name="connsiteY18" fmla="*/ 1388270 h 2897187"/>
                    <a:gd name="connsiteX19" fmla="*/ 1383506 w 1500188"/>
                    <a:gd name="connsiteY19" fmla="*/ 1381125 h 2897187"/>
                    <a:gd name="connsiteX20" fmla="*/ 1435894 w 1500188"/>
                    <a:gd name="connsiteY20" fmla="*/ 1302545 h 2897187"/>
                    <a:gd name="connsiteX21" fmla="*/ 1426369 w 1500188"/>
                    <a:gd name="connsiteY21" fmla="*/ 1254920 h 2897187"/>
                    <a:gd name="connsiteX22" fmla="*/ 1462882 w 1500188"/>
                    <a:gd name="connsiteY22" fmla="*/ 1246187 h 2897187"/>
                    <a:gd name="connsiteX23" fmla="*/ 1500188 w 1500188"/>
                    <a:gd name="connsiteY23" fmla="*/ 1190625 h 2897187"/>
                    <a:gd name="connsiteX24" fmla="*/ 1445419 w 1500188"/>
                    <a:gd name="connsiteY24" fmla="*/ 1007269 h 2897187"/>
                    <a:gd name="connsiteX25" fmla="*/ 1400176 w 1500188"/>
                    <a:gd name="connsiteY25" fmla="*/ 878682 h 2897187"/>
                    <a:gd name="connsiteX26" fmla="*/ 1433513 w 1500188"/>
                    <a:gd name="connsiteY26" fmla="*/ 804863 h 2897187"/>
                    <a:gd name="connsiteX27" fmla="*/ 1383507 w 1500188"/>
                    <a:gd name="connsiteY27" fmla="*/ 664370 h 2897187"/>
                    <a:gd name="connsiteX28" fmla="*/ 1323975 w 1500188"/>
                    <a:gd name="connsiteY28" fmla="*/ 604838 h 2897187"/>
                    <a:gd name="connsiteX29" fmla="*/ 1321594 w 1500188"/>
                    <a:gd name="connsiteY29" fmla="*/ 523876 h 2897187"/>
                    <a:gd name="connsiteX30" fmla="*/ 1302545 w 1500188"/>
                    <a:gd name="connsiteY30" fmla="*/ 445295 h 2897187"/>
                    <a:gd name="connsiteX31" fmla="*/ 1323181 w 1500188"/>
                    <a:gd name="connsiteY31" fmla="*/ 324644 h 2897187"/>
                    <a:gd name="connsiteX32" fmla="*/ 1171575 w 1500188"/>
                    <a:gd name="connsiteY32" fmla="*/ 0 h 2897187"/>
                    <a:gd name="connsiteX33" fmla="*/ 1085850 w 1500188"/>
                    <a:gd name="connsiteY33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45307 w 1500188"/>
                    <a:gd name="connsiteY6" fmla="*/ 1638301 h 2897187"/>
                    <a:gd name="connsiteX7" fmla="*/ 726281 w 1500188"/>
                    <a:gd name="connsiteY7" fmla="*/ 1628775 h 2897187"/>
                    <a:gd name="connsiteX8" fmla="*/ 1033463 w 1500188"/>
                    <a:gd name="connsiteY8" fmla="*/ 1543050 h 2897187"/>
                    <a:gd name="connsiteX9" fmla="*/ 1085850 w 1500188"/>
                    <a:gd name="connsiteY9" fmla="*/ 1590676 h 2897187"/>
                    <a:gd name="connsiteX10" fmla="*/ 1076325 w 1500188"/>
                    <a:gd name="connsiteY10" fmla="*/ 1628776 h 2897187"/>
                    <a:gd name="connsiteX11" fmla="*/ 1154906 w 1500188"/>
                    <a:gd name="connsiteY11" fmla="*/ 1600201 h 2897187"/>
                    <a:gd name="connsiteX12" fmla="*/ 1202532 w 1500188"/>
                    <a:gd name="connsiteY12" fmla="*/ 1678782 h 2897187"/>
                    <a:gd name="connsiteX13" fmla="*/ 1233488 w 1500188"/>
                    <a:gd name="connsiteY13" fmla="*/ 1743074 h 2897187"/>
                    <a:gd name="connsiteX14" fmla="*/ 1288257 w 1500188"/>
                    <a:gd name="connsiteY14" fmla="*/ 1724026 h 2897187"/>
                    <a:gd name="connsiteX15" fmla="*/ 1340644 w 1500188"/>
                    <a:gd name="connsiteY15" fmla="*/ 1723231 h 2897187"/>
                    <a:gd name="connsiteX16" fmla="*/ 1304925 w 1500188"/>
                    <a:gd name="connsiteY16" fmla="*/ 1531144 h 2897187"/>
                    <a:gd name="connsiteX17" fmla="*/ 1357313 w 1500188"/>
                    <a:gd name="connsiteY17" fmla="*/ 1443038 h 2897187"/>
                    <a:gd name="connsiteX18" fmla="*/ 1328738 w 1500188"/>
                    <a:gd name="connsiteY18" fmla="*/ 1388270 h 2897187"/>
                    <a:gd name="connsiteX19" fmla="*/ 1383506 w 1500188"/>
                    <a:gd name="connsiteY19" fmla="*/ 1381125 h 2897187"/>
                    <a:gd name="connsiteX20" fmla="*/ 1435894 w 1500188"/>
                    <a:gd name="connsiteY20" fmla="*/ 1302545 h 2897187"/>
                    <a:gd name="connsiteX21" fmla="*/ 1426369 w 1500188"/>
                    <a:gd name="connsiteY21" fmla="*/ 1254920 h 2897187"/>
                    <a:gd name="connsiteX22" fmla="*/ 1462882 w 1500188"/>
                    <a:gd name="connsiteY22" fmla="*/ 1246187 h 2897187"/>
                    <a:gd name="connsiteX23" fmla="*/ 1500188 w 1500188"/>
                    <a:gd name="connsiteY23" fmla="*/ 1190625 h 2897187"/>
                    <a:gd name="connsiteX24" fmla="*/ 1445419 w 1500188"/>
                    <a:gd name="connsiteY24" fmla="*/ 1007269 h 2897187"/>
                    <a:gd name="connsiteX25" fmla="*/ 1400176 w 1500188"/>
                    <a:gd name="connsiteY25" fmla="*/ 878682 h 2897187"/>
                    <a:gd name="connsiteX26" fmla="*/ 1433513 w 1500188"/>
                    <a:gd name="connsiteY26" fmla="*/ 804863 h 2897187"/>
                    <a:gd name="connsiteX27" fmla="*/ 1383507 w 1500188"/>
                    <a:gd name="connsiteY27" fmla="*/ 664370 h 2897187"/>
                    <a:gd name="connsiteX28" fmla="*/ 1323975 w 1500188"/>
                    <a:gd name="connsiteY28" fmla="*/ 604838 h 2897187"/>
                    <a:gd name="connsiteX29" fmla="*/ 1321594 w 1500188"/>
                    <a:gd name="connsiteY29" fmla="*/ 523876 h 2897187"/>
                    <a:gd name="connsiteX30" fmla="*/ 1302545 w 1500188"/>
                    <a:gd name="connsiteY30" fmla="*/ 445295 h 2897187"/>
                    <a:gd name="connsiteX31" fmla="*/ 1323181 w 1500188"/>
                    <a:gd name="connsiteY31" fmla="*/ 324644 h 2897187"/>
                    <a:gd name="connsiteX32" fmla="*/ 1171575 w 1500188"/>
                    <a:gd name="connsiteY32" fmla="*/ 0 h 2897187"/>
                    <a:gd name="connsiteX33" fmla="*/ 1085850 w 1500188"/>
                    <a:gd name="connsiteY33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45307 w 1500188"/>
                    <a:gd name="connsiteY6" fmla="*/ 1638301 h 2897187"/>
                    <a:gd name="connsiteX7" fmla="*/ 726281 w 1500188"/>
                    <a:gd name="connsiteY7" fmla="*/ 1628775 h 2897187"/>
                    <a:gd name="connsiteX8" fmla="*/ 795338 w 1500188"/>
                    <a:gd name="connsiteY8" fmla="*/ 1607344 h 2897187"/>
                    <a:gd name="connsiteX9" fmla="*/ 1033463 w 1500188"/>
                    <a:gd name="connsiteY9" fmla="*/ 1543050 h 2897187"/>
                    <a:gd name="connsiteX10" fmla="*/ 1085850 w 1500188"/>
                    <a:gd name="connsiteY10" fmla="*/ 1590676 h 2897187"/>
                    <a:gd name="connsiteX11" fmla="*/ 1076325 w 1500188"/>
                    <a:gd name="connsiteY11" fmla="*/ 1628776 h 2897187"/>
                    <a:gd name="connsiteX12" fmla="*/ 1154906 w 1500188"/>
                    <a:gd name="connsiteY12" fmla="*/ 1600201 h 2897187"/>
                    <a:gd name="connsiteX13" fmla="*/ 1202532 w 1500188"/>
                    <a:gd name="connsiteY13" fmla="*/ 1678782 h 2897187"/>
                    <a:gd name="connsiteX14" fmla="*/ 1233488 w 1500188"/>
                    <a:gd name="connsiteY14" fmla="*/ 1743074 h 2897187"/>
                    <a:gd name="connsiteX15" fmla="*/ 1288257 w 1500188"/>
                    <a:gd name="connsiteY15" fmla="*/ 1724026 h 2897187"/>
                    <a:gd name="connsiteX16" fmla="*/ 1340644 w 1500188"/>
                    <a:gd name="connsiteY16" fmla="*/ 1723231 h 2897187"/>
                    <a:gd name="connsiteX17" fmla="*/ 1304925 w 1500188"/>
                    <a:gd name="connsiteY17" fmla="*/ 1531144 h 2897187"/>
                    <a:gd name="connsiteX18" fmla="*/ 1357313 w 1500188"/>
                    <a:gd name="connsiteY18" fmla="*/ 1443038 h 2897187"/>
                    <a:gd name="connsiteX19" fmla="*/ 1328738 w 1500188"/>
                    <a:gd name="connsiteY19" fmla="*/ 1388270 h 2897187"/>
                    <a:gd name="connsiteX20" fmla="*/ 1383506 w 1500188"/>
                    <a:gd name="connsiteY20" fmla="*/ 1381125 h 2897187"/>
                    <a:gd name="connsiteX21" fmla="*/ 1435894 w 1500188"/>
                    <a:gd name="connsiteY21" fmla="*/ 1302545 h 2897187"/>
                    <a:gd name="connsiteX22" fmla="*/ 1426369 w 1500188"/>
                    <a:gd name="connsiteY22" fmla="*/ 1254920 h 2897187"/>
                    <a:gd name="connsiteX23" fmla="*/ 1462882 w 1500188"/>
                    <a:gd name="connsiteY23" fmla="*/ 1246187 h 2897187"/>
                    <a:gd name="connsiteX24" fmla="*/ 1500188 w 1500188"/>
                    <a:gd name="connsiteY24" fmla="*/ 1190625 h 2897187"/>
                    <a:gd name="connsiteX25" fmla="*/ 1445419 w 1500188"/>
                    <a:gd name="connsiteY25" fmla="*/ 1007269 h 2897187"/>
                    <a:gd name="connsiteX26" fmla="*/ 1400176 w 1500188"/>
                    <a:gd name="connsiteY26" fmla="*/ 878682 h 2897187"/>
                    <a:gd name="connsiteX27" fmla="*/ 1433513 w 1500188"/>
                    <a:gd name="connsiteY27" fmla="*/ 804863 h 2897187"/>
                    <a:gd name="connsiteX28" fmla="*/ 1383507 w 1500188"/>
                    <a:gd name="connsiteY28" fmla="*/ 664370 h 2897187"/>
                    <a:gd name="connsiteX29" fmla="*/ 1323975 w 1500188"/>
                    <a:gd name="connsiteY29" fmla="*/ 604838 h 2897187"/>
                    <a:gd name="connsiteX30" fmla="*/ 1321594 w 1500188"/>
                    <a:gd name="connsiteY30" fmla="*/ 523876 h 2897187"/>
                    <a:gd name="connsiteX31" fmla="*/ 1302545 w 1500188"/>
                    <a:gd name="connsiteY31" fmla="*/ 445295 h 2897187"/>
                    <a:gd name="connsiteX32" fmla="*/ 1323181 w 1500188"/>
                    <a:gd name="connsiteY32" fmla="*/ 324644 h 2897187"/>
                    <a:gd name="connsiteX33" fmla="*/ 1171575 w 1500188"/>
                    <a:gd name="connsiteY33" fmla="*/ 0 h 2897187"/>
                    <a:gd name="connsiteX34" fmla="*/ 1085850 w 1500188"/>
                    <a:gd name="connsiteY34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45307 w 1500188"/>
                    <a:gd name="connsiteY6" fmla="*/ 1638301 h 2897187"/>
                    <a:gd name="connsiteX7" fmla="*/ 726281 w 1500188"/>
                    <a:gd name="connsiteY7" fmla="*/ 1628775 h 2897187"/>
                    <a:gd name="connsiteX8" fmla="*/ 816769 w 1500188"/>
                    <a:gd name="connsiteY8" fmla="*/ 1540669 h 2897187"/>
                    <a:gd name="connsiteX9" fmla="*/ 1033463 w 1500188"/>
                    <a:gd name="connsiteY9" fmla="*/ 1543050 h 2897187"/>
                    <a:gd name="connsiteX10" fmla="*/ 1085850 w 1500188"/>
                    <a:gd name="connsiteY10" fmla="*/ 1590676 h 2897187"/>
                    <a:gd name="connsiteX11" fmla="*/ 1076325 w 1500188"/>
                    <a:gd name="connsiteY11" fmla="*/ 1628776 h 2897187"/>
                    <a:gd name="connsiteX12" fmla="*/ 1154906 w 1500188"/>
                    <a:gd name="connsiteY12" fmla="*/ 1600201 h 2897187"/>
                    <a:gd name="connsiteX13" fmla="*/ 1202532 w 1500188"/>
                    <a:gd name="connsiteY13" fmla="*/ 1678782 h 2897187"/>
                    <a:gd name="connsiteX14" fmla="*/ 1233488 w 1500188"/>
                    <a:gd name="connsiteY14" fmla="*/ 1743074 h 2897187"/>
                    <a:gd name="connsiteX15" fmla="*/ 1288257 w 1500188"/>
                    <a:gd name="connsiteY15" fmla="*/ 1724026 h 2897187"/>
                    <a:gd name="connsiteX16" fmla="*/ 1340644 w 1500188"/>
                    <a:gd name="connsiteY16" fmla="*/ 1723231 h 2897187"/>
                    <a:gd name="connsiteX17" fmla="*/ 1304925 w 1500188"/>
                    <a:gd name="connsiteY17" fmla="*/ 1531144 h 2897187"/>
                    <a:gd name="connsiteX18" fmla="*/ 1357313 w 1500188"/>
                    <a:gd name="connsiteY18" fmla="*/ 1443038 h 2897187"/>
                    <a:gd name="connsiteX19" fmla="*/ 1328738 w 1500188"/>
                    <a:gd name="connsiteY19" fmla="*/ 1388270 h 2897187"/>
                    <a:gd name="connsiteX20" fmla="*/ 1383506 w 1500188"/>
                    <a:gd name="connsiteY20" fmla="*/ 1381125 h 2897187"/>
                    <a:gd name="connsiteX21" fmla="*/ 1435894 w 1500188"/>
                    <a:gd name="connsiteY21" fmla="*/ 1302545 h 2897187"/>
                    <a:gd name="connsiteX22" fmla="*/ 1426369 w 1500188"/>
                    <a:gd name="connsiteY22" fmla="*/ 1254920 h 2897187"/>
                    <a:gd name="connsiteX23" fmla="*/ 1462882 w 1500188"/>
                    <a:gd name="connsiteY23" fmla="*/ 1246187 h 2897187"/>
                    <a:gd name="connsiteX24" fmla="*/ 1500188 w 1500188"/>
                    <a:gd name="connsiteY24" fmla="*/ 1190625 h 2897187"/>
                    <a:gd name="connsiteX25" fmla="*/ 1445419 w 1500188"/>
                    <a:gd name="connsiteY25" fmla="*/ 1007269 h 2897187"/>
                    <a:gd name="connsiteX26" fmla="*/ 1400176 w 1500188"/>
                    <a:gd name="connsiteY26" fmla="*/ 878682 h 2897187"/>
                    <a:gd name="connsiteX27" fmla="*/ 1433513 w 1500188"/>
                    <a:gd name="connsiteY27" fmla="*/ 804863 h 2897187"/>
                    <a:gd name="connsiteX28" fmla="*/ 1383507 w 1500188"/>
                    <a:gd name="connsiteY28" fmla="*/ 664370 h 2897187"/>
                    <a:gd name="connsiteX29" fmla="*/ 1323975 w 1500188"/>
                    <a:gd name="connsiteY29" fmla="*/ 604838 h 2897187"/>
                    <a:gd name="connsiteX30" fmla="*/ 1321594 w 1500188"/>
                    <a:gd name="connsiteY30" fmla="*/ 523876 h 2897187"/>
                    <a:gd name="connsiteX31" fmla="*/ 1302545 w 1500188"/>
                    <a:gd name="connsiteY31" fmla="*/ 445295 h 2897187"/>
                    <a:gd name="connsiteX32" fmla="*/ 1323181 w 1500188"/>
                    <a:gd name="connsiteY32" fmla="*/ 324644 h 2897187"/>
                    <a:gd name="connsiteX33" fmla="*/ 1171575 w 1500188"/>
                    <a:gd name="connsiteY33" fmla="*/ 0 h 2897187"/>
                    <a:gd name="connsiteX34" fmla="*/ 1085850 w 1500188"/>
                    <a:gd name="connsiteY34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592931 w 1500188"/>
                    <a:gd name="connsiteY6" fmla="*/ 1778794 h 2897187"/>
                    <a:gd name="connsiteX7" fmla="*/ 545307 w 1500188"/>
                    <a:gd name="connsiteY7" fmla="*/ 1638301 h 2897187"/>
                    <a:gd name="connsiteX8" fmla="*/ 726281 w 1500188"/>
                    <a:gd name="connsiteY8" fmla="*/ 1628775 h 2897187"/>
                    <a:gd name="connsiteX9" fmla="*/ 816769 w 1500188"/>
                    <a:gd name="connsiteY9" fmla="*/ 1540669 h 2897187"/>
                    <a:gd name="connsiteX10" fmla="*/ 1033463 w 1500188"/>
                    <a:gd name="connsiteY10" fmla="*/ 1543050 h 2897187"/>
                    <a:gd name="connsiteX11" fmla="*/ 1085850 w 1500188"/>
                    <a:gd name="connsiteY11" fmla="*/ 1590676 h 2897187"/>
                    <a:gd name="connsiteX12" fmla="*/ 1076325 w 1500188"/>
                    <a:gd name="connsiteY12" fmla="*/ 1628776 h 2897187"/>
                    <a:gd name="connsiteX13" fmla="*/ 1154906 w 1500188"/>
                    <a:gd name="connsiteY13" fmla="*/ 1600201 h 2897187"/>
                    <a:gd name="connsiteX14" fmla="*/ 1202532 w 1500188"/>
                    <a:gd name="connsiteY14" fmla="*/ 1678782 h 2897187"/>
                    <a:gd name="connsiteX15" fmla="*/ 1233488 w 1500188"/>
                    <a:gd name="connsiteY15" fmla="*/ 1743074 h 2897187"/>
                    <a:gd name="connsiteX16" fmla="*/ 1288257 w 1500188"/>
                    <a:gd name="connsiteY16" fmla="*/ 1724026 h 2897187"/>
                    <a:gd name="connsiteX17" fmla="*/ 1340644 w 1500188"/>
                    <a:gd name="connsiteY17" fmla="*/ 1723231 h 2897187"/>
                    <a:gd name="connsiteX18" fmla="*/ 1304925 w 1500188"/>
                    <a:gd name="connsiteY18" fmla="*/ 1531144 h 2897187"/>
                    <a:gd name="connsiteX19" fmla="*/ 1357313 w 1500188"/>
                    <a:gd name="connsiteY19" fmla="*/ 1443038 h 2897187"/>
                    <a:gd name="connsiteX20" fmla="*/ 1328738 w 1500188"/>
                    <a:gd name="connsiteY20" fmla="*/ 1388270 h 2897187"/>
                    <a:gd name="connsiteX21" fmla="*/ 1383506 w 1500188"/>
                    <a:gd name="connsiteY21" fmla="*/ 1381125 h 2897187"/>
                    <a:gd name="connsiteX22" fmla="*/ 1435894 w 1500188"/>
                    <a:gd name="connsiteY22" fmla="*/ 1302545 h 2897187"/>
                    <a:gd name="connsiteX23" fmla="*/ 1426369 w 1500188"/>
                    <a:gd name="connsiteY23" fmla="*/ 1254920 h 2897187"/>
                    <a:gd name="connsiteX24" fmla="*/ 1462882 w 1500188"/>
                    <a:gd name="connsiteY24" fmla="*/ 1246187 h 2897187"/>
                    <a:gd name="connsiteX25" fmla="*/ 1500188 w 1500188"/>
                    <a:gd name="connsiteY25" fmla="*/ 1190625 h 2897187"/>
                    <a:gd name="connsiteX26" fmla="*/ 1445419 w 1500188"/>
                    <a:gd name="connsiteY26" fmla="*/ 1007269 h 2897187"/>
                    <a:gd name="connsiteX27" fmla="*/ 1400176 w 1500188"/>
                    <a:gd name="connsiteY27" fmla="*/ 878682 h 2897187"/>
                    <a:gd name="connsiteX28" fmla="*/ 1433513 w 1500188"/>
                    <a:gd name="connsiteY28" fmla="*/ 804863 h 2897187"/>
                    <a:gd name="connsiteX29" fmla="*/ 1383507 w 1500188"/>
                    <a:gd name="connsiteY29" fmla="*/ 664370 h 2897187"/>
                    <a:gd name="connsiteX30" fmla="*/ 1323975 w 1500188"/>
                    <a:gd name="connsiteY30" fmla="*/ 604838 h 2897187"/>
                    <a:gd name="connsiteX31" fmla="*/ 1321594 w 1500188"/>
                    <a:gd name="connsiteY31" fmla="*/ 523876 h 2897187"/>
                    <a:gd name="connsiteX32" fmla="*/ 1302545 w 1500188"/>
                    <a:gd name="connsiteY32" fmla="*/ 445295 h 2897187"/>
                    <a:gd name="connsiteX33" fmla="*/ 1323181 w 1500188"/>
                    <a:gd name="connsiteY33" fmla="*/ 324644 h 2897187"/>
                    <a:gd name="connsiteX34" fmla="*/ 1171575 w 1500188"/>
                    <a:gd name="connsiteY34" fmla="*/ 0 h 2897187"/>
                    <a:gd name="connsiteX35" fmla="*/ 1085850 w 1500188"/>
                    <a:gd name="connsiteY35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633413 w 1500188"/>
                    <a:gd name="connsiteY6" fmla="*/ 1704975 h 2897187"/>
                    <a:gd name="connsiteX7" fmla="*/ 545307 w 1500188"/>
                    <a:gd name="connsiteY7" fmla="*/ 1638301 h 2897187"/>
                    <a:gd name="connsiteX8" fmla="*/ 726281 w 1500188"/>
                    <a:gd name="connsiteY8" fmla="*/ 1628775 h 2897187"/>
                    <a:gd name="connsiteX9" fmla="*/ 816769 w 1500188"/>
                    <a:gd name="connsiteY9" fmla="*/ 1540669 h 2897187"/>
                    <a:gd name="connsiteX10" fmla="*/ 1033463 w 1500188"/>
                    <a:gd name="connsiteY10" fmla="*/ 1543050 h 2897187"/>
                    <a:gd name="connsiteX11" fmla="*/ 1085850 w 1500188"/>
                    <a:gd name="connsiteY11" fmla="*/ 1590676 h 2897187"/>
                    <a:gd name="connsiteX12" fmla="*/ 1076325 w 1500188"/>
                    <a:gd name="connsiteY12" fmla="*/ 1628776 h 2897187"/>
                    <a:gd name="connsiteX13" fmla="*/ 1154906 w 1500188"/>
                    <a:gd name="connsiteY13" fmla="*/ 1600201 h 2897187"/>
                    <a:gd name="connsiteX14" fmla="*/ 1202532 w 1500188"/>
                    <a:gd name="connsiteY14" fmla="*/ 1678782 h 2897187"/>
                    <a:gd name="connsiteX15" fmla="*/ 1233488 w 1500188"/>
                    <a:gd name="connsiteY15" fmla="*/ 1743074 h 2897187"/>
                    <a:gd name="connsiteX16" fmla="*/ 1288257 w 1500188"/>
                    <a:gd name="connsiteY16" fmla="*/ 1724026 h 2897187"/>
                    <a:gd name="connsiteX17" fmla="*/ 1340644 w 1500188"/>
                    <a:gd name="connsiteY17" fmla="*/ 1723231 h 2897187"/>
                    <a:gd name="connsiteX18" fmla="*/ 1304925 w 1500188"/>
                    <a:gd name="connsiteY18" fmla="*/ 1531144 h 2897187"/>
                    <a:gd name="connsiteX19" fmla="*/ 1357313 w 1500188"/>
                    <a:gd name="connsiteY19" fmla="*/ 1443038 h 2897187"/>
                    <a:gd name="connsiteX20" fmla="*/ 1328738 w 1500188"/>
                    <a:gd name="connsiteY20" fmla="*/ 1388270 h 2897187"/>
                    <a:gd name="connsiteX21" fmla="*/ 1383506 w 1500188"/>
                    <a:gd name="connsiteY21" fmla="*/ 1381125 h 2897187"/>
                    <a:gd name="connsiteX22" fmla="*/ 1435894 w 1500188"/>
                    <a:gd name="connsiteY22" fmla="*/ 1302545 h 2897187"/>
                    <a:gd name="connsiteX23" fmla="*/ 1426369 w 1500188"/>
                    <a:gd name="connsiteY23" fmla="*/ 1254920 h 2897187"/>
                    <a:gd name="connsiteX24" fmla="*/ 1462882 w 1500188"/>
                    <a:gd name="connsiteY24" fmla="*/ 1246187 h 2897187"/>
                    <a:gd name="connsiteX25" fmla="*/ 1500188 w 1500188"/>
                    <a:gd name="connsiteY25" fmla="*/ 1190625 h 2897187"/>
                    <a:gd name="connsiteX26" fmla="*/ 1445419 w 1500188"/>
                    <a:gd name="connsiteY26" fmla="*/ 1007269 h 2897187"/>
                    <a:gd name="connsiteX27" fmla="*/ 1400176 w 1500188"/>
                    <a:gd name="connsiteY27" fmla="*/ 878682 h 2897187"/>
                    <a:gd name="connsiteX28" fmla="*/ 1433513 w 1500188"/>
                    <a:gd name="connsiteY28" fmla="*/ 804863 h 2897187"/>
                    <a:gd name="connsiteX29" fmla="*/ 1383507 w 1500188"/>
                    <a:gd name="connsiteY29" fmla="*/ 664370 h 2897187"/>
                    <a:gd name="connsiteX30" fmla="*/ 1323975 w 1500188"/>
                    <a:gd name="connsiteY30" fmla="*/ 604838 h 2897187"/>
                    <a:gd name="connsiteX31" fmla="*/ 1321594 w 1500188"/>
                    <a:gd name="connsiteY31" fmla="*/ 523876 h 2897187"/>
                    <a:gd name="connsiteX32" fmla="*/ 1302545 w 1500188"/>
                    <a:gd name="connsiteY32" fmla="*/ 445295 h 2897187"/>
                    <a:gd name="connsiteX33" fmla="*/ 1323181 w 1500188"/>
                    <a:gd name="connsiteY33" fmla="*/ 324644 h 2897187"/>
                    <a:gd name="connsiteX34" fmla="*/ 1171575 w 1500188"/>
                    <a:gd name="connsiteY34" fmla="*/ 0 h 2897187"/>
                    <a:gd name="connsiteX35" fmla="*/ 1085850 w 1500188"/>
                    <a:gd name="connsiteY35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700088 w 1500188"/>
                    <a:gd name="connsiteY6" fmla="*/ 1921669 h 2897187"/>
                    <a:gd name="connsiteX7" fmla="*/ 633413 w 1500188"/>
                    <a:gd name="connsiteY7" fmla="*/ 1704975 h 2897187"/>
                    <a:gd name="connsiteX8" fmla="*/ 545307 w 1500188"/>
                    <a:gd name="connsiteY8" fmla="*/ 1638301 h 2897187"/>
                    <a:gd name="connsiteX9" fmla="*/ 726281 w 1500188"/>
                    <a:gd name="connsiteY9" fmla="*/ 1628775 h 2897187"/>
                    <a:gd name="connsiteX10" fmla="*/ 816769 w 1500188"/>
                    <a:gd name="connsiteY10" fmla="*/ 1540669 h 2897187"/>
                    <a:gd name="connsiteX11" fmla="*/ 1033463 w 1500188"/>
                    <a:gd name="connsiteY11" fmla="*/ 1543050 h 2897187"/>
                    <a:gd name="connsiteX12" fmla="*/ 1085850 w 1500188"/>
                    <a:gd name="connsiteY12" fmla="*/ 1590676 h 2897187"/>
                    <a:gd name="connsiteX13" fmla="*/ 1076325 w 1500188"/>
                    <a:gd name="connsiteY13" fmla="*/ 1628776 h 2897187"/>
                    <a:gd name="connsiteX14" fmla="*/ 1154906 w 1500188"/>
                    <a:gd name="connsiteY14" fmla="*/ 1600201 h 2897187"/>
                    <a:gd name="connsiteX15" fmla="*/ 1202532 w 1500188"/>
                    <a:gd name="connsiteY15" fmla="*/ 1678782 h 2897187"/>
                    <a:gd name="connsiteX16" fmla="*/ 1233488 w 1500188"/>
                    <a:gd name="connsiteY16" fmla="*/ 1743074 h 2897187"/>
                    <a:gd name="connsiteX17" fmla="*/ 1288257 w 1500188"/>
                    <a:gd name="connsiteY17" fmla="*/ 1724026 h 2897187"/>
                    <a:gd name="connsiteX18" fmla="*/ 1340644 w 1500188"/>
                    <a:gd name="connsiteY18" fmla="*/ 1723231 h 2897187"/>
                    <a:gd name="connsiteX19" fmla="*/ 1304925 w 1500188"/>
                    <a:gd name="connsiteY19" fmla="*/ 1531144 h 2897187"/>
                    <a:gd name="connsiteX20" fmla="*/ 1357313 w 1500188"/>
                    <a:gd name="connsiteY20" fmla="*/ 1443038 h 2897187"/>
                    <a:gd name="connsiteX21" fmla="*/ 1328738 w 1500188"/>
                    <a:gd name="connsiteY21" fmla="*/ 1388270 h 2897187"/>
                    <a:gd name="connsiteX22" fmla="*/ 1383506 w 1500188"/>
                    <a:gd name="connsiteY22" fmla="*/ 1381125 h 2897187"/>
                    <a:gd name="connsiteX23" fmla="*/ 1435894 w 1500188"/>
                    <a:gd name="connsiteY23" fmla="*/ 1302545 h 2897187"/>
                    <a:gd name="connsiteX24" fmla="*/ 1426369 w 1500188"/>
                    <a:gd name="connsiteY24" fmla="*/ 1254920 h 2897187"/>
                    <a:gd name="connsiteX25" fmla="*/ 1462882 w 1500188"/>
                    <a:gd name="connsiteY25" fmla="*/ 1246187 h 2897187"/>
                    <a:gd name="connsiteX26" fmla="*/ 1500188 w 1500188"/>
                    <a:gd name="connsiteY26" fmla="*/ 1190625 h 2897187"/>
                    <a:gd name="connsiteX27" fmla="*/ 1445419 w 1500188"/>
                    <a:gd name="connsiteY27" fmla="*/ 1007269 h 2897187"/>
                    <a:gd name="connsiteX28" fmla="*/ 1400176 w 1500188"/>
                    <a:gd name="connsiteY28" fmla="*/ 878682 h 2897187"/>
                    <a:gd name="connsiteX29" fmla="*/ 1433513 w 1500188"/>
                    <a:gd name="connsiteY29" fmla="*/ 804863 h 2897187"/>
                    <a:gd name="connsiteX30" fmla="*/ 1383507 w 1500188"/>
                    <a:gd name="connsiteY30" fmla="*/ 664370 h 2897187"/>
                    <a:gd name="connsiteX31" fmla="*/ 1323975 w 1500188"/>
                    <a:gd name="connsiteY31" fmla="*/ 604838 h 2897187"/>
                    <a:gd name="connsiteX32" fmla="*/ 1321594 w 1500188"/>
                    <a:gd name="connsiteY32" fmla="*/ 523876 h 2897187"/>
                    <a:gd name="connsiteX33" fmla="*/ 1302545 w 1500188"/>
                    <a:gd name="connsiteY33" fmla="*/ 445295 h 2897187"/>
                    <a:gd name="connsiteX34" fmla="*/ 1323181 w 1500188"/>
                    <a:gd name="connsiteY34" fmla="*/ 324644 h 2897187"/>
                    <a:gd name="connsiteX35" fmla="*/ 1171575 w 1500188"/>
                    <a:gd name="connsiteY35" fmla="*/ 0 h 2897187"/>
                    <a:gd name="connsiteX36" fmla="*/ 1085850 w 1500188"/>
                    <a:gd name="connsiteY36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690563 w 1500188"/>
                    <a:gd name="connsiteY6" fmla="*/ 2014538 h 2897187"/>
                    <a:gd name="connsiteX7" fmla="*/ 633413 w 1500188"/>
                    <a:gd name="connsiteY7" fmla="*/ 1704975 h 2897187"/>
                    <a:gd name="connsiteX8" fmla="*/ 545307 w 1500188"/>
                    <a:gd name="connsiteY8" fmla="*/ 1638301 h 2897187"/>
                    <a:gd name="connsiteX9" fmla="*/ 726281 w 1500188"/>
                    <a:gd name="connsiteY9" fmla="*/ 1628775 h 2897187"/>
                    <a:gd name="connsiteX10" fmla="*/ 816769 w 1500188"/>
                    <a:gd name="connsiteY10" fmla="*/ 1540669 h 2897187"/>
                    <a:gd name="connsiteX11" fmla="*/ 1033463 w 1500188"/>
                    <a:gd name="connsiteY11" fmla="*/ 1543050 h 2897187"/>
                    <a:gd name="connsiteX12" fmla="*/ 1085850 w 1500188"/>
                    <a:gd name="connsiteY12" fmla="*/ 1590676 h 2897187"/>
                    <a:gd name="connsiteX13" fmla="*/ 1076325 w 1500188"/>
                    <a:gd name="connsiteY13" fmla="*/ 1628776 h 2897187"/>
                    <a:gd name="connsiteX14" fmla="*/ 1154906 w 1500188"/>
                    <a:gd name="connsiteY14" fmla="*/ 1600201 h 2897187"/>
                    <a:gd name="connsiteX15" fmla="*/ 1202532 w 1500188"/>
                    <a:gd name="connsiteY15" fmla="*/ 1678782 h 2897187"/>
                    <a:gd name="connsiteX16" fmla="*/ 1233488 w 1500188"/>
                    <a:gd name="connsiteY16" fmla="*/ 1743074 h 2897187"/>
                    <a:gd name="connsiteX17" fmla="*/ 1288257 w 1500188"/>
                    <a:gd name="connsiteY17" fmla="*/ 1724026 h 2897187"/>
                    <a:gd name="connsiteX18" fmla="*/ 1340644 w 1500188"/>
                    <a:gd name="connsiteY18" fmla="*/ 1723231 h 2897187"/>
                    <a:gd name="connsiteX19" fmla="*/ 1304925 w 1500188"/>
                    <a:gd name="connsiteY19" fmla="*/ 1531144 h 2897187"/>
                    <a:gd name="connsiteX20" fmla="*/ 1357313 w 1500188"/>
                    <a:gd name="connsiteY20" fmla="*/ 1443038 h 2897187"/>
                    <a:gd name="connsiteX21" fmla="*/ 1328738 w 1500188"/>
                    <a:gd name="connsiteY21" fmla="*/ 1388270 h 2897187"/>
                    <a:gd name="connsiteX22" fmla="*/ 1383506 w 1500188"/>
                    <a:gd name="connsiteY22" fmla="*/ 1381125 h 2897187"/>
                    <a:gd name="connsiteX23" fmla="*/ 1435894 w 1500188"/>
                    <a:gd name="connsiteY23" fmla="*/ 1302545 h 2897187"/>
                    <a:gd name="connsiteX24" fmla="*/ 1426369 w 1500188"/>
                    <a:gd name="connsiteY24" fmla="*/ 1254920 h 2897187"/>
                    <a:gd name="connsiteX25" fmla="*/ 1462882 w 1500188"/>
                    <a:gd name="connsiteY25" fmla="*/ 1246187 h 2897187"/>
                    <a:gd name="connsiteX26" fmla="*/ 1500188 w 1500188"/>
                    <a:gd name="connsiteY26" fmla="*/ 1190625 h 2897187"/>
                    <a:gd name="connsiteX27" fmla="*/ 1445419 w 1500188"/>
                    <a:gd name="connsiteY27" fmla="*/ 1007269 h 2897187"/>
                    <a:gd name="connsiteX28" fmla="*/ 1400176 w 1500188"/>
                    <a:gd name="connsiteY28" fmla="*/ 878682 h 2897187"/>
                    <a:gd name="connsiteX29" fmla="*/ 1433513 w 1500188"/>
                    <a:gd name="connsiteY29" fmla="*/ 804863 h 2897187"/>
                    <a:gd name="connsiteX30" fmla="*/ 1383507 w 1500188"/>
                    <a:gd name="connsiteY30" fmla="*/ 664370 h 2897187"/>
                    <a:gd name="connsiteX31" fmla="*/ 1323975 w 1500188"/>
                    <a:gd name="connsiteY31" fmla="*/ 604838 h 2897187"/>
                    <a:gd name="connsiteX32" fmla="*/ 1321594 w 1500188"/>
                    <a:gd name="connsiteY32" fmla="*/ 523876 h 2897187"/>
                    <a:gd name="connsiteX33" fmla="*/ 1302545 w 1500188"/>
                    <a:gd name="connsiteY33" fmla="*/ 445295 h 2897187"/>
                    <a:gd name="connsiteX34" fmla="*/ 1323181 w 1500188"/>
                    <a:gd name="connsiteY34" fmla="*/ 324644 h 2897187"/>
                    <a:gd name="connsiteX35" fmla="*/ 1171575 w 1500188"/>
                    <a:gd name="connsiteY35" fmla="*/ 0 h 2897187"/>
                    <a:gd name="connsiteX36" fmla="*/ 1085850 w 1500188"/>
                    <a:gd name="connsiteY36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773906 w 1500188"/>
                    <a:gd name="connsiteY6" fmla="*/ 2247901 h 2897187"/>
                    <a:gd name="connsiteX7" fmla="*/ 690563 w 1500188"/>
                    <a:gd name="connsiteY7" fmla="*/ 2014538 h 2897187"/>
                    <a:gd name="connsiteX8" fmla="*/ 633413 w 1500188"/>
                    <a:gd name="connsiteY8" fmla="*/ 1704975 h 2897187"/>
                    <a:gd name="connsiteX9" fmla="*/ 545307 w 1500188"/>
                    <a:gd name="connsiteY9" fmla="*/ 1638301 h 2897187"/>
                    <a:gd name="connsiteX10" fmla="*/ 726281 w 1500188"/>
                    <a:gd name="connsiteY10" fmla="*/ 1628775 h 2897187"/>
                    <a:gd name="connsiteX11" fmla="*/ 816769 w 1500188"/>
                    <a:gd name="connsiteY11" fmla="*/ 1540669 h 2897187"/>
                    <a:gd name="connsiteX12" fmla="*/ 1033463 w 1500188"/>
                    <a:gd name="connsiteY12" fmla="*/ 1543050 h 2897187"/>
                    <a:gd name="connsiteX13" fmla="*/ 1085850 w 1500188"/>
                    <a:gd name="connsiteY13" fmla="*/ 1590676 h 2897187"/>
                    <a:gd name="connsiteX14" fmla="*/ 1076325 w 1500188"/>
                    <a:gd name="connsiteY14" fmla="*/ 1628776 h 2897187"/>
                    <a:gd name="connsiteX15" fmla="*/ 1154906 w 1500188"/>
                    <a:gd name="connsiteY15" fmla="*/ 1600201 h 2897187"/>
                    <a:gd name="connsiteX16" fmla="*/ 1202532 w 1500188"/>
                    <a:gd name="connsiteY16" fmla="*/ 1678782 h 2897187"/>
                    <a:gd name="connsiteX17" fmla="*/ 1233488 w 1500188"/>
                    <a:gd name="connsiteY17" fmla="*/ 1743074 h 2897187"/>
                    <a:gd name="connsiteX18" fmla="*/ 1288257 w 1500188"/>
                    <a:gd name="connsiteY18" fmla="*/ 1724026 h 2897187"/>
                    <a:gd name="connsiteX19" fmla="*/ 1340644 w 1500188"/>
                    <a:gd name="connsiteY19" fmla="*/ 1723231 h 2897187"/>
                    <a:gd name="connsiteX20" fmla="*/ 1304925 w 1500188"/>
                    <a:gd name="connsiteY20" fmla="*/ 1531144 h 2897187"/>
                    <a:gd name="connsiteX21" fmla="*/ 1357313 w 1500188"/>
                    <a:gd name="connsiteY21" fmla="*/ 1443038 h 2897187"/>
                    <a:gd name="connsiteX22" fmla="*/ 1328738 w 1500188"/>
                    <a:gd name="connsiteY22" fmla="*/ 1388270 h 2897187"/>
                    <a:gd name="connsiteX23" fmla="*/ 1383506 w 1500188"/>
                    <a:gd name="connsiteY23" fmla="*/ 1381125 h 2897187"/>
                    <a:gd name="connsiteX24" fmla="*/ 1435894 w 1500188"/>
                    <a:gd name="connsiteY24" fmla="*/ 1302545 h 2897187"/>
                    <a:gd name="connsiteX25" fmla="*/ 1426369 w 1500188"/>
                    <a:gd name="connsiteY25" fmla="*/ 1254920 h 2897187"/>
                    <a:gd name="connsiteX26" fmla="*/ 1462882 w 1500188"/>
                    <a:gd name="connsiteY26" fmla="*/ 1246187 h 2897187"/>
                    <a:gd name="connsiteX27" fmla="*/ 1500188 w 1500188"/>
                    <a:gd name="connsiteY27" fmla="*/ 1190625 h 2897187"/>
                    <a:gd name="connsiteX28" fmla="*/ 1445419 w 1500188"/>
                    <a:gd name="connsiteY28" fmla="*/ 1007269 h 2897187"/>
                    <a:gd name="connsiteX29" fmla="*/ 1400176 w 1500188"/>
                    <a:gd name="connsiteY29" fmla="*/ 878682 h 2897187"/>
                    <a:gd name="connsiteX30" fmla="*/ 1433513 w 1500188"/>
                    <a:gd name="connsiteY30" fmla="*/ 804863 h 2897187"/>
                    <a:gd name="connsiteX31" fmla="*/ 1383507 w 1500188"/>
                    <a:gd name="connsiteY31" fmla="*/ 664370 h 2897187"/>
                    <a:gd name="connsiteX32" fmla="*/ 1323975 w 1500188"/>
                    <a:gd name="connsiteY32" fmla="*/ 604838 h 2897187"/>
                    <a:gd name="connsiteX33" fmla="*/ 1321594 w 1500188"/>
                    <a:gd name="connsiteY33" fmla="*/ 523876 h 2897187"/>
                    <a:gd name="connsiteX34" fmla="*/ 1302545 w 1500188"/>
                    <a:gd name="connsiteY34" fmla="*/ 445295 h 2897187"/>
                    <a:gd name="connsiteX35" fmla="*/ 1323181 w 1500188"/>
                    <a:gd name="connsiteY35" fmla="*/ 324644 h 2897187"/>
                    <a:gd name="connsiteX36" fmla="*/ 1171575 w 1500188"/>
                    <a:gd name="connsiteY36" fmla="*/ 0 h 2897187"/>
                    <a:gd name="connsiteX37" fmla="*/ 1085850 w 1500188"/>
                    <a:gd name="connsiteY37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769143 w 1500188"/>
                    <a:gd name="connsiteY6" fmla="*/ 2169320 h 2897187"/>
                    <a:gd name="connsiteX7" fmla="*/ 690563 w 1500188"/>
                    <a:gd name="connsiteY7" fmla="*/ 2014538 h 2897187"/>
                    <a:gd name="connsiteX8" fmla="*/ 633413 w 1500188"/>
                    <a:gd name="connsiteY8" fmla="*/ 1704975 h 2897187"/>
                    <a:gd name="connsiteX9" fmla="*/ 545307 w 1500188"/>
                    <a:gd name="connsiteY9" fmla="*/ 1638301 h 2897187"/>
                    <a:gd name="connsiteX10" fmla="*/ 726281 w 1500188"/>
                    <a:gd name="connsiteY10" fmla="*/ 1628775 h 2897187"/>
                    <a:gd name="connsiteX11" fmla="*/ 816769 w 1500188"/>
                    <a:gd name="connsiteY11" fmla="*/ 1540669 h 2897187"/>
                    <a:gd name="connsiteX12" fmla="*/ 1033463 w 1500188"/>
                    <a:gd name="connsiteY12" fmla="*/ 1543050 h 2897187"/>
                    <a:gd name="connsiteX13" fmla="*/ 1085850 w 1500188"/>
                    <a:gd name="connsiteY13" fmla="*/ 1590676 h 2897187"/>
                    <a:gd name="connsiteX14" fmla="*/ 1076325 w 1500188"/>
                    <a:gd name="connsiteY14" fmla="*/ 1628776 h 2897187"/>
                    <a:gd name="connsiteX15" fmla="*/ 1154906 w 1500188"/>
                    <a:gd name="connsiteY15" fmla="*/ 1600201 h 2897187"/>
                    <a:gd name="connsiteX16" fmla="*/ 1202532 w 1500188"/>
                    <a:gd name="connsiteY16" fmla="*/ 1678782 h 2897187"/>
                    <a:gd name="connsiteX17" fmla="*/ 1233488 w 1500188"/>
                    <a:gd name="connsiteY17" fmla="*/ 1743074 h 2897187"/>
                    <a:gd name="connsiteX18" fmla="*/ 1288257 w 1500188"/>
                    <a:gd name="connsiteY18" fmla="*/ 1724026 h 2897187"/>
                    <a:gd name="connsiteX19" fmla="*/ 1340644 w 1500188"/>
                    <a:gd name="connsiteY19" fmla="*/ 1723231 h 2897187"/>
                    <a:gd name="connsiteX20" fmla="*/ 1304925 w 1500188"/>
                    <a:gd name="connsiteY20" fmla="*/ 1531144 h 2897187"/>
                    <a:gd name="connsiteX21" fmla="*/ 1357313 w 1500188"/>
                    <a:gd name="connsiteY21" fmla="*/ 1443038 h 2897187"/>
                    <a:gd name="connsiteX22" fmla="*/ 1328738 w 1500188"/>
                    <a:gd name="connsiteY22" fmla="*/ 1388270 h 2897187"/>
                    <a:gd name="connsiteX23" fmla="*/ 1383506 w 1500188"/>
                    <a:gd name="connsiteY23" fmla="*/ 1381125 h 2897187"/>
                    <a:gd name="connsiteX24" fmla="*/ 1435894 w 1500188"/>
                    <a:gd name="connsiteY24" fmla="*/ 1302545 h 2897187"/>
                    <a:gd name="connsiteX25" fmla="*/ 1426369 w 1500188"/>
                    <a:gd name="connsiteY25" fmla="*/ 1254920 h 2897187"/>
                    <a:gd name="connsiteX26" fmla="*/ 1462882 w 1500188"/>
                    <a:gd name="connsiteY26" fmla="*/ 1246187 h 2897187"/>
                    <a:gd name="connsiteX27" fmla="*/ 1500188 w 1500188"/>
                    <a:gd name="connsiteY27" fmla="*/ 1190625 h 2897187"/>
                    <a:gd name="connsiteX28" fmla="*/ 1445419 w 1500188"/>
                    <a:gd name="connsiteY28" fmla="*/ 1007269 h 2897187"/>
                    <a:gd name="connsiteX29" fmla="*/ 1400176 w 1500188"/>
                    <a:gd name="connsiteY29" fmla="*/ 878682 h 2897187"/>
                    <a:gd name="connsiteX30" fmla="*/ 1433513 w 1500188"/>
                    <a:gd name="connsiteY30" fmla="*/ 804863 h 2897187"/>
                    <a:gd name="connsiteX31" fmla="*/ 1383507 w 1500188"/>
                    <a:gd name="connsiteY31" fmla="*/ 664370 h 2897187"/>
                    <a:gd name="connsiteX32" fmla="*/ 1323975 w 1500188"/>
                    <a:gd name="connsiteY32" fmla="*/ 604838 h 2897187"/>
                    <a:gd name="connsiteX33" fmla="*/ 1321594 w 1500188"/>
                    <a:gd name="connsiteY33" fmla="*/ 523876 h 2897187"/>
                    <a:gd name="connsiteX34" fmla="*/ 1302545 w 1500188"/>
                    <a:gd name="connsiteY34" fmla="*/ 445295 h 2897187"/>
                    <a:gd name="connsiteX35" fmla="*/ 1323181 w 1500188"/>
                    <a:gd name="connsiteY35" fmla="*/ 324644 h 2897187"/>
                    <a:gd name="connsiteX36" fmla="*/ 1171575 w 1500188"/>
                    <a:gd name="connsiteY36" fmla="*/ 0 h 2897187"/>
                    <a:gd name="connsiteX37" fmla="*/ 1085850 w 1500188"/>
                    <a:gd name="connsiteY37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790575 w 1500188"/>
                    <a:gd name="connsiteY6" fmla="*/ 2243138 h 2897187"/>
                    <a:gd name="connsiteX7" fmla="*/ 769143 w 1500188"/>
                    <a:gd name="connsiteY7" fmla="*/ 2169320 h 2897187"/>
                    <a:gd name="connsiteX8" fmla="*/ 690563 w 1500188"/>
                    <a:gd name="connsiteY8" fmla="*/ 2014538 h 2897187"/>
                    <a:gd name="connsiteX9" fmla="*/ 633413 w 1500188"/>
                    <a:gd name="connsiteY9" fmla="*/ 1704975 h 2897187"/>
                    <a:gd name="connsiteX10" fmla="*/ 545307 w 1500188"/>
                    <a:gd name="connsiteY10" fmla="*/ 1638301 h 2897187"/>
                    <a:gd name="connsiteX11" fmla="*/ 726281 w 1500188"/>
                    <a:gd name="connsiteY11" fmla="*/ 1628775 h 2897187"/>
                    <a:gd name="connsiteX12" fmla="*/ 816769 w 1500188"/>
                    <a:gd name="connsiteY12" fmla="*/ 1540669 h 2897187"/>
                    <a:gd name="connsiteX13" fmla="*/ 1033463 w 1500188"/>
                    <a:gd name="connsiteY13" fmla="*/ 1543050 h 2897187"/>
                    <a:gd name="connsiteX14" fmla="*/ 1085850 w 1500188"/>
                    <a:gd name="connsiteY14" fmla="*/ 1590676 h 2897187"/>
                    <a:gd name="connsiteX15" fmla="*/ 1076325 w 1500188"/>
                    <a:gd name="connsiteY15" fmla="*/ 1628776 h 2897187"/>
                    <a:gd name="connsiteX16" fmla="*/ 1154906 w 1500188"/>
                    <a:gd name="connsiteY16" fmla="*/ 1600201 h 2897187"/>
                    <a:gd name="connsiteX17" fmla="*/ 1202532 w 1500188"/>
                    <a:gd name="connsiteY17" fmla="*/ 1678782 h 2897187"/>
                    <a:gd name="connsiteX18" fmla="*/ 1233488 w 1500188"/>
                    <a:gd name="connsiteY18" fmla="*/ 1743074 h 2897187"/>
                    <a:gd name="connsiteX19" fmla="*/ 1288257 w 1500188"/>
                    <a:gd name="connsiteY19" fmla="*/ 1724026 h 2897187"/>
                    <a:gd name="connsiteX20" fmla="*/ 1340644 w 1500188"/>
                    <a:gd name="connsiteY20" fmla="*/ 1723231 h 2897187"/>
                    <a:gd name="connsiteX21" fmla="*/ 1304925 w 1500188"/>
                    <a:gd name="connsiteY21" fmla="*/ 1531144 h 2897187"/>
                    <a:gd name="connsiteX22" fmla="*/ 1357313 w 1500188"/>
                    <a:gd name="connsiteY22" fmla="*/ 1443038 h 2897187"/>
                    <a:gd name="connsiteX23" fmla="*/ 1328738 w 1500188"/>
                    <a:gd name="connsiteY23" fmla="*/ 1388270 h 2897187"/>
                    <a:gd name="connsiteX24" fmla="*/ 1383506 w 1500188"/>
                    <a:gd name="connsiteY24" fmla="*/ 1381125 h 2897187"/>
                    <a:gd name="connsiteX25" fmla="*/ 1435894 w 1500188"/>
                    <a:gd name="connsiteY25" fmla="*/ 1302545 h 2897187"/>
                    <a:gd name="connsiteX26" fmla="*/ 1426369 w 1500188"/>
                    <a:gd name="connsiteY26" fmla="*/ 1254920 h 2897187"/>
                    <a:gd name="connsiteX27" fmla="*/ 1462882 w 1500188"/>
                    <a:gd name="connsiteY27" fmla="*/ 1246187 h 2897187"/>
                    <a:gd name="connsiteX28" fmla="*/ 1500188 w 1500188"/>
                    <a:gd name="connsiteY28" fmla="*/ 1190625 h 2897187"/>
                    <a:gd name="connsiteX29" fmla="*/ 1445419 w 1500188"/>
                    <a:gd name="connsiteY29" fmla="*/ 1007269 h 2897187"/>
                    <a:gd name="connsiteX30" fmla="*/ 1400176 w 1500188"/>
                    <a:gd name="connsiteY30" fmla="*/ 878682 h 2897187"/>
                    <a:gd name="connsiteX31" fmla="*/ 1433513 w 1500188"/>
                    <a:gd name="connsiteY31" fmla="*/ 804863 h 2897187"/>
                    <a:gd name="connsiteX32" fmla="*/ 1383507 w 1500188"/>
                    <a:gd name="connsiteY32" fmla="*/ 664370 h 2897187"/>
                    <a:gd name="connsiteX33" fmla="*/ 1323975 w 1500188"/>
                    <a:gd name="connsiteY33" fmla="*/ 604838 h 2897187"/>
                    <a:gd name="connsiteX34" fmla="*/ 1321594 w 1500188"/>
                    <a:gd name="connsiteY34" fmla="*/ 523876 h 2897187"/>
                    <a:gd name="connsiteX35" fmla="*/ 1302545 w 1500188"/>
                    <a:gd name="connsiteY35" fmla="*/ 445295 h 2897187"/>
                    <a:gd name="connsiteX36" fmla="*/ 1323181 w 1500188"/>
                    <a:gd name="connsiteY36" fmla="*/ 324644 h 2897187"/>
                    <a:gd name="connsiteX37" fmla="*/ 1171575 w 1500188"/>
                    <a:gd name="connsiteY37" fmla="*/ 0 h 2897187"/>
                    <a:gd name="connsiteX38" fmla="*/ 1085850 w 1500188"/>
                    <a:gd name="connsiteY38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812006 w 1500188"/>
                    <a:gd name="connsiteY6" fmla="*/ 2183607 h 2897187"/>
                    <a:gd name="connsiteX7" fmla="*/ 769143 w 1500188"/>
                    <a:gd name="connsiteY7" fmla="*/ 2169320 h 2897187"/>
                    <a:gd name="connsiteX8" fmla="*/ 690563 w 1500188"/>
                    <a:gd name="connsiteY8" fmla="*/ 2014538 h 2897187"/>
                    <a:gd name="connsiteX9" fmla="*/ 633413 w 1500188"/>
                    <a:gd name="connsiteY9" fmla="*/ 1704975 h 2897187"/>
                    <a:gd name="connsiteX10" fmla="*/ 545307 w 1500188"/>
                    <a:gd name="connsiteY10" fmla="*/ 1638301 h 2897187"/>
                    <a:gd name="connsiteX11" fmla="*/ 726281 w 1500188"/>
                    <a:gd name="connsiteY11" fmla="*/ 1628775 h 2897187"/>
                    <a:gd name="connsiteX12" fmla="*/ 816769 w 1500188"/>
                    <a:gd name="connsiteY12" fmla="*/ 1540669 h 2897187"/>
                    <a:gd name="connsiteX13" fmla="*/ 1033463 w 1500188"/>
                    <a:gd name="connsiteY13" fmla="*/ 1543050 h 2897187"/>
                    <a:gd name="connsiteX14" fmla="*/ 1085850 w 1500188"/>
                    <a:gd name="connsiteY14" fmla="*/ 1590676 h 2897187"/>
                    <a:gd name="connsiteX15" fmla="*/ 1076325 w 1500188"/>
                    <a:gd name="connsiteY15" fmla="*/ 1628776 h 2897187"/>
                    <a:gd name="connsiteX16" fmla="*/ 1154906 w 1500188"/>
                    <a:gd name="connsiteY16" fmla="*/ 1600201 h 2897187"/>
                    <a:gd name="connsiteX17" fmla="*/ 1202532 w 1500188"/>
                    <a:gd name="connsiteY17" fmla="*/ 1678782 h 2897187"/>
                    <a:gd name="connsiteX18" fmla="*/ 1233488 w 1500188"/>
                    <a:gd name="connsiteY18" fmla="*/ 1743074 h 2897187"/>
                    <a:gd name="connsiteX19" fmla="*/ 1288257 w 1500188"/>
                    <a:gd name="connsiteY19" fmla="*/ 1724026 h 2897187"/>
                    <a:gd name="connsiteX20" fmla="*/ 1340644 w 1500188"/>
                    <a:gd name="connsiteY20" fmla="*/ 1723231 h 2897187"/>
                    <a:gd name="connsiteX21" fmla="*/ 1304925 w 1500188"/>
                    <a:gd name="connsiteY21" fmla="*/ 1531144 h 2897187"/>
                    <a:gd name="connsiteX22" fmla="*/ 1357313 w 1500188"/>
                    <a:gd name="connsiteY22" fmla="*/ 1443038 h 2897187"/>
                    <a:gd name="connsiteX23" fmla="*/ 1328738 w 1500188"/>
                    <a:gd name="connsiteY23" fmla="*/ 1388270 h 2897187"/>
                    <a:gd name="connsiteX24" fmla="*/ 1383506 w 1500188"/>
                    <a:gd name="connsiteY24" fmla="*/ 1381125 h 2897187"/>
                    <a:gd name="connsiteX25" fmla="*/ 1435894 w 1500188"/>
                    <a:gd name="connsiteY25" fmla="*/ 1302545 h 2897187"/>
                    <a:gd name="connsiteX26" fmla="*/ 1426369 w 1500188"/>
                    <a:gd name="connsiteY26" fmla="*/ 1254920 h 2897187"/>
                    <a:gd name="connsiteX27" fmla="*/ 1462882 w 1500188"/>
                    <a:gd name="connsiteY27" fmla="*/ 1246187 h 2897187"/>
                    <a:gd name="connsiteX28" fmla="*/ 1500188 w 1500188"/>
                    <a:gd name="connsiteY28" fmla="*/ 1190625 h 2897187"/>
                    <a:gd name="connsiteX29" fmla="*/ 1445419 w 1500188"/>
                    <a:gd name="connsiteY29" fmla="*/ 1007269 h 2897187"/>
                    <a:gd name="connsiteX30" fmla="*/ 1400176 w 1500188"/>
                    <a:gd name="connsiteY30" fmla="*/ 878682 h 2897187"/>
                    <a:gd name="connsiteX31" fmla="*/ 1433513 w 1500188"/>
                    <a:gd name="connsiteY31" fmla="*/ 804863 h 2897187"/>
                    <a:gd name="connsiteX32" fmla="*/ 1383507 w 1500188"/>
                    <a:gd name="connsiteY32" fmla="*/ 664370 h 2897187"/>
                    <a:gd name="connsiteX33" fmla="*/ 1323975 w 1500188"/>
                    <a:gd name="connsiteY33" fmla="*/ 604838 h 2897187"/>
                    <a:gd name="connsiteX34" fmla="*/ 1321594 w 1500188"/>
                    <a:gd name="connsiteY34" fmla="*/ 523876 h 2897187"/>
                    <a:gd name="connsiteX35" fmla="*/ 1302545 w 1500188"/>
                    <a:gd name="connsiteY35" fmla="*/ 445295 h 2897187"/>
                    <a:gd name="connsiteX36" fmla="*/ 1323181 w 1500188"/>
                    <a:gd name="connsiteY36" fmla="*/ 324644 h 2897187"/>
                    <a:gd name="connsiteX37" fmla="*/ 1171575 w 1500188"/>
                    <a:gd name="connsiteY37" fmla="*/ 0 h 2897187"/>
                    <a:gd name="connsiteX38" fmla="*/ 1085850 w 1500188"/>
                    <a:gd name="connsiteY38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854869 w 1500188"/>
                    <a:gd name="connsiteY6" fmla="*/ 2316957 h 2897187"/>
                    <a:gd name="connsiteX7" fmla="*/ 812006 w 1500188"/>
                    <a:gd name="connsiteY7" fmla="*/ 2183607 h 2897187"/>
                    <a:gd name="connsiteX8" fmla="*/ 769143 w 1500188"/>
                    <a:gd name="connsiteY8" fmla="*/ 2169320 h 2897187"/>
                    <a:gd name="connsiteX9" fmla="*/ 690563 w 1500188"/>
                    <a:gd name="connsiteY9" fmla="*/ 2014538 h 2897187"/>
                    <a:gd name="connsiteX10" fmla="*/ 633413 w 1500188"/>
                    <a:gd name="connsiteY10" fmla="*/ 1704975 h 2897187"/>
                    <a:gd name="connsiteX11" fmla="*/ 545307 w 1500188"/>
                    <a:gd name="connsiteY11" fmla="*/ 1638301 h 2897187"/>
                    <a:gd name="connsiteX12" fmla="*/ 726281 w 1500188"/>
                    <a:gd name="connsiteY12" fmla="*/ 1628775 h 2897187"/>
                    <a:gd name="connsiteX13" fmla="*/ 816769 w 1500188"/>
                    <a:gd name="connsiteY13" fmla="*/ 1540669 h 2897187"/>
                    <a:gd name="connsiteX14" fmla="*/ 1033463 w 1500188"/>
                    <a:gd name="connsiteY14" fmla="*/ 1543050 h 2897187"/>
                    <a:gd name="connsiteX15" fmla="*/ 1085850 w 1500188"/>
                    <a:gd name="connsiteY15" fmla="*/ 1590676 h 2897187"/>
                    <a:gd name="connsiteX16" fmla="*/ 1076325 w 1500188"/>
                    <a:gd name="connsiteY16" fmla="*/ 1628776 h 2897187"/>
                    <a:gd name="connsiteX17" fmla="*/ 1154906 w 1500188"/>
                    <a:gd name="connsiteY17" fmla="*/ 1600201 h 2897187"/>
                    <a:gd name="connsiteX18" fmla="*/ 1202532 w 1500188"/>
                    <a:gd name="connsiteY18" fmla="*/ 1678782 h 2897187"/>
                    <a:gd name="connsiteX19" fmla="*/ 1233488 w 1500188"/>
                    <a:gd name="connsiteY19" fmla="*/ 1743074 h 2897187"/>
                    <a:gd name="connsiteX20" fmla="*/ 1288257 w 1500188"/>
                    <a:gd name="connsiteY20" fmla="*/ 1724026 h 2897187"/>
                    <a:gd name="connsiteX21" fmla="*/ 1340644 w 1500188"/>
                    <a:gd name="connsiteY21" fmla="*/ 1723231 h 2897187"/>
                    <a:gd name="connsiteX22" fmla="*/ 1304925 w 1500188"/>
                    <a:gd name="connsiteY22" fmla="*/ 1531144 h 2897187"/>
                    <a:gd name="connsiteX23" fmla="*/ 1357313 w 1500188"/>
                    <a:gd name="connsiteY23" fmla="*/ 1443038 h 2897187"/>
                    <a:gd name="connsiteX24" fmla="*/ 1328738 w 1500188"/>
                    <a:gd name="connsiteY24" fmla="*/ 1388270 h 2897187"/>
                    <a:gd name="connsiteX25" fmla="*/ 1383506 w 1500188"/>
                    <a:gd name="connsiteY25" fmla="*/ 1381125 h 2897187"/>
                    <a:gd name="connsiteX26" fmla="*/ 1435894 w 1500188"/>
                    <a:gd name="connsiteY26" fmla="*/ 1302545 h 2897187"/>
                    <a:gd name="connsiteX27" fmla="*/ 1426369 w 1500188"/>
                    <a:gd name="connsiteY27" fmla="*/ 1254920 h 2897187"/>
                    <a:gd name="connsiteX28" fmla="*/ 1462882 w 1500188"/>
                    <a:gd name="connsiteY28" fmla="*/ 1246187 h 2897187"/>
                    <a:gd name="connsiteX29" fmla="*/ 1500188 w 1500188"/>
                    <a:gd name="connsiteY29" fmla="*/ 1190625 h 2897187"/>
                    <a:gd name="connsiteX30" fmla="*/ 1445419 w 1500188"/>
                    <a:gd name="connsiteY30" fmla="*/ 1007269 h 2897187"/>
                    <a:gd name="connsiteX31" fmla="*/ 1400176 w 1500188"/>
                    <a:gd name="connsiteY31" fmla="*/ 878682 h 2897187"/>
                    <a:gd name="connsiteX32" fmla="*/ 1433513 w 1500188"/>
                    <a:gd name="connsiteY32" fmla="*/ 804863 h 2897187"/>
                    <a:gd name="connsiteX33" fmla="*/ 1383507 w 1500188"/>
                    <a:gd name="connsiteY33" fmla="*/ 664370 h 2897187"/>
                    <a:gd name="connsiteX34" fmla="*/ 1323975 w 1500188"/>
                    <a:gd name="connsiteY34" fmla="*/ 604838 h 2897187"/>
                    <a:gd name="connsiteX35" fmla="*/ 1321594 w 1500188"/>
                    <a:gd name="connsiteY35" fmla="*/ 523876 h 2897187"/>
                    <a:gd name="connsiteX36" fmla="*/ 1302545 w 1500188"/>
                    <a:gd name="connsiteY36" fmla="*/ 445295 h 2897187"/>
                    <a:gd name="connsiteX37" fmla="*/ 1323181 w 1500188"/>
                    <a:gd name="connsiteY37" fmla="*/ 324644 h 2897187"/>
                    <a:gd name="connsiteX38" fmla="*/ 1171575 w 1500188"/>
                    <a:gd name="connsiteY38" fmla="*/ 0 h 2897187"/>
                    <a:gd name="connsiteX39" fmla="*/ 1085850 w 1500188"/>
                    <a:gd name="connsiteY39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809626 w 1500188"/>
                    <a:gd name="connsiteY6" fmla="*/ 2300288 h 2897187"/>
                    <a:gd name="connsiteX7" fmla="*/ 812006 w 1500188"/>
                    <a:gd name="connsiteY7" fmla="*/ 2183607 h 2897187"/>
                    <a:gd name="connsiteX8" fmla="*/ 769143 w 1500188"/>
                    <a:gd name="connsiteY8" fmla="*/ 2169320 h 2897187"/>
                    <a:gd name="connsiteX9" fmla="*/ 690563 w 1500188"/>
                    <a:gd name="connsiteY9" fmla="*/ 2014538 h 2897187"/>
                    <a:gd name="connsiteX10" fmla="*/ 633413 w 1500188"/>
                    <a:gd name="connsiteY10" fmla="*/ 1704975 h 2897187"/>
                    <a:gd name="connsiteX11" fmla="*/ 545307 w 1500188"/>
                    <a:gd name="connsiteY11" fmla="*/ 1638301 h 2897187"/>
                    <a:gd name="connsiteX12" fmla="*/ 726281 w 1500188"/>
                    <a:gd name="connsiteY12" fmla="*/ 1628775 h 2897187"/>
                    <a:gd name="connsiteX13" fmla="*/ 816769 w 1500188"/>
                    <a:gd name="connsiteY13" fmla="*/ 1540669 h 2897187"/>
                    <a:gd name="connsiteX14" fmla="*/ 1033463 w 1500188"/>
                    <a:gd name="connsiteY14" fmla="*/ 1543050 h 2897187"/>
                    <a:gd name="connsiteX15" fmla="*/ 1085850 w 1500188"/>
                    <a:gd name="connsiteY15" fmla="*/ 1590676 h 2897187"/>
                    <a:gd name="connsiteX16" fmla="*/ 1076325 w 1500188"/>
                    <a:gd name="connsiteY16" fmla="*/ 1628776 h 2897187"/>
                    <a:gd name="connsiteX17" fmla="*/ 1154906 w 1500188"/>
                    <a:gd name="connsiteY17" fmla="*/ 1600201 h 2897187"/>
                    <a:gd name="connsiteX18" fmla="*/ 1202532 w 1500188"/>
                    <a:gd name="connsiteY18" fmla="*/ 1678782 h 2897187"/>
                    <a:gd name="connsiteX19" fmla="*/ 1233488 w 1500188"/>
                    <a:gd name="connsiteY19" fmla="*/ 1743074 h 2897187"/>
                    <a:gd name="connsiteX20" fmla="*/ 1288257 w 1500188"/>
                    <a:gd name="connsiteY20" fmla="*/ 1724026 h 2897187"/>
                    <a:gd name="connsiteX21" fmla="*/ 1340644 w 1500188"/>
                    <a:gd name="connsiteY21" fmla="*/ 1723231 h 2897187"/>
                    <a:gd name="connsiteX22" fmla="*/ 1304925 w 1500188"/>
                    <a:gd name="connsiteY22" fmla="*/ 1531144 h 2897187"/>
                    <a:gd name="connsiteX23" fmla="*/ 1357313 w 1500188"/>
                    <a:gd name="connsiteY23" fmla="*/ 1443038 h 2897187"/>
                    <a:gd name="connsiteX24" fmla="*/ 1328738 w 1500188"/>
                    <a:gd name="connsiteY24" fmla="*/ 1388270 h 2897187"/>
                    <a:gd name="connsiteX25" fmla="*/ 1383506 w 1500188"/>
                    <a:gd name="connsiteY25" fmla="*/ 1381125 h 2897187"/>
                    <a:gd name="connsiteX26" fmla="*/ 1435894 w 1500188"/>
                    <a:gd name="connsiteY26" fmla="*/ 1302545 h 2897187"/>
                    <a:gd name="connsiteX27" fmla="*/ 1426369 w 1500188"/>
                    <a:gd name="connsiteY27" fmla="*/ 1254920 h 2897187"/>
                    <a:gd name="connsiteX28" fmla="*/ 1462882 w 1500188"/>
                    <a:gd name="connsiteY28" fmla="*/ 1246187 h 2897187"/>
                    <a:gd name="connsiteX29" fmla="*/ 1500188 w 1500188"/>
                    <a:gd name="connsiteY29" fmla="*/ 1190625 h 2897187"/>
                    <a:gd name="connsiteX30" fmla="*/ 1445419 w 1500188"/>
                    <a:gd name="connsiteY30" fmla="*/ 1007269 h 2897187"/>
                    <a:gd name="connsiteX31" fmla="*/ 1400176 w 1500188"/>
                    <a:gd name="connsiteY31" fmla="*/ 878682 h 2897187"/>
                    <a:gd name="connsiteX32" fmla="*/ 1433513 w 1500188"/>
                    <a:gd name="connsiteY32" fmla="*/ 804863 h 2897187"/>
                    <a:gd name="connsiteX33" fmla="*/ 1383507 w 1500188"/>
                    <a:gd name="connsiteY33" fmla="*/ 664370 h 2897187"/>
                    <a:gd name="connsiteX34" fmla="*/ 1323975 w 1500188"/>
                    <a:gd name="connsiteY34" fmla="*/ 604838 h 2897187"/>
                    <a:gd name="connsiteX35" fmla="*/ 1321594 w 1500188"/>
                    <a:gd name="connsiteY35" fmla="*/ 523876 h 2897187"/>
                    <a:gd name="connsiteX36" fmla="*/ 1302545 w 1500188"/>
                    <a:gd name="connsiteY36" fmla="*/ 445295 h 2897187"/>
                    <a:gd name="connsiteX37" fmla="*/ 1323181 w 1500188"/>
                    <a:gd name="connsiteY37" fmla="*/ 324644 h 2897187"/>
                    <a:gd name="connsiteX38" fmla="*/ 1171575 w 1500188"/>
                    <a:gd name="connsiteY38" fmla="*/ 0 h 2897187"/>
                    <a:gd name="connsiteX39" fmla="*/ 1085850 w 1500188"/>
                    <a:gd name="connsiteY39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850106 w 1500188"/>
                    <a:gd name="connsiteY6" fmla="*/ 2421732 h 2897187"/>
                    <a:gd name="connsiteX7" fmla="*/ 809626 w 1500188"/>
                    <a:gd name="connsiteY7" fmla="*/ 2300288 h 2897187"/>
                    <a:gd name="connsiteX8" fmla="*/ 812006 w 1500188"/>
                    <a:gd name="connsiteY8" fmla="*/ 2183607 h 2897187"/>
                    <a:gd name="connsiteX9" fmla="*/ 769143 w 1500188"/>
                    <a:gd name="connsiteY9" fmla="*/ 2169320 h 2897187"/>
                    <a:gd name="connsiteX10" fmla="*/ 690563 w 1500188"/>
                    <a:gd name="connsiteY10" fmla="*/ 2014538 h 2897187"/>
                    <a:gd name="connsiteX11" fmla="*/ 633413 w 1500188"/>
                    <a:gd name="connsiteY11" fmla="*/ 1704975 h 2897187"/>
                    <a:gd name="connsiteX12" fmla="*/ 545307 w 1500188"/>
                    <a:gd name="connsiteY12" fmla="*/ 1638301 h 2897187"/>
                    <a:gd name="connsiteX13" fmla="*/ 726281 w 1500188"/>
                    <a:gd name="connsiteY13" fmla="*/ 1628775 h 2897187"/>
                    <a:gd name="connsiteX14" fmla="*/ 816769 w 1500188"/>
                    <a:gd name="connsiteY14" fmla="*/ 1540669 h 2897187"/>
                    <a:gd name="connsiteX15" fmla="*/ 1033463 w 1500188"/>
                    <a:gd name="connsiteY15" fmla="*/ 1543050 h 2897187"/>
                    <a:gd name="connsiteX16" fmla="*/ 1085850 w 1500188"/>
                    <a:gd name="connsiteY16" fmla="*/ 1590676 h 2897187"/>
                    <a:gd name="connsiteX17" fmla="*/ 1076325 w 1500188"/>
                    <a:gd name="connsiteY17" fmla="*/ 1628776 h 2897187"/>
                    <a:gd name="connsiteX18" fmla="*/ 1154906 w 1500188"/>
                    <a:gd name="connsiteY18" fmla="*/ 1600201 h 2897187"/>
                    <a:gd name="connsiteX19" fmla="*/ 1202532 w 1500188"/>
                    <a:gd name="connsiteY19" fmla="*/ 1678782 h 2897187"/>
                    <a:gd name="connsiteX20" fmla="*/ 1233488 w 1500188"/>
                    <a:gd name="connsiteY20" fmla="*/ 1743074 h 2897187"/>
                    <a:gd name="connsiteX21" fmla="*/ 1288257 w 1500188"/>
                    <a:gd name="connsiteY21" fmla="*/ 1724026 h 2897187"/>
                    <a:gd name="connsiteX22" fmla="*/ 1340644 w 1500188"/>
                    <a:gd name="connsiteY22" fmla="*/ 1723231 h 2897187"/>
                    <a:gd name="connsiteX23" fmla="*/ 1304925 w 1500188"/>
                    <a:gd name="connsiteY23" fmla="*/ 1531144 h 2897187"/>
                    <a:gd name="connsiteX24" fmla="*/ 1357313 w 1500188"/>
                    <a:gd name="connsiteY24" fmla="*/ 1443038 h 2897187"/>
                    <a:gd name="connsiteX25" fmla="*/ 1328738 w 1500188"/>
                    <a:gd name="connsiteY25" fmla="*/ 1388270 h 2897187"/>
                    <a:gd name="connsiteX26" fmla="*/ 1383506 w 1500188"/>
                    <a:gd name="connsiteY26" fmla="*/ 1381125 h 2897187"/>
                    <a:gd name="connsiteX27" fmla="*/ 1435894 w 1500188"/>
                    <a:gd name="connsiteY27" fmla="*/ 1302545 h 2897187"/>
                    <a:gd name="connsiteX28" fmla="*/ 1426369 w 1500188"/>
                    <a:gd name="connsiteY28" fmla="*/ 1254920 h 2897187"/>
                    <a:gd name="connsiteX29" fmla="*/ 1462882 w 1500188"/>
                    <a:gd name="connsiteY29" fmla="*/ 1246187 h 2897187"/>
                    <a:gd name="connsiteX30" fmla="*/ 1500188 w 1500188"/>
                    <a:gd name="connsiteY30" fmla="*/ 1190625 h 2897187"/>
                    <a:gd name="connsiteX31" fmla="*/ 1445419 w 1500188"/>
                    <a:gd name="connsiteY31" fmla="*/ 1007269 h 2897187"/>
                    <a:gd name="connsiteX32" fmla="*/ 1400176 w 1500188"/>
                    <a:gd name="connsiteY32" fmla="*/ 878682 h 2897187"/>
                    <a:gd name="connsiteX33" fmla="*/ 1433513 w 1500188"/>
                    <a:gd name="connsiteY33" fmla="*/ 804863 h 2897187"/>
                    <a:gd name="connsiteX34" fmla="*/ 1383507 w 1500188"/>
                    <a:gd name="connsiteY34" fmla="*/ 664370 h 2897187"/>
                    <a:gd name="connsiteX35" fmla="*/ 1323975 w 1500188"/>
                    <a:gd name="connsiteY35" fmla="*/ 604838 h 2897187"/>
                    <a:gd name="connsiteX36" fmla="*/ 1321594 w 1500188"/>
                    <a:gd name="connsiteY36" fmla="*/ 523876 h 2897187"/>
                    <a:gd name="connsiteX37" fmla="*/ 1302545 w 1500188"/>
                    <a:gd name="connsiteY37" fmla="*/ 445295 h 2897187"/>
                    <a:gd name="connsiteX38" fmla="*/ 1323181 w 1500188"/>
                    <a:gd name="connsiteY38" fmla="*/ 324644 h 2897187"/>
                    <a:gd name="connsiteX39" fmla="*/ 1171575 w 1500188"/>
                    <a:gd name="connsiteY39" fmla="*/ 0 h 2897187"/>
                    <a:gd name="connsiteX40" fmla="*/ 1085850 w 1500188"/>
                    <a:gd name="connsiteY40" fmla="*/ 153193 h 2897187"/>
                    <a:gd name="connsiteX0" fmla="*/ 1085850 w 1500188"/>
                    <a:gd name="connsiteY0" fmla="*/ 153193 h 2897187"/>
                    <a:gd name="connsiteX1" fmla="*/ 330200 w 1500188"/>
                    <a:gd name="connsiteY1" fmla="*/ 534987 h 2897187"/>
                    <a:gd name="connsiteX2" fmla="*/ 0 w 1500188"/>
                    <a:gd name="connsiteY2" fmla="*/ 1182687 h 2897187"/>
                    <a:gd name="connsiteX3" fmla="*/ 25400 w 1500188"/>
                    <a:gd name="connsiteY3" fmla="*/ 2020887 h 2897187"/>
                    <a:gd name="connsiteX4" fmla="*/ 114300 w 1500188"/>
                    <a:gd name="connsiteY4" fmla="*/ 2617787 h 2897187"/>
                    <a:gd name="connsiteX5" fmla="*/ 1016000 w 1500188"/>
                    <a:gd name="connsiteY5" fmla="*/ 2897187 h 2897187"/>
                    <a:gd name="connsiteX6" fmla="*/ 745331 w 1500188"/>
                    <a:gd name="connsiteY6" fmla="*/ 2336007 h 2897187"/>
                    <a:gd name="connsiteX7" fmla="*/ 809626 w 1500188"/>
                    <a:gd name="connsiteY7" fmla="*/ 2300288 h 2897187"/>
                    <a:gd name="connsiteX8" fmla="*/ 812006 w 1500188"/>
                    <a:gd name="connsiteY8" fmla="*/ 2183607 h 2897187"/>
                    <a:gd name="connsiteX9" fmla="*/ 769143 w 1500188"/>
                    <a:gd name="connsiteY9" fmla="*/ 2169320 h 2897187"/>
                    <a:gd name="connsiteX10" fmla="*/ 690563 w 1500188"/>
                    <a:gd name="connsiteY10" fmla="*/ 2014538 h 2897187"/>
                    <a:gd name="connsiteX11" fmla="*/ 633413 w 1500188"/>
                    <a:gd name="connsiteY11" fmla="*/ 1704975 h 2897187"/>
                    <a:gd name="connsiteX12" fmla="*/ 545307 w 1500188"/>
                    <a:gd name="connsiteY12" fmla="*/ 1638301 h 2897187"/>
                    <a:gd name="connsiteX13" fmla="*/ 726281 w 1500188"/>
                    <a:gd name="connsiteY13" fmla="*/ 1628775 h 2897187"/>
                    <a:gd name="connsiteX14" fmla="*/ 816769 w 1500188"/>
                    <a:gd name="connsiteY14" fmla="*/ 1540669 h 2897187"/>
                    <a:gd name="connsiteX15" fmla="*/ 1033463 w 1500188"/>
                    <a:gd name="connsiteY15" fmla="*/ 1543050 h 2897187"/>
                    <a:gd name="connsiteX16" fmla="*/ 1085850 w 1500188"/>
                    <a:gd name="connsiteY16" fmla="*/ 1590676 h 2897187"/>
                    <a:gd name="connsiteX17" fmla="*/ 1076325 w 1500188"/>
                    <a:gd name="connsiteY17" fmla="*/ 1628776 h 2897187"/>
                    <a:gd name="connsiteX18" fmla="*/ 1154906 w 1500188"/>
                    <a:gd name="connsiteY18" fmla="*/ 1600201 h 2897187"/>
                    <a:gd name="connsiteX19" fmla="*/ 1202532 w 1500188"/>
                    <a:gd name="connsiteY19" fmla="*/ 1678782 h 2897187"/>
                    <a:gd name="connsiteX20" fmla="*/ 1233488 w 1500188"/>
                    <a:gd name="connsiteY20" fmla="*/ 1743074 h 2897187"/>
                    <a:gd name="connsiteX21" fmla="*/ 1288257 w 1500188"/>
                    <a:gd name="connsiteY21" fmla="*/ 1724026 h 2897187"/>
                    <a:gd name="connsiteX22" fmla="*/ 1340644 w 1500188"/>
                    <a:gd name="connsiteY22" fmla="*/ 1723231 h 2897187"/>
                    <a:gd name="connsiteX23" fmla="*/ 1304925 w 1500188"/>
                    <a:gd name="connsiteY23" fmla="*/ 1531144 h 2897187"/>
                    <a:gd name="connsiteX24" fmla="*/ 1357313 w 1500188"/>
                    <a:gd name="connsiteY24" fmla="*/ 1443038 h 2897187"/>
                    <a:gd name="connsiteX25" fmla="*/ 1328738 w 1500188"/>
                    <a:gd name="connsiteY25" fmla="*/ 1388270 h 2897187"/>
                    <a:gd name="connsiteX26" fmla="*/ 1383506 w 1500188"/>
                    <a:gd name="connsiteY26" fmla="*/ 1381125 h 2897187"/>
                    <a:gd name="connsiteX27" fmla="*/ 1435894 w 1500188"/>
                    <a:gd name="connsiteY27" fmla="*/ 1302545 h 2897187"/>
                    <a:gd name="connsiteX28" fmla="*/ 1426369 w 1500188"/>
                    <a:gd name="connsiteY28" fmla="*/ 1254920 h 2897187"/>
                    <a:gd name="connsiteX29" fmla="*/ 1462882 w 1500188"/>
                    <a:gd name="connsiteY29" fmla="*/ 1246187 h 2897187"/>
                    <a:gd name="connsiteX30" fmla="*/ 1500188 w 1500188"/>
                    <a:gd name="connsiteY30" fmla="*/ 1190625 h 2897187"/>
                    <a:gd name="connsiteX31" fmla="*/ 1445419 w 1500188"/>
                    <a:gd name="connsiteY31" fmla="*/ 1007269 h 2897187"/>
                    <a:gd name="connsiteX32" fmla="*/ 1400176 w 1500188"/>
                    <a:gd name="connsiteY32" fmla="*/ 878682 h 2897187"/>
                    <a:gd name="connsiteX33" fmla="*/ 1433513 w 1500188"/>
                    <a:gd name="connsiteY33" fmla="*/ 804863 h 2897187"/>
                    <a:gd name="connsiteX34" fmla="*/ 1383507 w 1500188"/>
                    <a:gd name="connsiteY34" fmla="*/ 664370 h 2897187"/>
                    <a:gd name="connsiteX35" fmla="*/ 1323975 w 1500188"/>
                    <a:gd name="connsiteY35" fmla="*/ 604838 h 2897187"/>
                    <a:gd name="connsiteX36" fmla="*/ 1321594 w 1500188"/>
                    <a:gd name="connsiteY36" fmla="*/ 523876 h 2897187"/>
                    <a:gd name="connsiteX37" fmla="*/ 1302545 w 1500188"/>
                    <a:gd name="connsiteY37" fmla="*/ 445295 h 2897187"/>
                    <a:gd name="connsiteX38" fmla="*/ 1323181 w 1500188"/>
                    <a:gd name="connsiteY38" fmla="*/ 324644 h 2897187"/>
                    <a:gd name="connsiteX39" fmla="*/ 1171575 w 1500188"/>
                    <a:gd name="connsiteY39" fmla="*/ 0 h 2897187"/>
                    <a:gd name="connsiteX40" fmla="*/ 1085850 w 1500188"/>
                    <a:gd name="connsiteY40" fmla="*/ 153193 h 2897187"/>
                    <a:gd name="connsiteX0" fmla="*/ 1085850 w 1500188"/>
                    <a:gd name="connsiteY0" fmla="*/ 153193 h 2617787"/>
                    <a:gd name="connsiteX1" fmla="*/ 330200 w 1500188"/>
                    <a:gd name="connsiteY1" fmla="*/ 534987 h 2617787"/>
                    <a:gd name="connsiteX2" fmla="*/ 0 w 1500188"/>
                    <a:gd name="connsiteY2" fmla="*/ 1182687 h 2617787"/>
                    <a:gd name="connsiteX3" fmla="*/ 25400 w 1500188"/>
                    <a:gd name="connsiteY3" fmla="*/ 2020887 h 2617787"/>
                    <a:gd name="connsiteX4" fmla="*/ 114300 w 1500188"/>
                    <a:gd name="connsiteY4" fmla="*/ 2617787 h 2617787"/>
                    <a:gd name="connsiteX5" fmla="*/ 577850 w 1500188"/>
                    <a:gd name="connsiteY5" fmla="*/ 2544762 h 2617787"/>
                    <a:gd name="connsiteX6" fmla="*/ 745331 w 1500188"/>
                    <a:gd name="connsiteY6" fmla="*/ 2336007 h 2617787"/>
                    <a:gd name="connsiteX7" fmla="*/ 809626 w 1500188"/>
                    <a:gd name="connsiteY7" fmla="*/ 2300288 h 2617787"/>
                    <a:gd name="connsiteX8" fmla="*/ 812006 w 1500188"/>
                    <a:gd name="connsiteY8" fmla="*/ 2183607 h 2617787"/>
                    <a:gd name="connsiteX9" fmla="*/ 769143 w 1500188"/>
                    <a:gd name="connsiteY9" fmla="*/ 2169320 h 2617787"/>
                    <a:gd name="connsiteX10" fmla="*/ 690563 w 1500188"/>
                    <a:gd name="connsiteY10" fmla="*/ 2014538 h 2617787"/>
                    <a:gd name="connsiteX11" fmla="*/ 633413 w 1500188"/>
                    <a:gd name="connsiteY11" fmla="*/ 1704975 h 2617787"/>
                    <a:gd name="connsiteX12" fmla="*/ 545307 w 1500188"/>
                    <a:gd name="connsiteY12" fmla="*/ 1638301 h 2617787"/>
                    <a:gd name="connsiteX13" fmla="*/ 726281 w 1500188"/>
                    <a:gd name="connsiteY13" fmla="*/ 1628775 h 2617787"/>
                    <a:gd name="connsiteX14" fmla="*/ 816769 w 1500188"/>
                    <a:gd name="connsiteY14" fmla="*/ 1540669 h 2617787"/>
                    <a:gd name="connsiteX15" fmla="*/ 1033463 w 1500188"/>
                    <a:gd name="connsiteY15" fmla="*/ 1543050 h 2617787"/>
                    <a:gd name="connsiteX16" fmla="*/ 1085850 w 1500188"/>
                    <a:gd name="connsiteY16" fmla="*/ 1590676 h 2617787"/>
                    <a:gd name="connsiteX17" fmla="*/ 1076325 w 1500188"/>
                    <a:gd name="connsiteY17" fmla="*/ 1628776 h 2617787"/>
                    <a:gd name="connsiteX18" fmla="*/ 1154906 w 1500188"/>
                    <a:gd name="connsiteY18" fmla="*/ 1600201 h 2617787"/>
                    <a:gd name="connsiteX19" fmla="*/ 1202532 w 1500188"/>
                    <a:gd name="connsiteY19" fmla="*/ 1678782 h 2617787"/>
                    <a:gd name="connsiteX20" fmla="*/ 1233488 w 1500188"/>
                    <a:gd name="connsiteY20" fmla="*/ 1743074 h 2617787"/>
                    <a:gd name="connsiteX21" fmla="*/ 1288257 w 1500188"/>
                    <a:gd name="connsiteY21" fmla="*/ 1724026 h 2617787"/>
                    <a:gd name="connsiteX22" fmla="*/ 1340644 w 1500188"/>
                    <a:gd name="connsiteY22" fmla="*/ 1723231 h 2617787"/>
                    <a:gd name="connsiteX23" fmla="*/ 1304925 w 1500188"/>
                    <a:gd name="connsiteY23" fmla="*/ 1531144 h 2617787"/>
                    <a:gd name="connsiteX24" fmla="*/ 1357313 w 1500188"/>
                    <a:gd name="connsiteY24" fmla="*/ 1443038 h 2617787"/>
                    <a:gd name="connsiteX25" fmla="*/ 1328738 w 1500188"/>
                    <a:gd name="connsiteY25" fmla="*/ 1388270 h 2617787"/>
                    <a:gd name="connsiteX26" fmla="*/ 1383506 w 1500188"/>
                    <a:gd name="connsiteY26" fmla="*/ 1381125 h 2617787"/>
                    <a:gd name="connsiteX27" fmla="*/ 1435894 w 1500188"/>
                    <a:gd name="connsiteY27" fmla="*/ 1302545 h 2617787"/>
                    <a:gd name="connsiteX28" fmla="*/ 1426369 w 1500188"/>
                    <a:gd name="connsiteY28" fmla="*/ 1254920 h 2617787"/>
                    <a:gd name="connsiteX29" fmla="*/ 1462882 w 1500188"/>
                    <a:gd name="connsiteY29" fmla="*/ 1246187 h 2617787"/>
                    <a:gd name="connsiteX30" fmla="*/ 1500188 w 1500188"/>
                    <a:gd name="connsiteY30" fmla="*/ 1190625 h 2617787"/>
                    <a:gd name="connsiteX31" fmla="*/ 1445419 w 1500188"/>
                    <a:gd name="connsiteY31" fmla="*/ 1007269 h 2617787"/>
                    <a:gd name="connsiteX32" fmla="*/ 1400176 w 1500188"/>
                    <a:gd name="connsiteY32" fmla="*/ 878682 h 2617787"/>
                    <a:gd name="connsiteX33" fmla="*/ 1433513 w 1500188"/>
                    <a:gd name="connsiteY33" fmla="*/ 804863 h 2617787"/>
                    <a:gd name="connsiteX34" fmla="*/ 1383507 w 1500188"/>
                    <a:gd name="connsiteY34" fmla="*/ 664370 h 2617787"/>
                    <a:gd name="connsiteX35" fmla="*/ 1323975 w 1500188"/>
                    <a:gd name="connsiteY35" fmla="*/ 604838 h 2617787"/>
                    <a:gd name="connsiteX36" fmla="*/ 1321594 w 1500188"/>
                    <a:gd name="connsiteY36" fmla="*/ 523876 h 2617787"/>
                    <a:gd name="connsiteX37" fmla="*/ 1302545 w 1500188"/>
                    <a:gd name="connsiteY37" fmla="*/ 445295 h 2617787"/>
                    <a:gd name="connsiteX38" fmla="*/ 1323181 w 1500188"/>
                    <a:gd name="connsiteY38" fmla="*/ 324644 h 2617787"/>
                    <a:gd name="connsiteX39" fmla="*/ 1171575 w 1500188"/>
                    <a:gd name="connsiteY39" fmla="*/ 0 h 2617787"/>
                    <a:gd name="connsiteX40" fmla="*/ 1085850 w 1500188"/>
                    <a:gd name="connsiteY40" fmla="*/ 153193 h 2617787"/>
                    <a:gd name="connsiteX0" fmla="*/ 1085850 w 1500188"/>
                    <a:gd name="connsiteY0" fmla="*/ 153193 h 2617787"/>
                    <a:gd name="connsiteX1" fmla="*/ 330200 w 1500188"/>
                    <a:gd name="connsiteY1" fmla="*/ 534987 h 2617787"/>
                    <a:gd name="connsiteX2" fmla="*/ 0 w 1500188"/>
                    <a:gd name="connsiteY2" fmla="*/ 1182687 h 2617787"/>
                    <a:gd name="connsiteX3" fmla="*/ 25400 w 1500188"/>
                    <a:gd name="connsiteY3" fmla="*/ 2020887 h 2617787"/>
                    <a:gd name="connsiteX4" fmla="*/ 114300 w 1500188"/>
                    <a:gd name="connsiteY4" fmla="*/ 2617787 h 2617787"/>
                    <a:gd name="connsiteX5" fmla="*/ 577850 w 1500188"/>
                    <a:gd name="connsiteY5" fmla="*/ 2544762 h 2617787"/>
                    <a:gd name="connsiteX6" fmla="*/ 688181 w 1500188"/>
                    <a:gd name="connsiteY6" fmla="*/ 2402682 h 2617787"/>
                    <a:gd name="connsiteX7" fmla="*/ 745331 w 1500188"/>
                    <a:gd name="connsiteY7" fmla="*/ 2336007 h 2617787"/>
                    <a:gd name="connsiteX8" fmla="*/ 809626 w 1500188"/>
                    <a:gd name="connsiteY8" fmla="*/ 2300288 h 2617787"/>
                    <a:gd name="connsiteX9" fmla="*/ 812006 w 1500188"/>
                    <a:gd name="connsiteY9" fmla="*/ 2183607 h 2617787"/>
                    <a:gd name="connsiteX10" fmla="*/ 769143 w 1500188"/>
                    <a:gd name="connsiteY10" fmla="*/ 2169320 h 2617787"/>
                    <a:gd name="connsiteX11" fmla="*/ 690563 w 1500188"/>
                    <a:gd name="connsiteY11" fmla="*/ 2014538 h 2617787"/>
                    <a:gd name="connsiteX12" fmla="*/ 633413 w 1500188"/>
                    <a:gd name="connsiteY12" fmla="*/ 1704975 h 2617787"/>
                    <a:gd name="connsiteX13" fmla="*/ 545307 w 1500188"/>
                    <a:gd name="connsiteY13" fmla="*/ 1638301 h 2617787"/>
                    <a:gd name="connsiteX14" fmla="*/ 726281 w 1500188"/>
                    <a:gd name="connsiteY14" fmla="*/ 1628775 h 2617787"/>
                    <a:gd name="connsiteX15" fmla="*/ 816769 w 1500188"/>
                    <a:gd name="connsiteY15" fmla="*/ 1540669 h 2617787"/>
                    <a:gd name="connsiteX16" fmla="*/ 1033463 w 1500188"/>
                    <a:gd name="connsiteY16" fmla="*/ 1543050 h 2617787"/>
                    <a:gd name="connsiteX17" fmla="*/ 1085850 w 1500188"/>
                    <a:gd name="connsiteY17" fmla="*/ 1590676 h 2617787"/>
                    <a:gd name="connsiteX18" fmla="*/ 1076325 w 1500188"/>
                    <a:gd name="connsiteY18" fmla="*/ 1628776 h 2617787"/>
                    <a:gd name="connsiteX19" fmla="*/ 1154906 w 1500188"/>
                    <a:gd name="connsiteY19" fmla="*/ 1600201 h 2617787"/>
                    <a:gd name="connsiteX20" fmla="*/ 1202532 w 1500188"/>
                    <a:gd name="connsiteY20" fmla="*/ 1678782 h 2617787"/>
                    <a:gd name="connsiteX21" fmla="*/ 1233488 w 1500188"/>
                    <a:gd name="connsiteY21" fmla="*/ 1743074 h 2617787"/>
                    <a:gd name="connsiteX22" fmla="*/ 1288257 w 1500188"/>
                    <a:gd name="connsiteY22" fmla="*/ 1724026 h 2617787"/>
                    <a:gd name="connsiteX23" fmla="*/ 1340644 w 1500188"/>
                    <a:gd name="connsiteY23" fmla="*/ 1723231 h 2617787"/>
                    <a:gd name="connsiteX24" fmla="*/ 1304925 w 1500188"/>
                    <a:gd name="connsiteY24" fmla="*/ 1531144 h 2617787"/>
                    <a:gd name="connsiteX25" fmla="*/ 1357313 w 1500188"/>
                    <a:gd name="connsiteY25" fmla="*/ 1443038 h 2617787"/>
                    <a:gd name="connsiteX26" fmla="*/ 1328738 w 1500188"/>
                    <a:gd name="connsiteY26" fmla="*/ 1388270 h 2617787"/>
                    <a:gd name="connsiteX27" fmla="*/ 1383506 w 1500188"/>
                    <a:gd name="connsiteY27" fmla="*/ 1381125 h 2617787"/>
                    <a:gd name="connsiteX28" fmla="*/ 1435894 w 1500188"/>
                    <a:gd name="connsiteY28" fmla="*/ 1302545 h 2617787"/>
                    <a:gd name="connsiteX29" fmla="*/ 1426369 w 1500188"/>
                    <a:gd name="connsiteY29" fmla="*/ 1254920 h 2617787"/>
                    <a:gd name="connsiteX30" fmla="*/ 1462882 w 1500188"/>
                    <a:gd name="connsiteY30" fmla="*/ 1246187 h 2617787"/>
                    <a:gd name="connsiteX31" fmla="*/ 1500188 w 1500188"/>
                    <a:gd name="connsiteY31" fmla="*/ 1190625 h 2617787"/>
                    <a:gd name="connsiteX32" fmla="*/ 1445419 w 1500188"/>
                    <a:gd name="connsiteY32" fmla="*/ 1007269 h 2617787"/>
                    <a:gd name="connsiteX33" fmla="*/ 1400176 w 1500188"/>
                    <a:gd name="connsiteY33" fmla="*/ 878682 h 2617787"/>
                    <a:gd name="connsiteX34" fmla="*/ 1433513 w 1500188"/>
                    <a:gd name="connsiteY34" fmla="*/ 804863 h 2617787"/>
                    <a:gd name="connsiteX35" fmla="*/ 1383507 w 1500188"/>
                    <a:gd name="connsiteY35" fmla="*/ 664370 h 2617787"/>
                    <a:gd name="connsiteX36" fmla="*/ 1323975 w 1500188"/>
                    <a:gd name="connsiteY36" fmla="*/ 604838 h 2617787"/>
                    <a:gd name="connsiteX37" fmla="*/ 1321594 w 1500188"/>
                    <a:gd name="connsiteY37" fmla="*/ 523876 h 2617787"/>
                    <a:gd name="connsiteX38" fmla="*/ 1302545 w 1500188"/>
                    <a:gd name="connsiteY38" fmla="*/ 445295 h 2617787"/>
                    <a:gd name="connsiteX39" fmla="*/ 1323181 w 1500188"/>
                    <a:gd name="connsiteY39" fmla="*/ 324644 h 2617787"/>
                    <a:gd name="connsiteX40" fmla="*/ 1171575 w 1500188"/>
                    <a:gd name="connsiteY40" fmla="*/ 0 h 2617787"/>
                    <a:gd name="connsiteX41" fmla="*/ 1085850 w 1500188"/>
                    <a:gd name="connsiteY41" fmla="*/ 153193 h 2617787"/>
                    <a:gd name="connsiteX0" fmla="*/ 1085850 w 1500188"/>
                    <a:gd name="connsiteY0" fmla="*/ 153193 h 2617787"/>
                    <a:gd name="connsiteX1" fmla="*/ 330200 w 1500188"/>
                    <a:gd name="connsiteY1" fmla="*/ 534987 h 2617787"/>
                    <a:gd name="connsiteX2" fmla="*/ 0 w 1500188"/>
                    <a:gd name="connsiteY2" fmla="*/ 1182687 h 2617787"/>
                    <a:gd name="connsiteX3" fmla="*/ 25400 w 1500188"/>
                    <a:gd name="connsiteY3" fmla="*/ 2020887 h 2617787"/>
                    <a:gd name="connsiteX4" fmla="*/ 114300 w 1500188"/>
                    <a:gd name="connsiteY4" fmla="*/ 2617787 h 2617787"/>
                    <a:gd name="connsiteX5" fmla="*/ 577850 w 1500188"/>
                    <a:gd name="connsiteY5" fmla="*/ 2544762 h 2617787"/>
                    <a:gd name="connsiteX6" fmla="*/ 740568 w 1500188"/>
                    <a:gd name="connsiteY6" fmla="*/ 2409825 h 2617787"/>
                    <a:gd name="connsiteX7" fmla="*/ 745331 w 1500188"/>
                    <a:gd name="connsiteY7" fmla="*/ 2336007 h 2617787"/>
                    <a:gd name="connsiteX8" fmla="*/ 809626 w 1500188"/>
                    <a:gd name="connsiteY8" fmla="*/ 2300288 h 2617787"/>
                    <a:gd name="connsiteX9" fmla="*/ 812006 w 1500188"/>
                    <a:gd name="connsiteY9" fmla="*/ 2183607 h 2617787"/>
                    <a:gd name="connsiteX10" fmla="*/ 769143 w 1500188"/>
                    <a:gd name="connsiteY10" fmla="*/ 2169320 h 2617787"/>
                    <a:gd name="connsiteX11" fmla="*/ 690563 w 1500188"/>
                    <a:gd name="connsiteY11" fmla="*/ 2014538 h 2617787"/>
                    <a:gd name="connsiteX12" fmla="*/ 633413 w 1500188"/>
                    <a:gd name="connsiteY12" fmla="*/ 1704975 h 2617787"/>
                    <a:gd name="connsiteX13" fmla="*/ 545307 w 1500188"/>
                    <a:gd name="connsiteY13" fmla="*/ 1638301 h 2617787"/>
                    <a:gd name="connsiteX14" fmla="*/ 726281 w 1500188"/>
                    <a:gd name="connsiteY14" fmla="*/ 1628775 h 2617787"/>
                    <a:gd name="connsiteX15" fmla="*/ 816769 w 1500188"/>
                    <a:gd name="connsiteY15" fmla="*/ 1540669 h 2617787"/>
                    <a:gd name="connsiteX16" fmla="*/ 1033463 w 1500188"/>
                    <a:gd name="connsiteY16" fmla="*/ 1543050 h 2617787"/>
                    <a:gd name="connsiteX17" fmla="*/ 1085850 w 1500188"/>
                    <a:gd name="connsiteY17" fmla="*/ 1590676 h 2617787"/>
                    <a:gd name="connsiteX18" fmla="*/ 1076325 w 1500188"/>
                    <a:gd name="connsiteY18" fmla="*/ 1628776 h 2617787"/>
                    <a:gd name="connsiteX19" fmla="*/ 1154906 w 1500188"/>
                    <a:gd name="connsiteY19" fmla="*/ 1600201 h 2617787"/>
                    <a:gd name="connsiteX20" fmla="*/ 1202532 w 1500188"/>
                    <a:gd name="connsiteY20" fmla="*/ 1678782 h 2617787"/>
                    <a:gd name="connsiteX21" fmla="*/ 1233488 w 1500188"/>
                    <a:gd name="connsiteY21" fmla="*/ 1743074 h 2617787"/>
                    <a:gd name="connsiteX22" fmla="*/ 1288257 w 1500188"/>
                    <a:gd name="connsiteY22" fmla="*/ 1724026 h 2617787"/>
                    <a:gd name="connsiteX23" fmla="*/ 1340644 w 1500188"/>
                    <a:gd name="connsiteY23" fmla="*/ 1723231 h 2617787"/>
                    <a:gd name="connsiteX24" fmla="*/ 1304925 w 1500188"/>
                    <a:gd name="connsiteY24" fmla="*/ 1531144 h 2617787"/>
                    <a:gd name="connsiteX25" fmla="*/ 1357313 w 1500188"/>
                    <a:gd name="connsiteY25" fmla="*/ 1443038 h 2617787"/>
                    <a:gd name="connsiteX26" fmla="*/ 1328738 w 1500188"/>
                    <a:gd name="connsiteY26" fmla="*/ 1388270 h 2617787"/>
                    <a:gd name="connsiteX27" fmla="*/ 1383506 w 1500188"/>
                    <a:gd name="connsiteY27" fmla="*/ 1381125 h 2617787"/>
                    <a:gd name="connsiteX28" fmla="*/ 1435894 w 1500188"/>
                    <a:gd name="connsiteY28" fmla="*/ 1302545 h 2617787"/>
                    <a:gd name="connsiteX29" fmla="*/ 1426369 w 1500188"/>
                    <a:gd name="connsiteY29" fmla="*/ 1254920 h 2617787"/>
                    <a:gd name="connsiteX30" fmla="*/ 1462882 w 1500188"/>
                    <a:gd name="connsiteY30" fmla="*/ 1246187 h 2617787"/>
                    <a:gd name="connsiteX31" fmla="*/ 1500188 w 1500188"/>
                    <a:gd name="connsiteY31" fmla="*/ 1190625 h 2617787"/>
                    <a:gd name="connsiteX32" fmla="*/ 1445419 w 1500188"/>
                    <a:gd name="connsiteY32" fmla="*/ 1007269 h 2617787"/>
                    <a:gd name="connsiteX33" fmla="*/ 1400176 w 1500188"/>
                    <a:gd name="connsiteY33" fmla="*/ 878682 h 2617787"/>
                    <a:gd name="connsiteX34" fmla="*/ 1433513 w 1500188"/>
                    <a:gd name="connsiteY34" fmla="*/ 804863 h 2617787"/>
                    <a:gd name="connsiteX35" fmla="*/ 1383507 w 1500188"/>
                    <a:gd name="connsiteY35" fmla="*/ 664370 h 2617787"/>
                    <a:gd name="connsiteX36" fmla="*/ 1323975 w 1500188"/>
                    <a:gd name="connsiteY36" fmla="*/ 604838 h 2617787"/>
                    <a:gd name="connsiteX37" fmla="*/ 1321594 w 1500188"/>
                    <a:gd name="connsiteY37" fmla="*/ 523876 h 2617787"/>
                    <a:gd name="connsiteX38" fmla="*/ 1302545 w 1500188"/>
                    <a:gd name="connsiteY38" fmla="*/ 445295 h 2617787"/>
                    <a:gd name="connsiteX39" fmla="*/ 1323181 w 1500188"/>
                    <a:gd name="connsiteY39" fmla="*/ 324644 h 2617787"/>
                    <a:gd name="connsiteX40" fmla="*/ 1171575 w 1500188"/>
                    <a:gd name="connsiteY40" fmla="*/ 0 h 2617787"/>
                    <a:gd name="connsiteX41" fmla="*/ 1085850 w 1500188"/>
                    <a:gd name="connsiteY41" fmla="*/ 153193 h 2617787"/>
                    <a:gd name="connsiteX0" fmla="*/ 1085850 w 1500188"/>
                    <a:gd name="connsiteY0" fmla="*/ 153193 h 2544762"/>
                    <a:gd name="connsiteX1" fmla="*/ 330200 w 1500188"/>
                    <a:gd name="connsiteY1" fmla="*/ 534987 h 2544762"/>
                    <a:gd name="connsiteX2" fmla="*/ 0 w 1500188"/>
                    <a:gd name="connsiteY2" fmla="*/ 1182687 h 2544762"/>
                    <a:gd name="connsiteX3" fmla="*/ 25400 w 1500188"/>
                    <a:gd name="connsiteY3" fmla="*/ 2020887 h 2544762"/>
                    <a:gd name="connsiteX4" fmla="*/ 397669 w 1500188"/>
                    <a:gd name="connsiteY4" fmla="*/ 2422524 h 2544762"/>
                    <a:gd name="connsiteX5" fmla="*/ 577850 w 1500188"/>
                    <a:gd name="connsiteY5" fmla="*/ 2544762 h 2544762"/>
                    <a:gd name="connsiteX6" fmla="*/ 740568 w 1500188"/>
                    <a:gd name="connsiteY6" fmla="*/ 2409825 h 2544762"/>
                    <a:gd name="connsiteX7" fmla="*/ 745331 w 1500188"/>
                    <a:gd name="connsiteY7" fmla="*/ 2336007 h 2544762"/>
                    <a:gd name="connsiteX8" fmla="*/ 809626 w 1500188"/>
                    <a:gd name="connsiteY8" fmla="*/ 2300288 h 2544762"/>
                    <a:gd name="connsiteX9" fmla="*/ 812006 w 1500188"/>
                    <a:gd name="connsiteY9" fmla="*/ 2183607 h 2544762"/>
                    <a:gd name="connsiteX10" fmla="*/ 769143 w 1500188"/>
                    <a:gd name="connsiteY10" fmla="*/ 2169320 h 2544762"/>
                    <a:gd name="connsiteX11" fmla="*/ 690563 w 1500188"/>
                    <a:gd name="connsiteY11" fmla="*/ 2014538 h 2544762"/>
                    <a:gd name="connsiteX12" fmla="*/ 633413 w 1500188"/>
                    <a:gd name="connsiteY12" fmla="*/ 1704975 h 2544762"/>
                    <a:gd name="connsiteX13" fmla="*/ 545307 w 1500188"/>
                    <a:gd name="connsiteY13" fmla="*/ 1638301 h 2544762"/>
                    <a:gd name="connsiteX14" fmla="*/ 726281 w 1500188"/>
                    <a:gd name="connsiteY14" fmla="*/ 1628775 h 2544762"/>
                    <a:gd name="connsiteX15" fmla="*/ 816769 w 1500188"/>
                    <a:gd name="connsiteY15" fmla="*/ 1540669 h 2544762"/>
                    <a:gd name="connsiteX16" fmla="*/ 1033463 w 1500188"/>
                    <a:gd name="connsiteY16" fmla="*/ 1543050 h 2544762"/>
                    <a:gd name="connsiteX17" fmla="*/ 1085850 w 1500188"/>
                    <a:gd name="connsiteY17" fmla="*/ 1590676 h 2544762"/>
                    <a:gd name="connsiteX18" fmla="*/ 1076325 w 1500188"/>
                    <a:gd name="connsiteY18" fmla="*/ 1628776 h 2544762"/>
                    <a:gd name="connsiteX19" fmla="*/ 1154906 w 1500188"/>
                    <a:gd name="connsiteY19" fmla="*/ 1600201 h 2544762"/>
                    <a:gd name="connsiteX20" fmla="*/ 1202532 w 1500188"/>
                    <a:gd name="connsiteY20" fmla="*/ 1678782 h 2544762"/>
                    <a:gd name="connsiteX21" fmla="*/ 1233488 w 1500188"/>
                    <a:gd name="connsiteY21" fmla="*/ 1743074 h 2544762"/>
                    <a:gd name="connsiteX22" fmla="*/ 1288257 w 1500188"/>
                    <a:gd name="connsiteY22" fmla="*/ 1724026 h 2544762"/>
                    <a:gd name="connsiteX23" fmla="*/ 1340644 w 1500188"/>
                    <a:gd name="connsiteY23" fmla="*/ 1723231 h 2544762"/>
                    <a:gd name="connsiteX24" fmla="*/ 1304925 w 1500188"/>
                    <a:gd name="connsiteY24" fmla="*/ 1531144 h 2544762"/>
                    <a:gd name="connsiteX25" fmla="*/ 1357313 w 1500188"/>
                    <a:gd name="connsiteY25" fmla="*/ 1443038 h 2544762"/>
                    <a:gd name="connsiteX26" fmla="*/ 1328738 w 1500188"/>
                    <a:gd name="connsiteY26" fmla="*/ 1388270 h 2544762"/>
                    <a:gd name="connsiteX27" fmla="*/ 1383506 w 1500188"/>
                    <a:gd name="connsiteY27" fmla="*/ 1381125 h 2544762"/>
                    <a:gd name="connsiteX28" fmla="*/ 1435894 w 1500188"/>
                    <a:gd name="connsiteY28" fmla="*/ 1302545 h 2544762"/>
                    <a:gd name="connsiteX29" fmla="*/ 1426369 w 1500188"/>
                    <a:gd name="connsiteY29" fmla="*/ 1254920 h 2544762"/>
                    <a:gd name="connsiteX30" fmla="*/ 1462882 w 1500188"/>
                    <a:gd name="connsiteY30" fmla="*/ 1246187 h 2544762"/>
                    <a:gd name="connsiteX31" fmla="*/ 1500188 w 1500188"/>
                    <a:gd name="connsiteY31" fmla="*/ 1190625 h 2544762"/>
                    <a:gd name="connsiteX32" fmla="*/ 1445419 w 1500188"/>
                    <a:gd name="connsiteY32" fmla="*/ 1007269 h 2544762"/>
                    <a:gd name="connsiteX33" fmla="*/ 1400176 w 1500188"/>
                    <a:gd name="connsiteY33" fmla="*/ 878682 h 2544762"/>
                    <a:gd name="connsiteX34" fmla="*/ 1433513 w 1500188"/>
                    <a:gd name="connsiteY34" fmla="*/ 804863 h 2544762"/>
                    <a:gd name="connsiteX35" fmla="*/ 1383507 w 1500188"/>
                    <a:gd name="connsiteY35" fmla="*/ 664370 h 2544762"/>
                    <a:gd name="connsiteX36" fmla="*/ 1323975 w 1500188"/>
                    <a:gd name="connsiteY36" fmla="*/ 604838 h 2544762"/>
                    <a:gd name="connsiteX37" fmla="*/ 1321594 w 1500188"/>
                    <a:gd name="connsiteY37" fmla="*/ 523876 h 2544762"/>
                    <a:gd name="connsiteX38" fmla="*/ 1302545 w 1500188"/>
                    <a:gd name="connsiteY38" fmla="*/ 445295 h 2544762"/>
                    <a:gd name="connsiteX39" fmla="*/ 1323181 w 1500188"/>
                    <a:gd name="connsiteY39" fmla="*/ 324644 h 2544762"/>
                    <a:gd name="connsiteX40" fmla="*/ 1171575 w 1500188"/>
                    <a:gd name="connsiteY40" fmla="*/ 0 h 2544762"/>
                    <a:gd name="connsiteX41" fmla="*/ 1085850 w 1500188"/>
                    <a:gd name="connsiteY41" fmla="*/ 153193 h 2544762"/>
                    <a:gd name="connsiteX0" fmla="*/ 1085850 w 1500188"/>
                    <a:gd name="connsiteY0" fmla="*/ 153193 h 2544762"/>
                    <a:gd name="connsiteX1" fmla="*/ 330200 w 1500188"/>
                    <a:gd name="connsiteY1" fmla="*/ 534987 h 2544762"/>
                    <a:gd name="connsiteX2" fmla="*/ 0 w 1500188"/>
                    <a:gd name="connsiteY2" fmla="*/ 1182687 h 2544762"/>
                    <a:gd name="connsiteX3" fmla="*/ 282575 w 1500188"/>
                    <a:gd name="connsiteY3" fmla="*/ 2228056 h 2544762"/>
                    <a:gd name="connsiteX4" fmla="*/ 397669 w 1500188"/>
                    <a:gd name="connsiteY4" fmla="*/ 2422524 h 2544762"/>
                    <a:gd name="connsiteX5" fmla="*/ 577850 w 1500188"/>
                    <a:gd name="connsiteY5" fmla="*/ 2544762 h 2544762"/>
                    <a:gd name="connsiteX6" fmla="*/ 740568 w 1500188"/>
                    <a:gd name="connsiteY6" fmla="*/ 2409825 h 2544762"/>
                    <a:gd name="connsiteX7" fmla="*/ 745331 w 1500188"/>
                    <a:gd name="connsiteY7" fmla="*/ 2336007 h 2544762"/>
                    <a:gd name="connsiteX8" fmla="*/ 809626 w 1500188"/>
                    <a:gd name="connsiteY8" fmla="*/ 2300288 h 2544762"/>
                    <a:gd name="connsiteX9" fmla="*/ 812006 w 1500188"/>
                    <a:gd name="connsiteY9" fmla="*/ 2183607 h 2544762"/>
                    <a:gd name="connsiteX10" fmla="*/ 769143 w 1500188"/>
                    <a:gd name="connsiteY10" fmla="*/ 2169320 h 2544762"/>
                    <a:gd name="connsiteX11" fmla="*/ 690563 w 1500188"/>
                    <a:gd name="connsiteY11" fmla="*/ 2014538 h 2544762"/>
                    <a:gd name="connsiteX12" fmla="*/ 633413 w 1500188"/>
                    <a:gd name="connsiteY12" fmla="*/ 1704975 h 2544762"/>
                    <a:gd name="connsiteX13" fmla="*/ 545307 w 1500188"/>
                    <a:gd name="connsiteY13" fmla="*/ 1638301 h 2544762"/>
                    <a:gd name="connsiteX14" fmla="*/ 726281 w 1500188"/>
                    <a:gd name="connsiteY14" fmla="*/ 1628775 h 2544762"/>
                    <a:gd name="connsiteX15" fmla="*/ 816769 w 1500188"/>
                    <a:gd name="connsiteY15" fmla="*/ 1540669 h 2544762"/>
                    <a:gd name="connsiteX16" fmla="*/ 1033463 w 1500188"/>
                    <a:gd name="connsiteY16" fmla="*/ 1543050 h 2544762"/>
                    <a:gd name="connsiteX17" fmla="*/ 1085850 w 1500188"/>
                    <a:gd name="connsiteY17" fmla="*/ 1590676 h 2544762"/>
                    <a:gd name="connsiteX18" fmla="*/ 1076325 w 1500188"/>
                    <a:gd name="connsiteY18" fmla="*/ 1628776 h 2544762"/>
                    <a:gd name="connsiteX19" fmla="*/ 1154906 w 1500188"/>
                    <a:gd name="connsiteY19" fmla="*/ 1600201 h 2544762"/>
                    <a:gd name="connsiteX20" fmla="*/ 1202532 w 1500188"/>
                    <a:gd name="connsiteY20" fmla="*/ 1678782 h 2544762"/>
                    <a:gd name="connsiteX21" fmla="*/ 1233488 w 1500188"/>
                    <a:gd name="connsiteY21" fmla="*/ 1743074 h 2544762"/>
                    <a:gd name="connsiteX22" fmla="*/ 1288257 w 1500188"/>
                    <a:gd name="connsiteY22" fmla="*/ 1724026 h 2544762"/>
                    <a:gd name="connsiteX23" fmla="*/ 1340644 w 1500188"/>
                    <a:gd name="connsiteY23" fmla="*/ 1723231 h 2544762"/>
                    <a:gd name="connsiteX24" fmla="*/ 1304925 w 1500188"/>
                    <a:gd name="connsiteY24" fmla="*/ 1531144 h 2544762"/>
                    <a:gd name="connsiteX25" fmla="*/ 1357313 w 1500188"/>
                    <a:gd name="connsiteY25" fmla="*/ 1443038 h 2544762"/>
                    <a:gd name="connsiteX26" fmla="*/ 1328738 w 1500188"/>
                    <a:gd name="connsiteY26" fmla="*/ 1388270 h 2544762"/>
                    <a:gd name="connsiteX27" fmla="*/ 1383506 w 1500188"/>
                    <a:gd name="connsiteY27" fmla="*/ 1381125 h 2544762"/>
                    <a:gd name="connsiteX28" fmla="*/ 1435894 w 1500188"/>
                    <a:gd name="connsiteY28" fmla="*/ 1302545 h 2544762"/>
                    <a:gd name="connsiteX29" fmla="*/ 1426369 w 1500188"/>
                    <a:gd name="connsiteY29" fmla="*/ 1254920 h 2544762"/>
                    <a:gd name="connsiteX30" fmla="*/ 1462882 w 1500188"/>
                    <a:gd name="connsiteY30" fmla="*/ 1246187 h 2544762"/>
                    <a:gd name="connsiteX31" fmla="*/ 1500188 w 1500188"/>
                    <a:gd name="connsiteY31" fmla="*/ 1190625 h 2544762"/>
                    <a:gd name="connsiteX32" fmla="*/ 1445419 w 1500188"/>
                    <a:gd name="connsiteY32" fmla="*/ 1007269 h 2544762"/>
                    <a:gd name="connsiteX33" fmla="*/ 1400176 w 1500188"/>
                    <a:gd name="connsiteY33" fmla="*/ 878682 h 2544762"/>
                    <a:gd name="connsiteX34" fmla="*/ 1433513 w 1500188"/>
                    <a:gd name="connsiteY34" fmla="*/ 804863 h 2544762"/>
                    <a:gd name="connsiteX35" fmla="*/ 1383507 w 1500188"/>
                    <a:gd name="connsiteY35" fmla="*/ 664370 h 2544762"/>
                    <a:gd name="connsiteX36" fmla="*/ 1323975 w 1500188"/>
                    <a:gd name="connsiteY36" fmla="*/ 604838 h 2544762"/>
                    <a:gd name="connsiteX37" fmla="*/ 1321594 w 1500188"/>
                    <a:gd name="connsiteY37" fmla="*/ 523876 h 2544762"/>
                    <a:gd name="connsiteX38" fmla="*/ 1302545 w 1500188"/>
                    <a:gd name="connsiteY38" fmla="*/ 445295 h 2544762"/>
                    <a:gd name="connsiteX39" fmla="*/ 1323181 w 1500188"/>
                    <a:gd name="connsiteY39" fmla="*/ 324644 h 2544762"/>
                    <a:gd name="connsiteX40" fmla="*/ 1171575 w 1500188"/>
                    <a:gd name="connsiteY40" fmla="*/ 0 h 2544762"/>
                    <a:gd name="connsiteX41" fmla="*/ 1085850 w 1500188"/>
                    <a:gd name="connsiteY41" fmla="*/ 153193 h 2544762"/>
                    <a:gd name="connsiteX0" fmla="*/ 1085850 w 1500188"/>
                    <a:gd name="connsiteY0" fmla="*/ 153193 h 2544762"/>
                    <a:gd name="connsiteX1" fmla="*/ 330200 w 1500188"/>
                    <a:gd name="connsiteY1" fmla="*/ 534987 h 2544762"/>
                    <a:gd name="connsiteX2" fmla="*/ 0 w 1500188"/>
                    <a:gd name="connsiteY2" fmla="*/ 1182687 h 2544762"/>
                    <a:gd name="connsiteX3" fmla="*/ 173831 w 1500188"/>
                    <a:gd name="connsiteY3" fmla="*/ 1828801 h 2544762"/>
                    <a:gd name="connsiteX4" fmla="*/ 282575 w 1500188"/>
                    <a:gd name="connsiteY4" fmla="*/ 2228056 h 2544762"/>
                    <a:gd name="connsiteX5" fmla="*/ 397669 w 1500188"/>
                    <a:gd name="connsiteY5" fmla="*/ 2422524 h 2544762"/>
                    <a:gd name="connsiteX6" fmla="*/ 577850 w 1500188"/>
                    <a:gd name="connsiteY6" fmla="*/ 2544762 h 2544762"/>
                    <a:gd name="connsiteX7" fmla="*/ 740568 w 1500188"/>
                    <a:gd name="connsiteY7" fmla="*/ 2409825 h 2544762"/>
                    <a:gd name="connsiteX8" fmla="*/ 745331 w 1500188"/>
                    <a:gd name="connsiteY8" fmla="*/ 2336007 h 2544762"/>
                    <a:gd name="connsiteX9" fmla="*/ 809626 w 1500188"/>
                    <a:gd name="connsiteY9" fmla="*/ 2300288 h 2544762"/>
                    <a:gd name="connsiteX10" fmla="*/ 812006 w 1500188"/>
                    <a:gd name="connsiteY10" fmla="*/ 2183607 h 2544762"/>
                    <a:gd name="connsiteX11" fmla="*/ 769143 w 1500188"/>
                    <a:gd name="connsiteY11" fmla="*/ 2169320 h 2544762"/>
                    <a:gd name="connsiteX12" fmla="*/ 690563 w 1500188"/>
                    <a:gd name="connsiteY12" fmla="*/ 2014538 h 2544762"/>
                    <a:gd name="connsiteX13" fmla="*/ 633413 w 1500188"/>
                    <a:gd name="connsiteY13" fmla="*/ 1704975 h 2544762"/>
                    <a:gd name="connsiteX14" fmla="*/ 545307 w 1500188"/>
                    <a:gd name="connsiteY14" fmla="*/ 1638301 h 2544762"/>
                    <a:gd name="connsiteX15" fmla="*/ 726281 w 1500188"/>
                    <a:gd name="connsiteY15" fmla="*/ 1628775 h 2544762"/>
                    <a:gd name="connsiteX16" fmla="*/ 816769 w 1500188"/>
                    <a:gd name="connsiteY16" fmla="*/ 1540669 h 2544762"/>
                    <a:gd name="connsiteX17" fmla="*/ 1033463 w 1500188"/>
                    <a:gd name="connsiteY17" fmla="*/ 1543050 h 2544762"/>
                    <a:gd name="connsiteX18" fmla="*/ 1085850 w 1500188"/>
                    <a:gd name="connsiteY18" fmla="*/ 1590676 h 2544762"/>
                    <a:gd name="connsiteX19" fmla="*/ 1076325 w 1500188"/>
                    <a:gd name="connsiteY19" fmla="*/ 1628776 h 2544762"/>
                    <a:gd name="connsiteX20" fmla="*/ 1154906 w 1500188"/>
                    <a:gd name="connsiteY20" fmla="*/ 1600201 h 2544762"/>
                    <a:gd name="connsiteX21" fmla="*/ 1202532 w 1500188"/>
                    <a:gd name="connsiteY21" fmla="*/ 1678782 h 2544762"/>
                    <a:gd name="connsiteX22" fmla="*/ 1233488 w 1500188"/>
                    <a:gd name="connsiteY22" fmla="*/ 1743074 h 2544762"/>
                    <a:gd name="connsiteX23" fmla="*/ 1288257 w 1500188"/>
                    <a:gd name="connsiteY23" fmla="*/ 1724026 h 2544762"/>
                    <a:gd name="connsiteX24" fmla="*/ 1340644 w 1500188"/>
                    <a:gd name="connsiteY24" fmla="*/ 1723231 h 2544762"/>
                    <a:gd name="connsiteX25" fmla="*/ 1304925 w 1500188"/>
                    <a:gd name="connsiteY25" fmla="*/ 1531144 h 2544762"/>
                    <a:gd name="connsiteX26" fmla="*/ 1357313 w 1500188"/>
                    <a:gd name="connsiteY26" fmla="*/ 1443038 h 2544762"/>
                    <a:gd name="connsiteX27" fmla="*/ 1328738 w 1500188"/>
                    <a:gd name="connsiteY27" fmla="*/ 1388270 h 2544762"/>
                    <a:gd name="connsiteX28" fmla="*/ 1383506 w 1500188"/>
                    <a:gd name="connsiteY28" fmla="*/ 1381125 h 2544762"/>
                    <a:gd name="connsiteX29" fmla="*/ 1435894 w 1500188"/>
                    <a:gd name="connsiteY29" fmla="*/ 1302545 h 2544762"/>
                    <a:gd name="connsiteX30" fmla="*/ 1426369 w 1500188"/>
                    <a:gd name="connsiteY30" fmla="*/ 1254920 h 2544762"/>
                    <a:gd name="connsiteX31" fmla="*/ 1462882 w 1500188"/>
                    <a:gd name="connsiteY31" fmla="*/ 1246187 h 2544762"/>
                    <a:gd name="connsiteX32" fmla="*/ 1500188 w 1500188"/>
                    <a:gd name="connsiteY32" fmla="*/ 1190625 h 2544762"/>
                    <a:gd name="connsiteX33" fmla="*/ 1445419 w 1500188"/>
                    <a:gd name="connsiteY33" fmla="*/ 1007269 h 2544762"/>
                    <a:gd name="connsiteX34" fmla="*/ 1400176 w 1500188"/>
                    <a:gd name="connsiteY34" fmla="*/ 878682 h 2544762"/>
                    <a:gd name="connsiteX35" fmla="*/ 1433513 w 1500188"/>
                    <a:gd name="connsiteY35" fmla="*/ 804863 h 2544762"/>
                    <a:gd name="connsiteX36" fmla="*/ 1383507 w 1500188"/>
                    <a:gd name="connsiteY36" fmla="*/ 664370 h 2544762"/>
                    <a:gd name="connsiteX37" fmla="*/ 1323975 w 1500188"/>
                    <a:gd name="connsiteY37" fmla="*/ 604838 h 2544762"/>
                    <a:gd name="connsiteX38" fmla="*/ 1321594 w 1500188"/>
                    <a:gd name="connsiteY38" fmla="*/ 523876 h 2544762"/>
                    <a:gd name="connsiteX39" fmla="*/ 1302545 w 1500188"/>
                    <a:gd name="connsiteY39" fmla="*/ 445295 h 2544762"/>
                    <a:gd name="connsiteX40" fmla="*/ 1323181 w 1500188"/>
                    <a:gd name="connsiteY40" fmla="*/ 324644 h 2544762"/>
                    <a:gd name="connsiteX41" fmla="*/ 1171575 w 1500188"/>
                    <a:gd name="connsiteY41" fmla="*/ 0 h 2544762"/>
                    <a:gd name="connsiteX42" fmla="*/ 1085850 w 1500188"/>
                    <a:gd name="connsiteY42" fmla="*/ 153193 h 2544762"/>
                    <a:gd name="connsiteX0" fmla="*/ 1085850 w 1500188"/>
                    <a:gd name="connsiteY0" fmla="*/ 153193 h 2544762"/>
                    <a:gd name="connsiteX1" fmla="*/ 330200 w 1500188"/>
                    <a:gd name="connsiteY1" fmla="*/ 534987 h 2544762"/>
                    <a:gd name="connsiteX2" fmla="*/ 0 w 1500188"/>
                    <a:gd name="connsiteY2" fmla="*/ 1182687 h 2544762"/>
                    <a:gd name="connsiteX3" fmla="*/ 266700 w 1500188"/>
                    <a:gd name="connsiteY3" fmla="*/ 2064545 h 2544762"/>
                    <a:gd name="connsiteX4" fmla="*/ 282575 w 1500188"/>
                    <a:gd name="connsiteY4" fmla="*/ 2228056 h 2544762"/>
                    <a:gd name="connsiteX5" fmla="*/ 397669 w 1500188"/>
                    <a:gd name="connsiteY5" fmla="*/ 2422524 h 2544762"/>
                    <a:gd name="connsiteX6" fmla="*/ 577850 w 1500188"/>
                    <a:gd name="connsiteY6" fmla="*/ 2544762 h 2544762"/>
                    <a:gd name="connsiteX7" fmla="*/ 740568 w 1500188"/>
                    <a:gd name="connsiteY7" fmla="*/ 2409825 h 2544762"/>
                    <a:gd name="connsiteX8" fmla="*/ 745331 w 1500188"/>
                    <a:gd name="connsiteY8" fmla="*/ 2336007 h 2544762"/>
                    <a:gd name="connsiteX9" fmla="*/ 809626 w 1500188"/>
                    <a:gd name="connsiteY9" fmla="*/ 2300288 h 2544762"/>
                    <a:gd name="connsiteX10" fmla="*/ 812006 w 1500188"/>
                    <a:gd name="connsiteY10" fmla="*/ 2183607 h 2544762"/>
                    <a:gd name="connsiteX11" fmla="*/ 769143 w 1500188"/>
                    <a:gd name="connsiteY11" fmla="*/ 2169320 h 2544762"/>
                    <a:gd name="connsiteX12" fmla="*/ 690563 w 1500188"/>
                    <a:gd name="connsiteY12" fmla="*/ 2014538 h 2544762"/>
                    <a:gd name="connsiteX13" fmla="*/ 633413 w 1500188"/>
                    <a:gd name="connsiteY13" fmla="*/ 1704975 h 2544762"/>
                    <a:gd name="connsiteX14" fmla="*/ 545307 w 1500188"/>
                    <a:gd name="connsiteY14" fmla="*/ 1638301 h 2544762"/>
                    <a:gd name="connsiteX15" fmla="*/ 726281 w 1500188"/>
                    <a:gd name="connsiteY15" fmla="*/ 1628775 h 2544762"/>
                    <a:gd name="connsiteX16" fmla="*/ 816769 w 1500188"/>
                    <a:gd name="connsiteY16" fmla="*/ 1540669 h 2544762"/>
                    <a:gd name="connsiteX17" fmla="*/ 1033463 w 1500188"/>
                    <a:gd name="connsiteY17" fmla="*/ 1543050 h 2544762"/>
                    <a:gd name="connsiteX18" fmla="*/ 1085850 w 1500188"/>
                    <a:gd name="connsiteY18" fmla="*/ 1590676 h 2544762"/>
                    <a:gd name="connsiteX19" fmla="*/ 1076325 w 1500188"/>
                    <a:gd name="connsiteY19" fmla="*/ 1628776 h 2544762"/>
                    <a:gd name="connsiteX20" fmla="*/ 1154906 w 1500188"/>
                    <a:gd name="connsiteY20" fmla="*/ 1600201 h 2544762"/>
                    <a:gd name="connsiteX21" fmla="*/ 1202532 w 1500188"/>
                    <a:gd name="connsiteY21" fmla="*/ 1678782 h 2544762"/>
                    <a:gd name="connsiteX22" fmla="*/ 1233488 w 1500188"/>
                    <a:gd name="connsiteY22" fmla="*/ 1743074 h 2544762"/>
                    <a:gd name="connsiteX23" fmla="*/ 1288257 w 1500188"/>
                    <a:gd name="connsiteY23" fmla="*/ 1724026 h 2544762"/>
                    <a:gd name="connsiteX24" fmla="*/ 1340644 w 1500188"/>
                    <a:gd name="connsiteY24" fmla="*/ 1723231 h 2544762"/>
                    <a:gd name="connsiteX25" fmla="*/ 1304925 w 1500188"/>
                    <a:gd name="connsiteY25" fmla="*/ 1531144 h 2544762"/>
                    <a:gd name="connsiteX26" fmla="*/ 1357313 w 1500188"/>
                    <a:gd name="connsiteY26" fmla="*/ 1443038 h 2544762"/>
                    <a:gd name="connsiteX27" fmla="*/ 1328738 w 1500188"/>
                    <a:gd name="connsiteY27" fmla="*/ 1388270 h 2544762"/>
                    <a:gd name="connsiteX28" fmla="*/ 1383506 w 1500188"/>
                    <a:gd name="connsiteY28" fmla="*/ 1381125 h 2544762"/>
                    <a:gd name="connsiteX29" fmla="*/ 1435894 w 1500188"/>
                    <a:gd name="connsiteY29" fmla="*/ 1302545 h 2544762"/>
                    <a:gd name="connsiteX30" fmla="*/ 1426369 w 1500188"/>
                    <a:gd name="connsiteY30" fmla="*/ 1254920 h 2544762"/>
                    <a:gd name="connsiteX31" fmla="*/ 1462882 w 1500188"/>
                    <a:gd name="connsiteY31" fmla="*/ 1246187 h 2544762"/>
                    <a:gd name="connsiteX32" fmla="*/ 1500188 w 1500188"/>
                    <a:gd name="connsiteY32" fmla="*/ 1190625 h 2544762"/>
                    <a:gd name="connsiteX33" fmla="*/ 1445419 w 1500188"/>
                    <a:gd name="connsiteY33" fmla="*/ 1007269 h 2544762"/>
                    <a:gd name="connsiteX34" fmla="*/ 1400176 w 1500188"/>
                    <a:gd name="connsiteY34" fmla="*/ 878682 h 2544762"/>
                    <a:gd name="connsiteX35" fmla="*/ 1433513 w 1500188"/>
                    <a:gd name="connsiteY35" fmla="*/ 804863 h 2544762"/>
                    <a:gd name="connsiteX36" fmla="*/ 1383507 w 1500188"/>
                    <a:gd name="connsiteY36" fmla="*/ 664370 h 2544762"/>
                    <a:gd name="connsiteX37" fmla="*/ 1323975 w 1500188"/>
                    <a:gd name="connsiteY37" fmla="*/ 604838 h 2544762"/>
                    <a:gd name="connsiteX38" fmla="*/ 1321594 w 1500188"/>
                    <a:gd name="connsiteY38" fmla="*/ 523876 h 2544762"/>
                    <a:gd name="connsiteX39" fmla="*/ 1302545 w 1500188"/>
                    <a:gd name="connsiteY39" fmla="*/ 445295 h 2544762"/>
                    <a:gd name="connsiteX40" fmla="*/ 1323181 w 1500188"/>
                    <a:gd name="connsiteY40" fmla="*/ 324644 h 2544762"/>
                    <a:gd name="connsiteX41" fmla="*/ 1171575 w 1500188"/>
                    <a:gd name="connsiteY41" fmla="*/ 0 h 2544762"/>
                    <a:gd name="connsiteX42" fmla="*/ 1085850 w 1500188"/>
                    <a:gd name="connsiteY42" fmla="*/ 153193 h 2544762"/>
                    <a:gd name="connsiteX0" fmla="*/ 1085850 w 1500188"/>
                    <a:gd name="connsiteY0" fmla="*/ 153193 h 2544762"/>
                    <a:gd name="connsiteX1" fmla="*/ 330200 w 1500188"/>
                    <a:gd name="connsiteY1" fmla="*/ 534987 h 2544762"/>
                    <a:gd name="connsiteX2" fmla="*/ 0 w 1500188"/>
                    <a:gd name="connsiteY2" fmla="*/ 1182687 h 2544762"/>
                    <a:gd name="connsiteX3" fmla="*/ 159544 w 1500188"/>
                    <a:gd name="connsiteY3" fmla="*/ 1690688 h 2544762"/>
                    <a:gd name="connsiteX4" fmla="*/ 266700 w 1500188"/>
                    <a:gd name="connsiteY4" fmla="*/ 2064545 h 2544762"/>
                    <a:gd name="connsiteX5" fmla="*/ 282575 w 1500188"/>
                    <a:gd name="connsiteY5" fmla="*/ 2228056 h 2544762"/>
                    <a:gd name="connsiteX6" fmla="*/ 397669 w 1500188"/>
                    <a:gd name="connsiteY6" fmla="*/ 2422524 h 2544762"/>
                    <a:gd name="connsiteX7" fmla="*/ 577850 w 1500188"/>
                    <a:gd name="connsiteY7" fmla="*/ 2544762 h 2544762"/>
                    <a:gd name="connsiteX8" fmla="*/ 740568 w 1500188"/>
                    <a:gd name="connsiteY8" fmla="*/ 2409825 h 2544762"/>
                    <a:gd name="connsiteX9" fmla="*/ 745331 w 1500188"/>
                    <a:gd name="connsiteY9" fmla="*/ 2336007 h 2544762"/>
                    <a:gd name="connsiteX10" fmla="*/ 809626 w 1500188"/>
                    <a:gd name="connsiteY10" fmla="*/ 2300288 h 2544762"/>
                    <a:gd name="connsiteX11" fmla="*/ 812006 w 1500188"/>
                    <a:gd name="connsiteY11" fmla="*/ 2183607 h 2544762"/>
                    <a:gd name="connsiteX12" fmla="*/ 769143 w 1500188"/>
                    <a:gd name="connsiteY12" fmla="*/ 2169320 h 2544762"/>
                    <a:gd name="connsiteX13" fmla="*/ 690563 w 1500188"/>
                    <a:gd name="connsiteY13" fmla="*/ 2014538 h 2544762"/>
                    <a:gd name="connsiteX14" fmla="*/ 633413 w 1500188"/>
                    <a:gd name="connsiteY14" fmla="*/ 1704975 h 2544762"/>
                    <a:gd name="connsiteX15" fmla="*/ 545307 w 1500188"/>
                    <a:gd name="connsiteY15" fmla="*/ 1638301 h 2544762"/>
                    <a:gd name="connsiteX16" fmla="*/ 726281 w 1500188"/>
                    <a:gd name="connsiteY16" fmla="*/ 1628775 h 2544762"/>
                    <a:gd name="connsiteX17" fmla="*/ 816769 w 1500188"/>
                    <a:gd name="connsiteY17" fmla="*/ 1540669 h 2544762"/>
                    <a:gd name="connsiteX18" fmla="*/ 1033463 w 1500188"/>
                    <a:gd name="connsiteY18" fmla="*/ 1543050 h 2544762"/>
                    <a:gd name="connsiteX19" fmla="*/ 1085850 w 1500188"/>
                    <a:gd name="connsiteY19" fmla="*/ 1590676 h 2544762"/>
                    <a:gd name="connsiteX20" fmla="*/ 1076325 w 1500188"/>
                    <a:gd name="connsiteY20" fmla="*/ 1628776 h 2544762"/>
                    <a:gd name="connsiteX21" fmla="*/ 1154906 w 1500188"/>
                    <a:gd name="connsiteY21" fmla="*/ 1600201 h 2544762"/>
                    <a:gd name="connsiteX22" fmla="*/ 1202532 w 1500188"/>
                    <a:gd name="connsiteY22" fmla="*/ 1678782 h 2544762"/>
                    <a:gd name="connsiteX23" fmla="*/ 1233488 w 1500188"/>
                    <a:gd name="connsiteY23" fmla="*/ 1743074 h 2544762"/>
                    <a:gd name="connsiteX24" fmla="*/ 1288257 w 1500188"/>
                    <a:gd name="connsiteY24" fmla="*/ 1724026 h 2544762"/>
                    <a:gd name="connsiteX25" fmla="*/ 1340644 w 1500188"/>
                    <a:gd name="connsiteY25" fmla="*/ 1723231 h 2544762"/>
                    <a:gd name="connsiteX26" fmla="*/ 1304925 w 1500188"/>
                    <a:gd name="connsiteY26" fmla="*/ 1531144 h 2544762"/>
                    <a:gd name="connsiteX27" fmla="*/ 1357313 w 1500188"/>
                    <a:gd name="connsiteY27" fmla="*/ 1443038 h 2544762"/>
                    <a:gd name="connsiteX28" fmla="*/ 1328738 w 1500188"/>
                    <a:gd name="connsiteY28" fmla="*/ 1388270 h 2544762"/>
                    <a:gd name="connsiteX29" fmla="*/ 1383506 w 1500188"/>
                    <a:gd name="connsiteY29" fmla="*/ 1381125 h 2544762"/>
                    <a:gd name="connsiteX30" fmla="*/ 1435894 w 1500188"/>
                    <a:gd name="connsiteY30" fmla="*/ 1302545 h 2544762"/>
                    <a:gd name="connsiteX31" fmla="*/ 1426369 w 1500188"/>
                    <a:gd name="connsiteY31" fmla="*/ 1254920 h 2544762"/>
                    <a:gd name="connsiteX32" fmla="*/ 1462882 w 1500188"/>
                    <a:gd name="connsiteY32" fmla="*/ 1246187 h 2544762"/>
                    <a:gd name="connsiteX33" fmla="*/ 1500188 w 1500188"/>
                    <a:gd name="connsiteY33" fmla="*/ 1190625 h 2544762"/>
                    <a:gd name="connsiteX34" fmla="*/ 1445419 w 1500188"/>
                    <a:gd name="connsiteY34" fmla="*/ 1007269 h 2544762"/>
                    <a:gd name="connsiteX35" fmla="*/ 1400176 w 1500188"/>
                    <a:gd name="connsiteY35" fmla="*/ 878682 h 2544762"/>
                    <a:gd name="connsiteX36" fmla="*/ 1433513 w 1500188"/>
                    <a:gd name="connsiteY36" fmla="*/ 804863 h 2544762"/>
                    <a:gd name="connsiteX37" fmla="*/ 1383507 w 1500188"/>
                    <a:gd name="connsiteY37" fmla="*/ 664370 h 2544762"/>
                    <a:gd name="connsiteX38" fmla="*/ 1323975 w 1500188"/>
                    <a:gd name="connsiteY38" fmla="*/ 604838 h 2544762"/>
                    <a:gd name="connsiteX39" fmla="*/ 1321594 w 1500188"/>
                    <a:gd name="connsiteY39" fmla="*/ 523876 h 2544762"/>
                    <a:gd name="connsiteX40" fmla="*/ 1302545 w 1500188"/>
                    <a:gd name="connsiteY40" fmla="*/ 445295 h 2544762"/>
                    <a:gd name="connsiteX41" fmla="*/ 1323181 w 1500188"/>
                    <a:gd name="connsiteY41" fmla="*/ 324644 h 2544762"/>
                    <a:gd name="connsiteX42" fmla="*/ 1171575 w 1500188"/>
                    <a:gd name="connsiteY42" fmla="*/ 0 h 2544762"/>
                    <a:gd name="connsiteX43" fmla="*/ 1085850 w 1500188"/>
                    <a:gd name="connsiteY43" fmla="*/ 153193 h 2544762"/>
                    <a:gd name="connsiteX0" fmla="*/ 1085850 w 1500188"/>
                    <a:gd name="connsiteY0" fmla="*/ 153193 h 2544762"/>
                    <a:gd name="connsiteX1" fmla="*/ 330200 w 1500188"/>
                    <a:gd name="connsiteY1" fmla="*/ 534987 h 2544762"/>
                    <a:gd name="connsiteX2" fmla="*/ 0 w 1500188"/>
                    <a:gd name="connsiteY2" fmla="*/ 1182687 h 2544762"/>
                    <a:gd name="connsiteX3" fmla="*/ 321469 w 1500188"/>
                    <a:gd name="connsiteY3" fmla="*/ 1971675 h 2544762"/>
                    <a:gd name="connsiteX4" fmla="*/ 266700 w 1500188"/>
                    <a:gd name="connsiteY4" fmla="*/ 2064545 h 2544762"/>
                    <a:gd name="connsiteX5" fmla="*/ 282575 w 1500188"/>
                    <a:gd name="connsiteY5" fmla="*/ 2228056 h 2544762"/>
                    <a:gd name="connsiteX6" fmla="*/ 397669 w 1500188"/>
                    <a:gd name="connsiteY6" fmla="*/ 2422524 h 2544762"/>
                    <a:gd name="connsiteX7" fmla="*/ 577850 w 1500188"/>
                    <a:gd name="connsiteY7" fmla="*/ 2544762 h 2544762"/>
                    <a:gd name="connsiteX8" fmla="*/ 740568 w 1500188"/>
                    <a:gd name="connsiteY8" fmla="*/ 2409825 h 2544762"/>
                    <a:gd name="connsiteX9" fmla="*/ 745331 w 1500188"/>
                    <a:gd name="connsiteY9" fmla="*/ 2336007 h 2544762"/>
                    <a:gd name="connsiteX10" fmla="*/ 809626 w 1500188"/>
                    <a:gd name="connsiteY10" fmla="*/ 2300288 h 2544762"/>
                    <a:gd name="connsiteX11" fmla="*/ 812006 w 1500188"/>
                    <a:gd name="connsiteY11" fmla="*/ 2183607 h 2544762"/>
                    <a:gd name="connsiteX12" fmla="*/ 769143 w 1500188"/>
                    <a:gd name="connsiteY12" fmla="*/ 2169320 h 2544762"/>
                    <a:gd name="connsiteX13" fmla="*/ 690563 w 1500188"/>
                    <a:gd name="connsiteY13" fmla="*/ 2014538 h 2544762"/>
                    <a:gd name="connsiteX14" fmla="*/ 633413 w 1500188"/>
                    <a:gd name="connsiteY14" fmla="*/ 1704975 h 2544762"/>
                    <a:gd name="connsiteX15" fmla="*/ 545307 w 1500188"/>
                    <a:gd name="connsiteY15" fmla="*/ 1638301 h 2544762"/>
                    <a:gd name="connsiteX16" fmla="*/ 726281 w 1500188"/>
                    <a:gd name="connsiteY16" fmla="*/ 1628775 h 2544762"/>
                    <a:gd name="connsiteX17" fmla="*/ 816769 w 1500188"/>
                    <a:gd name="connsiteY17" fmla="*/ 1540669 h 2544762"/>
                    <a:gd name="connsiteX18" fmla="*/ 1033463 w 1500188"/>
                    <a:gd name="connsiteY18" fmla="*/ 1543050 h 2544762"/>
                    <a:gd name="connsiteX19" fmla="*/ 1085850 w 1500188"/>
                    <a:gd name="connsiteY19" fmla="*/ 1590676 h 2544762"/>
                    <a:gd name="connsiteX20" fmla="*/ 1076325 w 1500188"/>
                    <a:gd name="connsiteY20" fmla="*/ 1628776 h 2544762"/>
                    <a:gd name="connsiteX21" fmla="*/ 1154906 w 1500188"/>
                    <a:gd name="connsiteY21" fmla="*/ 1600201 h 2544762"/>
                    <a:gd name="connsiteX22" fmla="*/ 1202532 w 1500188"/>
                    <a:gd name="connsiteY22" fmla="*/ 1678782 h 2544762"/>
                    <a:gd name="connsiteX23" fmla="*/ 1233488 w 1500188"/>
                    <a:gd name="connsiteY23" fmla="*/ 1743074 h 2544762"/>
                    <a:gd name="connsiteX24" fmla="*/ 1288257 w 1500188"/>
                    <a:gd name="connsiteY24" fmla="*/ 1724026 h 2544762"/>
                    <a:gd name="connsiteX25" fmla="*/ 1340644 w 1500188"/>
                    <a:gd name="connsiteY25" fmla="*/ 1723231 h 2544762"/>
                    <a:gd name="connsiteX26" fmla="*/ 1304925 w 1500188"/>
                    <a:gd name="connsiteY26" fmla="*/ 1531144 h 2544762"/>
                    <a:gd name="connsiteX27" fmla="*/ 1357313 w 1500188"/>
                    <a:gd name="connsiteY27" fmla="*/ 1443038 h 2544762"/>
                    <a:gd name="connsiteX28" fmla="*/ 1328738 w 1500188"/>
                    <a:gd name="connsiteY28" fmla="*/ 1388270 h 2544762"/>
                    <a:gd name="connsiteX29" fmla="*/ 1383506 w 1500188"/>
                    <a:gd name="connsiteY29" fmla="*/ 1381125 h 2544762"/>
                    <a:gd name="connsiteX30" fmla="*/ 1435894 w 1500188"/>
                    <a:gd name="connsiteY30" fmla="*/ 1302545 h 2544762"/>
                    <a:gd name="connsiteX31" fmla="*/ 1426369 w 1500188"/>
                    <a:gd name="connsiteY31" fmla="*/ 1254920 h 2544762"/>
                    <a:gd name="connsiteX32" fmla="*/ 1462882 w 1500188"/>
                    <a:gd name="connsiteY32" fmla="*/ 1246187 h 2544762"/>
                    <a:gd name="connsiteX33" fmla="*/ 1500188 w 1500188"/>
                    <a:gd name="connsiteY33" fmla="*/ 1190625 h 2544762"/>
                    <a:gd name="connsiteX34" fmla="*/ 1445419 w 1500188"/>
                    <a:gd name="connsiteY34" fmla="*/ 1007269 h 2544762"/>
                    <a:gd name="connsiteX35" fmla="*/ 1400176 w 1500188"/>
                    <a:gd name="connsiteY35" fmla="*/ 878682 h 2544762"/>
                    <a:gd name="connsiteX36" fmla="*/ 1433513 w 1500188"/>
                    <a:gd name="connsiteY36" fmla="*/ 804863 h 2544762"/>
                    <a:gd name="connsiteX37" fmla="*/ 1383507 w 1500188"/>
                    <a:gd name="connsiteY37" fmla="*/ 664370 h 2544762"/>
                    <a:gd name="connsiteX38" fmla="*/ 1323975 w 1500188"/>
                    <a:gd name="connsiteY38" fmla="*/ 604838 h 2544762"/>
                    <a:gd name="connsiteX39" fmla="*/ 1321594 w 1500188"/>
                    <a:gd name="connsiteY39" fmla="*/ 523876 h 2544762"/>
                    <a:gd name="connsiteX40" fmla="*/ 1302545 w 1500188"/>
                    <a:gd name="connsiteY40" fmla="*/ 445295 h 2544762"/>
                    <a:gd name="connsiteX41" fmla="*/ 1323181 w 1500188"/>
                    <a:gd name="connsiteY41" fmla="*/ 324644 h 2544762"/>
                    <a:gd name="connsiteX42" fmla="*/ 1171575 w 1500188"/>
                    <a:gd name="connsiteY42" fmla="*/ 0 h 2544762"/>
                    <a:gd name="connsiteX43" fmla="*/ 1085850 w 1500188"/>
                    <a:gd name="connsiteY43" fmla="*/ 153193 h 2544762"/>
                    <a:gd name="connsiteX0" fmla="*/ 1085850 w 1500188"/>
                    <a:gd name="connsiteY0" fmla="*/ 153193 h 2544762"/>
                    <a:gd name="connsiteX1" fmla="*/ 330200 w 1500188"/>
                    <a:gd name="connsiteY1" fmla="*/ 534987 h 2544762"/>
                    <a:gd name="connsiteX2" fmla="*/ 0 w 1500188"/>
                    <a:gd name="connsiteY2" fmla="*/ 1182687 h 2544762"/>
                    <a:gd name="connsiteX3" fmla="*/ 88106 w 1500188"/>
                    <a:gd name="connsiteY3" fmla="*/ 1400176 h 2544762"/>
                    <a:gd name="connsiteX4" fmla="*/ 321469 w 1500188"/>
                    <a:gd name="connsiteY4" fmla="*/ 1971675 h 2544762"/>
                    <a:gd name="connsiteX5" fmla="*/ 266700 w 1500188"/>
                    <a:gd name="connsiteY5" fmla="*/ 2064545 h 2544762"/>
                    <a:gd name="connsiteX6" fmla="*/ 282575 w 1500188"/>
                    <a:gd name="connsiteY6" fmla="*/ 2228056 h 2544762"/>
                    <a:gd name="connsiteX7" fmla="*/ 397669 w 1500188"/>
                    <a:gd name="connsiteY7" fmla="*/ 2422524 h 2544762"/>
                    <a:gd name="connsiteX8" fmla="*/ 577850 w 1500188"/>
                    <a:gd name="connsiteY8" fmla="*/ 2544762 h 2544762"/>
                    <a:gd name="connsiteX9" fmla="*/ 740568 w 1500188"/>
                    <a:gd name="connsiteY9" fmla="*/ 2409825 h 2544762"/>
                    <a:gd name="connsiteX10" fmla="*/ 745331 w 1500188"/>
                    <a:gd name="connsiteY10" fmla="*/ 2336007 h 2544762"/>
                    <a:gd name="connsiteX11" fmla="*/ 809626 w 1500188"/>
                    <a:gd name="connsiteY11" fmla="*/ 2300288 h 2544762"/>
                    <a:gd name="connsiteX12" fmla="*/ 812006 w 1500188"/>
                    <a:gd name="connsiteY12" fmla="*/ 2183607 h 2544762"/>
                    <a:gd name="connsiteX13" fmla="*/ 769143 w 1500188"/>
                    <a:gd name="connsiteY13" fmla="*/ 2169320 h 2544762"/>
                    <a:gd name="connsiteX14" fmla="*/ 690563 w 1500188"/>
                    <a:gd name="connsiteY14" fmla="*/ 2014538 h 2544762"/>
                    <a:gd name="connsiteX15" fmla="*/ 633413 w 1500188"/>
                    <a:gd name="connsiteY15" fmla="*/ 1704975 h 2544762"/>
                    <a:gd name="connsiteX16" fmla="*/ 545307 w 1500188"/>
                    <a:gd name="connsiteY16" fmla="*/ 1638301 h 2544762"/>
                    <a:gd name="connsiteX17" fmla="*/ 726281 w 1500188"/>
                    <a:gd name="connsiteY17" fmla="*/ 1628775 h 2544762"/>
                    <a:gd name="connsiteX18" fmla="*/ 816769 w 1500188"/>
                    <a:gd name="connsiteY18" fmla="*/ 1540669 h 2544762"/>
                    <a:gd name="connsiteX19" fmla="*/ 1033463 w 1500188"/>
                    <a:gd name="connsiteY19" fmla="*/ 1543050 h 2544762"/>
                    <a:gd name="connsiteX20" fmla="*/ 1085850 w 1500188"/>
                    <a:gd name="connsiteY20" fmla="*/ 1590676 h 2544762"/>
                    <a:gd name="connsiteX21" fmla="*/ 1076325 w 1500188"/>
                    <a:gd name="connsiteY21" fmla="*/ 1628776 h 2544762"/>
                    <a:gd name="connsiteX22" fmla="*/ 1154906 w 1500188"/>
                    <a:gd name="connsiteY22" fmla="*/ 1600201 h 2544762"/>
                    <a:gd name="connsiteX23" fmla="*/ 1202532 w 1500188"/>
                    <a:gd name="connsiteY23" fmla="*/ 1678782 h 2544762"/>
                    <a:gd name="connsiteX24" fmla="*/ 1233488 w 1500188"/>
                    <a:gd name="connsiteY24" fmla="*/ 1743074 h 2544762"/>
                    <a:gd name="connsiteX25" fmla="*/ 1288257 w 1500188"/>
                    <a:gd name="connsiteY25" fmla="*/ 1724026 h 2544762"/>
                    <a:gd name="connsiteX26" fmla="*/ 1340644 w 1500188"/>
                    <a:gd name="connsiteY26" fmla="*/ 1723231 h 2544762"/>
                    <a:gd name="connsiteX27" fmla="*/ 1304925 w 1500188"/>
                    <a:gd name="connsiteY27" fmla="*/ 1531144 h 2544762"/>
                    <a:gd name="connsiteX28" fmla="*/ 1357313 w 1500188"/>
                    <a:gd name="connsiteY28" fmla="*/ 1443038 h 2544762"/>
                    <a:gd name="connsiteX29" fmla="*/ 1328738 w 1500188"/>
                    <a:gd name="connsiteY29" fmla="*/ 1388270 h 2544762"/>
                    <a:gd name="connsiteX30" fmla="*/ 1383506 w 1500188"/>
                    <a:gd name="connsiteY30" fmla="*/ 1381125 h 2544762"/>
                    <a:gd name="connsiteX31" fmla="*/ 1435894 w 1500188"/>
                    <a:gd name="connsiteY31" fmla="*/ 1302545 h 2544762"/>
                    <a:gd name="connsiteX32" fmla="*/ 1426369 w 1500188"/>
                    <a:gd name="connsiteY32" fmla="*/ 1254920 h 2544762"/>
                    <a:gd name="connsiteX33" fmla="*/ 1462882 w 1500188"/>
                    <a:gd name="connsiteY33" fmla="*/ 1246187 h 2544762"/>
                    <a:gd name="connsiteX34" fmla="*/ 1500188 w 1500188"/>
                    <a:gd name="connsiteY34" fmla="*/ 1190625 h 2544762"/>
                    <a:gd name="connsiteX35" fmla="*/ 1445419 w 1500188"/>
                    <a:gd name="connsiteY35" fmla="*/ 1007269 h 2544762"/>
                    <a:gd name="connsiteX36" fmla="*/ 1400176 w 1500188"/>
                    <a:gd name="connsiteY36" fmla="*/ 878682 h 2544762"/>
                    <a:gd name="connsiteX37" fmla="*/ 1433513 w 1500188"/>
                    <a:gd name="connsiteY37" fmla="*/ 804863 h 2544762"/>
                    <a:gd name="connsiteX38" fmla="*/ 1383507 w 1500188"/>
                    <a:gd name="connsiteY38" fmla="*/ 664370 h 2544762"/>
                    <a:gd name="connsiteX39" fmla="*/ 1323975 w 1500188"/>
                    <a:gd name="connsiteY39" fmla="*/ 604838 h 2544762"/>
                    <a:gd name="connsiteX40" fmla="*/ 1321594 w 1500188"/>
                    <a:gd name="connsiteY40" fmla="*/ 523876 h 2544762"/>
                    <a:gd name="connsiteX41" fmla="*/ 1302545 w 1500188"/>
                    <a:gd name="connsiteY41" fmla="*/ 445295 h 2544762"/>
                    <a:gd name="connsiteX42" fmla="*/ 1323181 w 1500188"/>
                    <a:gd name="connsiteY42" fmla="*/ 324644 h 2544762"/>
                    <a:gd name="connsiteX43" fmla="*/ 1171575 w 1500188"/>
                    <a:gd name="connsiteY43" fmla="*/ 0 h 2544762"/>
                    <a:gd name="connsiteX44" fmla="*/ 1085850 w 1500188"/>
                    <a:gd name="connsiteY44" fmla="*/ 153193 h 2544762"/>
                    <a:gd name="connsiteX0" fmla="*/ 1085850 w 1500188"/>
                    <a:gd name="connsiteY0" fmla="*/ 153193 h 2544762"/>
                    <a:gd name="connsiteX1" fmla="*/ 330200 w 1500188"/>
                    <a:gd name="connsiteY1" fmla="*/ 534987 h 2544762"/>
                    <a:gd name="connsiteX2" fmla="*/ 0 w 1500188"/>
                    <a:gd name="connsiteY2" fmla="*/ 1182687 h 2544762"/>
                    <a:gd name="connsiteX3" fmla="*/ 316706 w 1500188"/>
                    <a:gd name="connsiteY3" fmla="*/ 1795464 h 2544762"/>
                    <a:gd name="connsiteX4" fmla="*/ 321469 w 1500188"/>
                    <a:gd name="connsiteY4" fmla="*/ 1971675 h 2544762"/>
                    <a:gd name="connsiteX5" fmla="*/ 266700 w 1500188"/>
                    <a:gd name="connsiteY5" fmla="*/ 2064545 h 2544762"/>
                    <a:gd name="connsiteX6" fmla="*/ 282575 w 1500188"/>
                    <a:gd name="connsiteY6" fmla="*/ 2228056 h 2544762"/>
                    <a:gd name="connsiteX7" fmla="*/ 397669 w 1500188"/>
                    <a:gd name="connsiteY7" fmla="*/ 2422524 h 2544762"/>
                    <a:gd name="connsiteX8" fmla="*/ 577850 w 1500188"/>
                    <a:gd name="connsiteY8" fmla="*/ 2544762 h 2544762"/>
                    <a:gd name="connsiteX9" fmla="*/ 740568 w 1500188"/>
                    <a:gd name="connsiteY9" fmla="*/ 2409825 h 2544762"/>
                    <a:gd name="connsiteX10" fmla="*/ 745331 w 1500188"/>
                    <a:gd name="connsiteY10" fmla="*/ 2336007 h 2544762"/>
                    <a:gd name="connsiteX11" fmla="*/ 809626 w 1500188"/>
                    <a:gd name="connsiteY11" fmla="*/ 2300288 h 2544762"/>
                    <a:gd name="connsiteX12" fmla="*/ 812006 w 1500188"/>
                    <a:gd name="connsiteY12" fmla="*/ 2183607 h 2544762"/>
                    <a:gd name="connsiteX13" fmla="*/ 769143 w 1500188"/>
                    <a:gd name="connsiteY13" fmla="*/ 2169320 h 2544762"/>
                    <a:gd name="connsiteX14" fmla="*/ 690563 w 1500188"/>
                    <a:gd name="connsiteY14" fmla="*/ 2014538 h 2544762"/>
                    <a:gd name="connsiteX15" fmla="*/ 633413 w 1500188"/>
                    <a:gd name="connsiteY15" fmla="*/ 1704975 h 2544762"/>
                    <a:gd name="connsiteX16" fmla="*/ 545307 w 1500188"/>
                    <a:gd name="connsiteY16" fmla="*/ 1638301 h 2544762"/>
                    <a:gd name="connsiteX17" fmla="*/ 726281 w 1500188"/>
                    <a:gd name="connsiteY17" fmla="*/ 1628775 h 2544762"/>
                    <a:gd name="connsiteX18" fmla="*/ 816769 w 1500188"/>
                    <a:gd name="connsiteY18" fmla="*/ 1540669 h 2544762"/>
                    <a:gd name="connsiteX19" fmla="*/ 1033463 w 1500188"/>
                    <a:gd name="connsiteY19" fmla="*/ 1543050 h 2544762"/>
                    <a:gd name="connsiteX20" fmla="*/ 1085850 w 1500188"/>
                    <a:gd name="connsiteY20" fmla="*/ 1590676 h 2544762"/>
                    <a:gd name="connsiteX21" fmla="*/ 1076325 w 1500188"/>
                    <a:gd name="connsiteY21" fmla="*/ 1628776 h 2544762"/>
                    <a:gd name="connsiteX22" fmla="*/ 1154906 w 1500188"/>
                    <a:gd name="connsiteY22" fmla="*/ 1600201 h 2544762"/>
                    <a:gd name="connsiteX23" fmla="*/ 1202532 w 1500188"/>
                    <a:gd name="connsiteY23" fmla="*/ 1678782 h 2544762"/>
                    <a:gd name="connsiteX24" fmla="*/ 1233488 w 1500188"/>
                    <a:gd name="connsiteY24" fmla="*/ 1743074 h 2544762"/>
                    <a:gd name="connsiteX25" fmla="*/ 1288257 w 1500188"/>
                    <a:gd name="connsiteY25" fmla="*/ 1724026 h 2544762"/>
                    <a:gd name="connsiteX26" fmla="*/ 1340644 w 1500188"/>
                    <a:gd name="connsiteY26" fmla="*/ 1723231 h 2544762"/>
                    <a:gd name="connsiteX27" fmla="*/ 1304925 w 1500188"/>
                    <a:gd name="connsiteY27" fmla="*/ 1531144 h 2544762"/>
                    <a:gd name="connsiteX28" fmla="*/ 1357313 w 1500188"/>
                    <a:gd name="connsiteY28" fmla="*/ 1443038 h 2544762"/>
                    <a:gd name="connsiteX29" fmla="*/ 1328738 w 1500188"/>
                    <a:gd name="connsiteY29" fmla="*/ 1388270 h 2544762"/>
                    <a:gd name="connsiteX30" fmla="*/ 1383506 w 1500188"/>
                    <a:gd name="connsiteY30" fmla="*/ 1381125 h 2544762"/>
                    <a:gd name="connsiteX31" fmla="*/ 1435894 w 1500188"/>
                    <a:gd name="connsiteY31" fmla="*/ 1302545 h 2544762"/>
                    <a:gd name="connsiteX32" fmla="*/ 1426369 w 1500188"/>
                    <a:gd name="connsiteY32" fmla="*/ 1254920 h 2544762"/>
                    <a:gd name="connsiteX33" fmla="*/ 1462882 w 1500188"/>
                    <a:gd name="connsiteY33" fmla="*/ 1246187 h 2544762"/>
                    <a:gd name="connsiteX34" fmla="*/ 1500188 w 1500188"/>
                    <a:gd name="connsiteY34" fmla="*/ 1190625 h 2544762"/>
                    <a:gd name="connsiteX35" fmla="*/ 1445419 w 1500188"/>
                    <a:gd name="connsiteY35" fmla="*/ 1007269 h 2544762"/>
                    <a:gd name="connsiteX36" fmla="*/ 1400176 w 1500188"/>
                    <a:gd name="connsiteY36" fmla="*/ 878682 h 2544762"/>
                    <a:gd name="connsiteX37" fmla="*/ 1433513 w 1500188"/>
                    <a:gd name="connsiteY37" fmla="*/ 804863 h 2544762"/>
                    <a:gd name="connsiteX38" fmla="*/ 1383507 w 1500188"/>
                    <a:gd name="connsiteY38" fmla="*/ 664370 h 2544762"/>
                    <a:gd name="connsiteX39" fmla="*/ 1323975 w 1500188"/>
                    <a:gd name="connsiteY39" fmla="*/ 604838 h 2544762"/>
                    <a:gd name="connsiteX40" fmla="*/ 1321594 w 1500188"/>
                    <a:gd name="connsiteY40" fmla="*/ 523876 h 2544762"/>
                    <a:gd name="connsiteX41" fmla="*/ 1302545 w 1500188"/>
                    <a:gd name="connsiteY41" fmla="*/ 445295 h 2544762"/>
                    <a:gd name="connsiteX42" fmla="*/ 1323181 w 1500188"/>
                    <a:gd name="connsiteY42" fmla="*/ 324644 h 2544762"/>
                    <a:gd name="connsiteX43" fmla="*/ 1171575 w 1500188"/>
                    <a:gd name="connsiteY43" fmla="*/ 0 h 2544762"/>
                    <a:gd name="connsiteX44" fmla="*/ 1085850 w 1500188"/>
                    <a:gd name="connsiteY44" fmla="*/ 153193 h 2544762"/>
                    <a:gd name="connsiteX0" fmla="*/ 900112 w 1314450"/>
                    <a:gd name="connsiteY0" fmla="*/ 153193 h 2544762"/>
                    <a:gd name="connsiteX1" fmla="*/ 144462 w 1314450"/>
                    <a:gd name="connsiteY1" fmla="*/ 534987 h 2544762"/>
                    <a:gd name="connsiteX2" fmla="*/ 0 w 1314450"/>
                    <a:gd name="connsiteY2" fmla="*/ 1432718 h 2544762"/>
                    <a:gd name="connsiteX3" fmla="*/ 130968 w 1314450"/>
                    <a:gd name="connsiteY3" fmla="*/ 1795464 h 2544762"/>
                    <a:gd name="connsiteX4" fmla="*/ 135731 w 1314450"/>
                    <a:gd name="connsiteY4" fmla="*/ 1971675 h 2544762"/>
                    <a:gd name="connsiteX5" fmla="*/ 80962 w 1314450"/>
                    <a:gd name="connsiteY5" fmla="*/ 2064545 h 2544762"/>
                    <a:gd name="connsiteX6" fmla="*/ 96837 w 1314450"/>
                    <a:gd name="connsiteY6" fmla="*/ 2228056 h 2544762"/>
                    <a:gd name="connsiteX7" fmla="*/ 211931 w 1314450"/>
                    <a:gd name="connsiteY7" fmla="*/ 2422524 h 2544762"/>
                    <a:gd name="connsiteX8" fmla="*/ 392112 w 1314450"/>
                    <a:gd name="connsiteY8" fmla="*/ 2544762 h 2544762"/>
                    <a:gd name="connsiteX9" fmla="*/ 554830 w 1314450"/>
                    <a:gd name="connsiteY9" fmla="*/ 2409825 h 2544762"/>
                    <a:gd name="connsiteX10" fmla="*/ 559593 w 1314450"/>
                    <a:gd name="connsiteY10" fmla="*/ 2336007 h 2544762"/>
                    <a:gd name="connsiteX11" fmla="*/ 623888 w 1314450"/>
                    <a:gd name="connsiteY11" fmla="*/ 2300288 h 2544762"/>
                    <a:gd name="connsiteX12" fmla="*/ 626268 w 1314450"/>
                    <a:gd name="connsiteY12" fmla="*/ 2183607 h 2544762"/>
                    <a:gd name="connsiteX13" fmla="*/ 583405 w 1314450"/>
                    <a:gd name="connsiteY13" fmla="*/ 2169320 h 2544762"/>
                    <a:gd name="connsiteX14" fmla="*/ 504825 w 1314450"/>
                    <a:gd name="connsiteY14" fmla="*/ 2014538 h 2544762"/>
                    <a:gd name="connsiteX15" fmla="*/ 447675 w 1314450"/>
                    <a:gd name="connsiteY15" fmla="*/ 1704975 h 2544762"/>
                    <a:gd name="connsiteX16" fmla="*/ 359569 w 1314450"/>
                    <a:gd name="connsiteY16" fmla="*/ 1638301 h 2544762"/>
                    <a:gd name="connsiteX17" fmla="*/ 540543 w 1314450"/>
                    <a:gd name="connsiteY17" fmla="*/ 1628775 h 2544762"/>
                    <a:gd name="connsiteX18" fmla="*/ 631031 w 1314450"/>
                    <a:gd name="connsiteY18" fmla="*/ 1540669 h 2544762"/>
                    <a:gd name="connsiteX19" fmla="*/ 847725 w 1314450"/>
                    <a:gd name="connsiteY19" fmla="*/ 1543050 h 2544762"/>
                    <a:gd name="connsiteX20" fmla="*/ 900112 w 1314450"/>
                    <a:gd name="connsiteY20" fmla="*/ 1590676 h 2544762"/>
                    <a:gd name="connsiteX21" fmla="*/ 890587 w 1314450"/>
                    <a:gd name="connsiteY21" fmla="*/ 1628776 h 2544762"/>
                    <a:gd name="connsiteX22" fmla="*/ 969168 w 1314450"/>
                    <a:gd name="connsiteY22" fmla="*/ 1600201 h 2544762"/>
                    <a:gd name="connsiteX23" fmla="*/ 1016794 w 1314450"/>
                    <a:gd name="connsiteY23" fmla="*/ 1678782 h 2544762"/>
                    <a:gd name="connsiteX24" fmla="*/ 1047750 w 1314450"/>
                    <a:gd name="connsiteY24" fmla="*/ 1743074 h 2544762"/>
                    <a:gd name="connsiteX25" fmla="*/ 1102519 w 1314450"/>
                    <a:gd name="connsiteY25" fmla="*/ 1724026 h 2544762"/>
                    <a:gd name="connsiteX26" fmla="*/ 1154906 w 1314450"/>
                    <a:gd name="connsiteY26" fmla="*/ 1723231 h 2544762"/>
                    <a:gd name="connsiteX27" fmla="*/ 1119187 w 1314450"/>
                    <a:gd name="connsiteY27" fmla="*/ 1531144 h 2544762"/>
                    <a:gd name="connsiteX28" fmla="*/ 1171575 w 1314450"/>
                    <a:gd name="connsiteY28" fmla="*/ 1443038 h 2544762"/>
                    <a:gd name="connsiteX29" fmla="*/ 1143000 w 1314450"/>
                    <a:gd name="connsiteY29" fmla="*/ 1388270 h 2544762"/>
                    <a:gd name="connsiteX30" fmla="*/ 1197768 w 1314450"/>
                    <a:gd name="connsiteY30" fmla="*/ 1381125 h 2544762"/>
                    <a:gd name="connsiteX31" fmla="*/ 1250156 w 1314450"/>
                    <a:gd name="connsiteY31" fmla="*/ 1302545 h 2544762"/>
                    <a:gd name="connsiteX32" fmla="*/ 1240631 w 1314450"/>
                    <a:gd name="connsiteY32" fmla="*/ 1254920 h 2544762"/>
                    <a:gd name="connsiteX33" fmla="*/ 1277144 w 1314450"/>
                    <a:gd name="connsiteY33" fmla="*/ 1246187 h 2544762"/>
                    <a:gd name="connsiteX34" fmla="*/ 1314450 w 1314450"/>
                    <a:gd name="connsiteY34" fmla="*/ 1190625 h 2544762"/>
                    <a:gd name="connsiteX35" fmla="*/ 1259681 w 1314450"/>
                    <a:gd name="connsiteY35" fmla="*/ 1007269 h 2544762"/>
                    <a:gd name="connsiteX36" fmla="*/ 1214438 w 1314450"/>
                    <a:gd name="connsiteY36" fmla="*/ 878682 h 2544762"/>
                    <a:gd name="connsiteX37" fmla="*/ 1247775 w 1314450"/>
                    <a:gd name="connsiteY37" fmla="*/ 804863 h 2544762"/>
                    <a:gd name="connsiteX38" fmla="*/ 1197769 w 1314450"/>
                    <a:gd name="connsiteY38" fmla="*/ 664370 h 2544762"/>
                    <a:gd name="connsiteX39" fmla="*/ 1138237 w 1314450"/>
                    <a:gd name="connsiteY39" fmla="*/ 604838 h 2544762"/>
                    <a:gd name="connsiteX40" fmla="*/ 1135856 w 1314450"/>
                    <a:gd name="connsiteY40" fmla="*/ 523876 h 2544762"/>
                    <a:gd name="connsiteX41" fmla="*/ 1116807 w 1314450"/>
                    <a:gd name="connsiteY41" fmla="*/ 445295 h 2544762"/>
                    <a:gd name="connsiteX42" fmla="*/ 1137443 w 1314450"/>
                    <a:gd name="connsiteY42" fmla="*/ 324644 h 2544762"/>
                    <a:gd name="connsiteX43" fmla="*/ 985837 w 1314450"/>
                    <a:gd name="connsiteY43" fmla="*/ 0 h 2544762"/>
                    <a:gd name="connsiteX44" fmla="*/ 900112 w 1314450"/>
                    <a:gd name="connsiteY44" fmla="*/ 153193 h 2544762"/>
                    <a:gd name="connsiteX0" fmla="*/ 900112 w 1314450"/>
                    <a:gd name="connsiteY0" fmla="*/ 153193 h 2544762"/>
                    <a:gd name="connsiteX1" fmla="*/ 144462 w 1314450"/>
                    <a:gd name="connsiteY1" fmla="*/ 534987 h 2544762"/>
                    <a:gd name="connsiteX2" fmla="*/ 76200 w 1314450"/>
                    <a:gd name="connsiteY2" fmla="*/ 981076 h 2544762"/>
                    <a:gd name="connsiteX3" fmla="*/ 0 w 1314450"/>
                    <a:gd name="connsiteY3" fmla="*/ 1432718 h 2544762"/>
                    <a:gd name="connsiteX4" fmla="*/ 130968 w 1314450"/>
                    <a:gd name="connsiteY4" fmla="*/ 1795464 h 2544762"/>
                    <a:gd name="connsiteX5" fmla="*/ 135731 w 1314450"/>
                    <a:gd name="connsiteY5" fmla="*/ 1971675 h 2544762"/>
                    <a:gd name="connsiteX6" fmla="*/ 80962 w 1314450"/>
                    <a:gd name="connsiteY6" fmla="*/ 2064545 h 2544762"/>
                    <a:gd name="connsiteX7" fmla="*/ 96837 w 1314450"/>
                    <a:gd name="connsiteY7" fmla="*/ 2228056 h 2544762"/>
                    <a:gd name="connsiteX8" fmla="*/ 211931 w 1314450"/>
                    <a:gd name="connsiteY8" fmla="*/ 2422524 h 2544762"/>
                    <a:gd name="connsiteX9" fmla="*/ 392112 w 1314450"/>
                    <a:gd name="connsiteY9" fmla="*/ 2544762 h 2544762"/>
                    <a:gd name="connsiteX10" fmla="*/ 554830 w 1314450"/>
                    <a:gd name="connsiteY10" fmla="*/ 2409825 h 2544762"/>
                    <a:gd name="connsiteX11" fmla="*/ 559593 w 1314450"/>
                    <a:gd name="connsiteY11" fmla="*/ 2336007 h 2544762"/>
                    <a:gd name="connsiteX12" fmla="*/ 623888 w 1314450"/>
                    <a:gd name="connsiteY12" fmla="*/ 2300288 h 2544762"/>
                    <a:gd name="connsiteX13" fmla="*/ 626268 w 1314450"/>
                    <a:gd name="connsiteY13" fmla="*/ 2183607 h 2544762"/>
                    <a:gd name="connsiteX14" fmla="*/ 583405 w 1314450"/>
                    <a:gd name="connsiteY14" fmla="*/ 2169320 h 2544762"/>
                    <a:gd name="connsiteX15" fmla="*/ 504825 w 1314450"/>
                    <a:gd name="connsiteY15" fmla="*/ 2014538 h 2544762"/>
                    <a:gd name="connsiteX16" fmla="*/ 447675 w 1314450"/>
                    <a:gd name="connsiteY16" fmla="*/ 1704975 h 2544762"/>
                    <a:gd name="connsiteX17" fmla="*/ 359569 w 1314450"/>
                    <a:gd name="connsiteY17" fmla="*/ 1638301 h 2544762"/>
                    <a:gd name="connsiteX18" fmla="*/ 540543 w 1314450"/>
                    <a:gd name="connsiteY18" fmla="*/ 1628775 h 2544762"/>
                    <a:gd name="connsiteX19" fmla="*/ 631031 w 1314450"/>
                    <a:gd name="connsiteY19" fmla="*/ 1540669 h 2544762"/>
                    <a:gd name="connsiteX20" fmla="*/ 847725 w 1314450"/>
                    <a:gd name="connsiteY20" fmla="*/ 1543050 h 2544762"/>
                    <a:gd name="connsiteX21" fmla="*/ 900112 w 1314450"/>
                    <a:gd name="connsiteY21" fmla="*/ 1590676 h 2544762"/>
                    <a:gd name="connsiteX22" fmla="*/ 890587 w 1314450"/>
                    <a:gd name="connsiteY22" fmla="*/ 1628776 h 2544762"/>
                    <a:gd name="connsiteX23" fmla="*/ 969168 w 1314450"/>
                    <a:gd name="connsiteY23" fmla="*/ 1600201 h 2544762"/>
                    <a:gd name="connsiteX24" fmla="*/ 1016794 w 1314450"/>
                    <a:gd name="connsiteY24" fmla="*/ 1678782 h 2544762"/>
                    <a:gd name="connsiteX25" fmla="*/ 1047750 w 1314450"/>
                    <a:gd name="connsiteY25" fmla="*/ 1743074 h 2544762"/>
                    <a:gd name="connsiteX26" fmla="*/ 1102519 w 1314450"/>
                    <a:gd name="connsiteY26" fmla="*/ 1724026 h 2544762"/>
                    <a:gd name="connsiteX27" fmla="*/ 1154906 w 1314450"/>
                    <a:gd name="connsiteY27" fmla="*/ 1723231 h 2544762"/>
                    <a:gd name="connsiteX28" fmla="*/ 1119187 w 1314450"/>
                    <a:gd name="connsiteY28" fmla="*/ 1531144 h 2544762"/>
                    <a:gd name="connsiteX29" fmla="*/ 1171575 w 1314450"/>
                    <a:gd name="connsiteY29" fmla="*/ 1443038 h 2544762"/>
                    <a:gd name="connsiteX30" fmla="*/ 1143000 w 1314450"/>
                    <a:gd name="connsiteY30" fmla="*/ 1388270 h 2544762"/>
                    <a:gd name="connsiteX31" fmla="*/ 1197768 w 1314450"/>
                    <a:gd name="connsiteY31" fmla="*/ 1381125 h 2544762"/>
                    <a:gd name="connsiteX32" fmla="*/ 1250156 w 1314450"/>
                    <a:gd name="connsiteY32" fmla="*/ 1302545 h 2544762"/>
                    <a:gd name="connsiteX33" fmla="*/ 1240631 w 1314450"/>
                    <a:gd name="connsiteY33" fmla="*/ 1254920 h 2544762"/>
                    <a:gd name="connsiteX34" fmla="*/ 1277144 w 1314450"/>
                    <a:gd name="connsiteY34" fmla="*/ 1246187 h 2544762"/>
                    <a:gd name="connsiteX35" fmla="*/ 1314450 w 1314450"/>
                    <a:gd name="connsiteY35" fmla="*/ 1190625 h 2544762"/>
                    <a:gd name="connsiteX36" fmla="*/ 1259681 w 1314450"/>
                    <a:gd name="connsiteY36" fmla="*/ 1007269 h 2544762"/>
                    <a:gd name="connsiteX37" fmla="*/ 1214438 w 1314450"/>
                    <a:gd name="connsiteY37" fmla="*/ 878682 h 2544762"/>
                    <a:gd name="connsiteX38" fmla="*/ 1247775 w 1314450"/>
                    <a:gd name="connsiteY38" fmla="*/ 804863 h 2544762"/>
                    <a:gd name="connsiteX39" fmla="*/ 1197769 w 1314450"/>
                    <a:gd name="connsiteY39" fmla="*/ 664370 h 2544762"/>
                    <a:gd name="connsiteX40" fmla="*/ 1138237 w 1314450"/>
                    <a:gd name="connsiteY40" fmla="*/ 604838 h 2544762"/>
                    <a:gd name="connsiteX41" fmla="*/ 1135856 w 1314450"/>
                    <a:gd name="connsiteY41" fmla="*/ 523876 h 2544762"/>
                    <a:gd name="connsiteX42" fmla="*/ 1116807 w 1314450"/>
                    <a:gd name="connsiteY42" fmla="*/ 445295 h 2544762"/>
                    <a:gd name="connsiteX43" fmla="*/ 1137443 w 1314450"/>
                    <a:gd name="connsiteY43" fmla="*/ 324644 h 2544762"/>
                    <a:gd name="connsiteX44" fmla="*/ 985837 w 1314450"/>
                    <a:gd name="connsiteY44" fmla="*/ 0 h 2544762"/>
                    <a:gd name="connsiteX45" fmla="*/ 900112 w 1314450"/>
                    <a:gd name="connsiteY45" fmla="*/ 153193 h 2544762"/>
                    <a:gd name="connsiteX0" fmla="*/ 900112 w 1314450"/>
                    <a:gd name="connsiteY0" fmla="*/ 153193 h 2544762"/>
                    <a:gd name="connsiteX1" fmla="*/ 144462 w 1314450"/>
                    <a:gd name="connsiteY1" fmla="*/ 534987 h 2544762"/>
                    <a:gd name="connsiteX2" fmla="*/ 2381 w 1314450"/>
                    <a:gd name="connsiteY2" fmla="*/ 1083470 h 2544762"/>
                    <a:gd name="connsiteX3" fmla="*/ 0 w 1314450"/>
                    <a:gd name="connsiteY3" fmla="*/ 1432718 h 2544762"/>
                    <a:gd name="connsiteX4" fmla="*/ 130968 w 1314450"/>
                    <a:gd name="connsiteY4" fmla="*/ 1795464 h 2544762"/>
                    <a:gd name="connsiteX5" fmla="*/ 135731 w 1314450"/>
                    <a:gd name="connsiteY5" fmla="*/ 1971675 h 2544762"/>
                    <a:gd name="connsiteX6" fmla="*/ 80962 w 1314450"/>
                    <a:gd name="connsiteY6" fmla="*/ 2064545 h 2544762"/>
                    <a:gd name="connsiteX7" fmla="*/ 96837 w 1314450"/>
                    <a:gd name="connsiteY7" fmla="*/ 2228056 h 2544762"/>
                    <a:gd name="connsiteX8" fmla="*/ 211931 w 1314450"/>
                    <a:gd name="connsiteY8" fmla="*/ 2422524 h 2544762"/>
                    <a:gd name="connsiteX9" fmla="*/ 392112 w 1314450"/>
                    <a:gd name="connsiteY9" fmla="*/ 2544762 h 2544762"/>
                    <a:gd name="connsiteX10" fmla="*/ 554830 w 1314450"/>
                    <a:gd name="connsiteY10" fmla="*/ 2409825 h 2544762"/>
                    <a:gd name="connsiteX11" fmla="*/ 559593 w 1314450"/>
                    <a:gd name="connsiteY11" fmla="*/ 2336007 h 2544762"/>
                    <a:gd name="connsiteX12" fmla="*/ 623888 w 1314450"/>
                    <a:gd name="connsiteY12" fmla="*/ 2300288 h 2544762"/>
                    <a:gd name="connsiteX13" fmla="*/ 626268 w 1314450"/>
                    <a:gd name="connsiteY13" fmla="*/ 2183607 h 2544762"/>
                    <a:gd name="connsiteX14" fmla="*/ 583405 w 1314450"/>
                    <a:gd name="connsiteY14" fmla="*/ 2169320 h 2544762"/>
                    <a:gd name="connsiteX15" fmla="*/ 504825 w 1314450"/>
                    <a:gd name="connsiteY15" fmla="*/ 2014538 h 2544762"/>
                    <a:gd name="connsiteX16" fmla="*/ 447675 w 1314450"/>
                    <a:gd name="connsiteY16" fmla="*/ 1704975 h 2544762"/>
                    <a:gd name="connsiteX17" fmla="*/ 359569 w 1314450"/>
                    <a:gd name="connsiteY17" fmla="*/ 1638301 h 2544762"/>
                    <a:gd name="connsiteX18" fmla="*/ 540543 w 1314450"/>
                    <a:gd name="connsiteY18" fmla="*/ 1628775 h 2544762"/>
                    <a:gd name="connsiteX19" fmla="*/ 631031 w 1314450"/>
                    <a:gd name="connsiteY19" fmla="*/ 1540669 h 2544762"/>
                    <a:gd name="connsiteX20" fmla="*/ 847725 w 1314450"/>
                    <a:gd name="connsiteY20" fmla="*/ 1543050 h 2544762"/>
                    <a:gd name="connsiteX21" fmla="*/ 900112 w 1314450"/>
                    <a:gd name="connsiteY21" fmla="*/ 1590676 h 2544762"/>
                    <a:gd name="connsiteX22" fmla="*/ 890587 w 1314450"/>
                    <a:gd name="connsiteY22" fmla="*/ 1628776 h 2544762"/>
                    <a:gd name="connsiteX23" fmla="*/ 969168 w 1314450"/>
                    <a:gd name="connsiteY23" fmla="*/ 1600201 h 2544762"/>
                    <a:gd name="connsiteX24" fmla="*/ 1016794 w 1314450"/>
                    <a:gd name="connsiteY24" fmla="*/ 1678782 h 2544762"/>
                    <a:gd name="connsiteX25" fmla="*/ 1047750 w 1314450"/>
                    <a:gd name="connsiteY25" fmla="*/ 1743074 h 2544762"/>
                    <a:gd name="connsiteX26" fmla="*/ 1102519 w 1314450"/>
                    <a:gd name="connsiteY26" fmla="*/ 1724026 h 2544762"/>
                    <a:gd name="connsiteX27" fmla="*/ 1154906 w 1314450"/>
                    <a:gd name="connsiteY27" fmla="*/ 1723231 h 2544762"/>
                    <a:gd name="connsiteX28" fmla="*/ 1119187 w 1314450"/>
                    <a:gd name="connsiteY28" fmla="*/ 1531144 h 2544762"/>
                    <a:gd name="connsiteX29" fmla="*/ 1171575 w 1314450"/>
                    <a:gd name="connsiteY29" fmla="*/ 1443038 h 2544762"/>
                    <a:gd name="connsiteX30" fmla="*/ 1143000 w 1314450"/>
                    <a:gd name="connsiteY30" fmla="*/ 1388270 h 2544762"/>
                    <a:gd name="connsiteX31" fmla="*/ 1197768 w 1314450"/>
                    <a:gd name="connsiteY31" fmla="*/ 1381125 h 2544762"/>
                    <a:gd name="connsiteX32" fmla="*/ 1250156 w 1314450"/>
                    <a:gd name="connsiteY32" fmla="*/ 1302545 h 2544762"/>
                    <a:gd name="connsiteX33" fmla="*/ 1240631 w 1314450"/>
                    <a:gd name="connsiteY33" fmla="*/ 1254920 h 2544762"/>
                    <a:gd name="connsiteX34" fmla="*/ 1277144 w 1314450"/>
                    <a:gd name="connsiteY34" fmla="*/ 1246187 h 2544762"/>
                    <a:gd name="connsiteX35" fmla="*/ 1314450 w 1314450"/>
                    <a:gd name="connsiteY35" fmla="*/ 1190625 h 2544762"/>
                    <a:gd name="connsiteX36" fmla="*/ 1259681 w 1314450"/>
                    <a:gd name="connsiteY36" fmla="*/ 1007269 h 2544762"/>
                    <a:gd name="connsiteX37" fmla="*/ 1214438 w 1314450"/>
                    <a:gd name="connsiteY37" fmla="*/ 878682 h 2544762"/>
                    <a:gd name="connsiteX38" fmla="*/ 1247775 w 1314450"/>
                    <a:gd name="connsiteY38" fmla="*/ 804863 h 2544762"/>
                    <a:gd name="connsiteX39" fmla="*/ 1197769 w 1314450"/>
                    <a:gd name="connsiteY39" fmla="*/ 664370 h 2544762"/>
                    <a:gd name="connsiteX40" fmla="*/ 1138237 w 1314450"/>
                    <a:gd name="connsiteY40" fmla="*/ 604838 h 2544762"/>
                    <a:gd name="connsiteX41" fmla="*/ 1135856 w 1314450"/>
                    <a:gd name="connsiteY41" fmla="*/ 523876 h 2544762"/>
                    <a:gd name="connsiteX42" fmla="*/ 1116807 w 1314450"/>
                    <a:gd name="connsiteY42" fmla="*/ 445295 h 2544762"/>
                    <a:gd name="connsiteX43" fmla="*/ 1137443 w 1314450"/>
                    <a:gd name="connsiteY43" fmla="*/ 324644 h 2544762"/>
                    <a:gd name="connsiteX44" fmla="*/ 985837 w 1314450"/>
                    <a:gd name="connsiteY44" fmla="*/ 0 h 2544762"/>
                    <a:gd name="connsiteX45" fmla="*/ 900112 w 1314450"/>
                    <a:gd name="connsiteY45" fmla="*/ 153193 h 2544762"/>
                    <a:gd name="connsiteX0" fmla="*/ 909902 w 1324240"/>
                    <a:gd name="connsiteY0" fmla="*/ 153193 h 2544762"/>
                    <a:gd name="connsiteX1" fmla="*/ 154252 w 1324240"/>
                    <a:gd name="connsiteY1" fmla="*/ 534987 h 2544762"/>
                    <a:gd name="connsiteX2" fmla="*/ 12171 w 1324240"/>
                    <a:gd name="connsiteY2" fmla="*/ 1083470 h 2544762"/>
                    <a:gd name="connsiteX3" fmla="*/ 9790 w 1324240"/>
                    <a:gd name="connsiteY3" fmla="*/ 1145382 h 2544762"/>
                    <a:gd name="connsiteX4" fmla="*/ 9790 w 1324240"/>
                    <a:gd name="connsiteY4" fmla="*/ 1432718 h 2544762"/>
                    <a:gd name="connsiteX5" fmla="*/ 140758 w 1324240"/>
                    <a:gd name="connsiteY5" fmla="*/ 1795464 h 2544762"/>
                    <a:gd name="connsiteX6" fmla="*/ 145521 w 1324240"/>
                    <a:gd name="connsiteY6" fmla="*/ 1971675 h 2544762"/>
                    <a:gd name="connsiteX7" fmla="*/ 90752 w 1324240"/>
                    <a:gd name="connsiteY7" fmla="*/ 2064545 h 2544762"/>
                    <a:gd name="connsiteX8" fmla="*/ 106627 w 1324240"/>
                    <a:gd name="connsiteY8" fmla="*/ 2228056 h 2544762"/>
                    <a:gd name="connsiteX9" fmla="*/ 221721 w 1324240"/>
                    <a:gd name="connsiteY9" fmla="*/ 2422524 h 2544762"/>
                    <a:gd name="connsiteX10" fmla="*/ 401902 w 1324240"/>
                    <a:gd name="connsiteY10" fmla="*/ 2544762 h 2544762"/>
                    <a:gd name="connsiteX11" fmla="*/ 564620 w 1324240"/>
                    <a:gd name="connsiteY11" fmla="*/ 2409825 h 2544762"/>
                    <a:gd name="connsiteX12" fmla="*/ 569383 w 1324240"/>
                    <a:gd name="connsiteY12" fmla="*/ 2336007 h 2544762"/>
                    <a:gd name="connsiteX13" fmla="*/ 633678 w 1324240"/>
                    <a:gd name="connsiteY13" fmla="*/ 2300288 h 2544762"/>
                    <a:gd name="connsiteX14" fmla="*/ 636058 w 1324240"/>
                    <a:gd name="connsiteY14" fmla="*/ 2183607 h 2544762"/>
                    <a:gd name="connsiteX15" fmla="*/ 593195 w 1324240"/>
                    <a:gd name="connsiteY15" fmla="*/ 2169320 h 2544762"/>
                    <a:gd name="connsiteX16" fmla="*/ 514615 w 1324240"/>
                    <a:gd name="connsiteY16" fmla="*/ 2014538 h 2544762"/>
                    <a:gd name="connsiteX17" fmla="*/ 457465 w 1324240"/>
                    <a:gd name="connsiteY17" fmla="*/ 1704975 h 2544762"/>
                    <a:gd name="connsiteX18" fmla="*/ 369359 w 1324240"/>
                    <a:gd name="connsiteY18" fmla="*/ 1638301 h 2544762"/>
                    <a:gd name="connsiteX19" fmla="*/ 550333 w 1324240"/>
                    <a:gd name="connsiteY19" fmla="*/ 1628775 h 2544762"/>
                    <a:gd name="connsiteX20" fmla="*/ 640821 w 1324240"/>
                    <a:gd name="connsiteY20" fmla="*/ 1540669 h 2544762"/>
                    <a:gd name="connsiteX21" fmla="*/ 857515 w 1324240"/>
                    <a:gd name="connsiteY21" fmla="*/ 1543050 h 2544762"/>
                    <a:gd name="connsiteX22" fmla="*/ 909902 w 1324240"/>
                    <a:gd name="connsiteY22" fmla="*/ 1590676 h 2544762"/>
                    <a:gd name="connsiteX23" fmla="*/ 900377 w 1324240"/>
                    <a:gd name="connsiteY23" fmla="*/ 1628776 h 2544762"/>
                    <a:gd name="connsiteX24" fmla="*/ 978958 w 1324240"/>
                    <a:gd name="connsiteY24" fmla="*/ 1600201 h 2544762"/>
                    <a:gd name="connsiteX25" fmla="*/ 1026584 w 1324240"/>
                    <a:gd name="connsiteY25" fmla="*/ 1678782 h 2544762"/>
                    <a:gd name="connsiteX26" fmla="*/ 1057540 w 1324240"/>
                    <a:gd name="connsiteY26" fmla="*/ 1743074 h 2544762"/>
                    <a:gd name="connsiteX27" fmla="*/ 1112309 w 1324240"/>
                    <a:gd name="connsiteY27" fmla="*/ 1724026 h 2544762"/>
                    <a:gd name="connsiteX28" fmla="*/ 1164696 w 1324240"/>
                    <a:gd name="connsiteY28" fmla="*/ 1723231 h 2544762"/>
                    <a:gd name="connsiteX29" fmla="*/ 1128977 w 1324240"/>
                    <a:gd name="connsiteY29" fmla="*/ 1531144 h 2544762"/>
                    <a:gd name="connsiteX30" fmla="*/ 1181365 w 1324240"/>
                    <a:gd name="connsiteY30" fmla="*/ 1443038 h 2544762"/>
                    <a:gd name="connsiteX31" fmla="*/ 1152790 w 1324240"/>
                    <a:gd name="connsiteY31" fmla="*/ 1388270 h 2544762"/>
                    <a:gd name="connsiteX32" fmla="*/ 1207558 w 1324240"/>
                    <a:gd name="connsiteY32" fmla="*/ 1381125 h 2544762"/>
                    <a:gd name="connsiteX33" fmla="*/ 1259946 w 1324240"/>
                    <a:gd name="connsiteY33" fmla="*/ 1302545 h 2544762"/>
                    <a:gd name="connsiteX34" fmla="*/ 1250421 w 1324240"/>
                    <a:gd name="connsiteY34" fmla="*/ 1254920 h 2544762"/>
                    <a:gd name="connsiteX35" fmla="*/ 1286934 w 1324240"/>
                    <a:gd name="connsiteY35" fmla="*/ 1246187 h 2544762"/>
                    <a:gd name="connsiteX36" fmla="*/ 1324240 w 1324240"/>
                    <a:gd name="connsiteY36" fmla="*/ 1190625 h 2544762"/>
                    <a:gd name="connsiteX37" fmla="*/ 1269471 w 1324240"/>
                    <a:gd name="connsiteY37" fmla="*/ 1007269 h 2544762"/>
                    <a:gd name="connsiteX38" fmla="*/ 1224228 w 1324240"/>
                    <a:gd name="connsiteY38" fmla="*/ 878682 h 2544762"/>
                    <a:gd name="connsiteX39" fmla="*/ 1257565 w 1324240"/>
                    <a:gd name="connsiteY39" fmla="*/ 804863 h 2544762"/>
                    <a:gd name="connsiteX40" fmla="*/ 1207559 w 1324240"/>
                    <a:gd name="connsiteY40" fmla="*/ 664370 h 2544762"/>
                    <a:gd name="connsiteX41" fmla="*/ 1148027 w 1324240"/>
                    <a:gd name="connsiteY41" fmla="*/ 604838 h 2544762"/>
                    <a:gd name="connsiteX42" fmla="*/ 1145646 w 1324240"/>
                    <a:gd name="connsiteY42" fmla="*/ 523876 h 2544762"/>
                    <a:gd name="connsiteX43" fmla="*/ 1126597 w 1324240"/>
                    <a:gd name="connsiteY43" fmla="*/ 445295 h 2544762"/>
                    <a:gd name="connsiteX44" fmla="*/ 1147233 w 1324240"/>
                    <a:gd name="connsiteY44" fmla="*/ 324644 h 2544762"/>
                    <a:gd name="connsiteX45" fmla="*/ 995627 w 1324240"/>
                    <a:gd name="connsiteY45" fmla="*/ 0 h 2544762"/>
                    <a:gd name="connsiteX46" fmla="*/ 909902 w 1324240"/>
                    <a:gd name="connsiteY46" fmla="*/ 153193 h 2544762"/>
                    <a:gd name="connsiteX0" fmla="*/ 915996 w 1330334"/>
                    <a:gd name="connsiteY0" fmla="*/ 153193 h 2544762"/>
                    <a:gd name="connsiteX1" fmla="*/ 160346 w 1330334"/>
                    <a:gd name="connsiteY1" fmla="*/ 534987 h 2544762"/>
                    <a:gd name="connsiteX2" fmla="*/ 18265 w 1330334"/>
                    <a:gd name="connsiteY2" fmla="*/ 1083470 h 2544762"/>
                    <a:gd name="connsiteX3" fmla="*/ 15884 w 1330334"/>
                    <a:gd name="connsiteY3" fmla="*/ 1432718 h 2544762"/>
                    <a:gd name="connsiteX4" fmla="*/ 146852 w 1330334"/>
                    <a:gd name="connsiteY4" fmla="*/ 1795464 h 2544762"/>
                    <a:gd name="connsiteX5" fmla="*/ 151615 w 1330334"/>
                    <a:gd name="connsiteY5" fmla="*/ 1971675 h 2544762"/>
                    <a:gd name="connsiteX6" fmla="*/ 96846 w 1330334"/>
                    <a:gd name="connsiteY6" fmla="*/ 2064545 h 2544762"/>
                    <a:gd name="connsiteX7" fmla="*/ 112721 w 1330334"/>
                    <a:gd name="connsiteY7" fmla="*/ 2228056 h 2544762"/>
                    <a:gd name="connsiteX8" fmla="*/ 227815 w 1330334"/>
                    <a:gd name="connsiteY8" fmla="*/ 2422524 h 2544762"/>
                    <a:gd name="connsiteX9" fmla="*/ 407996 w 1330334"/>
                    <a:gd name="connsiteY9" fmla="*/ 2544762 h 2544762"/>
                    <a:gd name="connsiteX10" fmla="*/ 570714 w 1330334"/>
                    <a:gd name="connsiteY10" fmla="*/ 2409825 h 2544762"/>
                    <a:gd name="connsiteX11" fmla="*/ 575477 w 1330334"/>
                    <a:gd name="connsiteY11" fmla="*/ 2336007 h 2544762"/>
                    <a:gd name="connsiteX12" fmla="*/ 639772 w 1330334"/>
                    <a:gd name="connsiteY12" fmla="*/ 2300288 h 2544762"/>
                    <a:gd name="connsiteX13" fmla="*/ 642152 w 1330334"/>
                    <a:gd name="connsiteY13" fmla="*/ 2183607 h 2544762"/>
                    <a:gd name="connsiteX14" fmla="*/ 599289 w 1330334"/>
                    <a:gd name="connsiteY14" fmla="*/ 2169320 h 2544762"/>
                    <a:gd name="connsiteX15" fmla="*/ 520709 w 1330334"/>
                    <a:gd name="connsiteY15" fmla="*/ 2014538 h 2544762"/>
                    <a:gd name="connsiteX16" fmla="*/ 463559 w 1330334"/>
                    <a:gd name="connsiteY16" fmla="*/ 1704975 h 2544762"/>
                    <a:gd name="connsiteX17" fmla="*/ 375453 w 1330334"/>
                    <a:gd name="connsiteY17" fmla="*/ 1638301 h 2544762"/>
                    <a:gd name="connsiteX18" fmla="*/ 556427 w 1330334"/>
                    <a:gd name="connsiteY18" fmla="*/ 1628775 h 2544762"/>
                    <a:gd name="connsiteX19" fmla="*/ 646915 w 1330334"/>
                    <a:gd name="connsiteY19" fmla="*/ 1540669 h 2544762"/>
                    <a:gd name="connsiteX20" fmla="*/ 863609 w 1330334"/>
                    <a:gd name="connsiteY20" fmla="*/ 1543050 h 2544762"/>
                    <a:gd name="connsiteX21" fmla="*/ 915996 w 1330334"/>
                    <a:gd name="connsiteY21" fmla="*/ 1590676 h 2544762"/>
                    <a:gd name="connsiteX22" fmla="*/ 906471 w 1330334"/>
                    <a:gd name="connsiteY22" fmla="*/ 1628776 h 2544762"/>
                    <a:gd name="connsiteX23" fmla="*/ 985052 w 1330334"/>
                    <a:gd name="connsiteY23" fmla="*/ 1600201 h 2544762"/>
                    <a:gd name="connsiteX24" fmla="*/ 1032678 w 1330334"/>
                    <a:gd name="connsiteY24" fmla="*/ 1678782 h 2544762"/>
                    <a:gd name="connsiteX25" fmla="*/ 1063634 w 1330334"/>
                    <a:gd name="connsiteY25" fmla="*/ 1743074 h 2544762"/>
                    <a:gd name="connsiteX26" fmla="*/ 1118403 w 1330334"/>
                    <a:gd name="connsiteY26" fmla="*/ 1724026 h 2544762"/>
                    <a:gd name="connsiteX27" fmla="*/ 1170790 w 1330334"/>
                    <a:gd name="connsiteY27" fmla="*/ 1723231 h 2544762"/>
                    <a:gd name="connsiteX28" fmla="*/ 1135071 w 1330334"/>
                    <a:gd name="connsiteY28" fmla="*/ 1531144 h 2544762"/>
                    <a:gd name="connsiteX29" fmla="*/ 1187459 w 1330334"/>
                    <a:gd name="connsiteY29" fmla="*/ 1443038 h 2544762"/>
                    <a:gd name="connsiteX30" fmla="*/ 1158884 w 1330334"/>
                    <a:gd name="connsiteY30" fmla="*/ 1388270 h 2544762"/>
                    <a:gd name="connsiteX31" fmla="*/ 1213652 w 1330334"/>
                    <a:gd name="connsiteY31" fmla="*/ 1381125 h 2544762"/>
                    <a:gd name="connsiteX32" fmla="*/ 1266040 w 1330334"/>
                    <a:gd name="connsiteY32" fmla="*/ 1302545 h 2544762"/>
                    <a:gd name="connsiteX33" fmla="*/ 1256515 w 1330334"/>
                    <a:gd name="connsiteY33" fmla="*/ 1254920 h 2544762"/>
                    <a:gd name="connsiteX34" fmla="*/ 1293028 w 1330334"/>
                    <a:gd name="connsiteY34" fmla="*/ 1246187 h 2544762"/>
                    <a:gd name="connsiteX35" fmla="*/ 1330334 w 1330334"/>
                    <a:gd name="connsiteY35" fmla="*/ 1190625 h 2544762"/>
                    <a:gd name="connsiteX36" fmla="*/ 1275565 w 1330334"/>
                    <a:gd name="connsiteY36" fmla="*/ 1007269 h 2544762"/>
                    <a:gd name="connsiteX37" fmla="*/ 1230322 w 1330334"/>
                    <a:gd name="connsiteY37" fmla="*/ 878682 h 2544762"/>
                    <a:gd name="connsiteX38" fmla="*/ 1263659 w 1330334"/>
                    <a:gd name="connsiteY38" fmla="*/ 804863 h 2544762"/>
                    <a:gd name="connsiteX39" fmla="*/ 1213653 w 1330334"/>
                    <a:gd name="connsiteY39" fmla="*/ 664370 h 2544762"/>
                    <a:gd name="connsiteX40" fmla="*/ 1154121 w 1330334"/>
                    <a:gd name="connsiteY40" fmla="*/ 604838 h 2544762"/>
                    <a:gd name="connsiteX41" fmla="*/ 1151740 w 1330334"/>
                    <a:gd name="connsiteY41" fmla="*/ 523876 h 2544762"/>
                    <a:gd name="connsiteX42" fmla="*/ 1132691 w 1330334"/>
                    <a:gd name="connsiteY42" fmla="*/ 445295 h 2544762"/>
                    <a:gd name="connsiteX43" fmla="*/ 1153327 w 1330334"/>
                    <a:gd name="connsiteY43" fmla="*/ 324644 h 2544762"/>
                    <a:gd name="connsiteX44" fmla="*/ 1001721 w 1330334"/>
                    <a:gd name="connsiteY44" fmla="*/ 0 h 2544762"/>
                    <a:gd name="connsiteX45" fmla="*/ 915996 w 1330334"/>
                    <a:gd name="connsiteY45" fmla="*/ 153193 h 2544762"/>
                    <a:gd name="connsiteX0" fmla="*/ 900112 w 1314450"/>
                    <a:gd name="connsiteY0" fmla="*/ 153193 h 2544762"/>
                    <a:gd name="connsiteX1" fmla="*/ 144462 w 1314450"/>
                    <a:gd name="connsiteY1" fmla="*/ 534987 h 2544762"/>
                    <a:gd name="connsiteX2" fmla="*/ 2381 w 1314450"/>
                    <a:gd name="connsiteY2" fmla="*/ 1083470 h 2544762"/>
                    <a:gd name="connsiteX3" fmla="*/ 0 w 1314450"/>
                    <a:gd name="connsiteY3" fmla="*/ 1432718 h 2544762"/>
                    <a:gd name="connsiteX4" fmla="*/ 130968 w 1314450"/>
                    <a:gd name="connsiteY4" fmla="*/ 1795464 h 2544762"/>
                    <a:gd name="connsiteX5" fmla="*/ 135731 w 1314450"/>
                    <a:gd name="connsiteY5" fmla="*/ 1971675 h 2544762"/>
                    <a:gd name="connsiteX6" fmla="*/ 80962 w 1314450"/>
                    <a:gd name="connsiteY6" fmla="*/ 2064545 h 2544762"/>
                    <a:gd name="connsiteX7" fmla="*/ 96837 w 1314450"/>
                    <a:gd name="connsiteY7" fmla="*/ 2228056 h 2544762"/>
                    <a:gd name="connsiteX8" fmla="*/ 211931 w 1314450"/>
                    <a:gd name="connsiteY8" fmla="*/ 2422524 h 2544762"/>
                    <a:gd name="connsiteX9" fmla="*/ 392112 w 1314450"/>
                    <a:gd name="connsiteY9" fmla="*/ 2544762 h 2544762"/>
                    <a:gd name="connsiteX10" fmla="*/ 554830 w 1314450"/>
                    <a:gd name="connsiteY10" fmla="*/ 2409825 h 2544762"/>
                    <a:gd name="connsiteX11" fmla="*/ 559593 w 1314450"/>
                    <a:gd name="connsiteY11" fmla="*/ 2336007 h 2544762"/>
                    <a:gd name="connsiteX12" fmla="*/ 623888 w 1314450"/>
                    <a:gd name="connsiteY12" fmla="*/ 2300288 h 2544762"/>
                    <a:gd name="connsiteX13" fmla="*/ 626268 w 1314450"/>
                    <a:gd name="connsiteY13" fmla="*/ 2183607 h 2544762"/>
                    <a:gd name="connsiteX14" fmla="*/ 583405 w 1314450"/>
                    <a:gd name="connsiteY14" fmla="*/ 2169320 h 2544762"/>
                    <a:gd name="connsiteX15" fmla="*/ 504825 w 1314450"/>
                    <a:gd name="connsiteY15" fmla="*/ 2014538 h 2544762"/>
                    <a:gd name="connsiteX16" fmla="*/ 447675 w 1314450"/>
                    <a:gd name="connsiteY16" fmla="*/ 1704975 h 2544762"/>
                    <a:gd name="connsiteX17" fmla="*/ 359569 w 1314450"/>
                    <a:gd name="connsiteY17" fmla="*/ 1638301 h 2544762"/>
                    <a:gd name="connsiteX18" fmla="*/ 540543 w 1314450"/>
                    <a:gd name="connsiteY18" fmla="*/ 1628775 h 2544762"/>
                    <a:gd name="connsiteX19" fmla="*/ 631031 w 1314450"/>
                    <a:gd name="connsiteY19" fmla="*/ 1540669 h 2544762"/>
                    <a:gd name="connsiteX20" fmla="*/ 847725 w 1314450"/>
                    <a:gd name="connsiteY20" fmla="*/ 1543050 h 2544762"/>
                    <a:gd name="connsiteX21" fmla="*/ 900112 w 1314450"/>
                    <a:gd name="connsiteY21" fmla="*/ 1590676 h 2544762"/>
                    <a:gd name="connsiteX22" fmla="*/ 890587 w 1314450"/>
                    <a:gd name="connsiteY22" fmla="*/ 1628776 h 2544762"/>
                    <a:gd name="connsiteX23" fmla="*/ 969168 w 1314450"/>
                    <a:gd name="connsiteY23" fmla="*/ 1600201 h 2544762"/>
                    <a:gd name="connsiteX24" fmla="*/ 1016794 w 1314450"/>
                    <a:gd name="connsiteY24" fmla="*/ 1678782 h 2544762"/>
                    <a:gd name="connsiteX25" fmla="*/ 1047750 w 1314450"/>
                    <a:gd name="connsiteY25" fmla="*/ 1743074 h 2544762"/>
                    <a:gd name="connsiteX26" fmla="*/ 1102519 w 1314450"/>
                    <a:gd name="connsiteY26" fmla="*/ 1724026 h 2544762"/>
                    <a:gd name="connsiteX27" fmla="*/ 1154906 w 1314450"/>
                    <a:gd name="connsiteY27" fmla="*/ 1723231 h 2544762"/>
                    <a:gd name="connsiteX28" fmla="*/ 1119187 w 1314450"/>
                    <a:gd name="connsiteY28" fmla="*/ 1531144 h 2544762"/>
                    <a:gd name="connsiteX29" fmla="*/ 1171575 w 1314450"/>
                    <a:gd name="connsiteY29" fmla="*/ 1443038 h 2544762"/>
                    <a:gd name="connsiteX30" fmla="*/ 1143000 w 1314450"/>
                    <a:gd name="connsiteY30" fmla="*/ 1388270 h 2544762"/>
                    <a:gd name="connsiteX31" fmla="*/ 1197768 w 1314450"/>
                    <a:gd name="connsiteY31" fmla="*/ 1381125 h 2544762"/>
                    <a:gd name="connsiteX32" fmla="*/ 1250156 w 1314450"/>
                    <a:gd name="connsiteY32" fmla="*/ 1302545 h 2544762"/>
                    <a:gd name="connsiteX33" fmla="*/ 1240631 w 1314450"/>
                    <a:gd name="connsiteY33" fmla="*/ 1254920 h 2544762"/>
                    <a:gd name="connsiteX34" fmla="*/ 1277144 w 1314450"/>
                    <a:gd name="connsiteY34" fmla="*/ 1246187 h 2544762"/>
                    <a:gd name="connsiteX35" fmla="*/ 1314450 w 1314450"/>
                    <a:gd name="connsiteY35" fmla="*/ 1190625 h 2544762"/>
                    <a:gd name="connsiteX36" fmla="*/ 1259681 w 1314450"/>
                    <a:gd name="connsiteY36" fmla="*/ 1007269 h 2544762"/>
                    <a:gd name="connsiteX37" fmla="*/ 1214438 w 1314450"/>
                    <a:gd name="connsiteY37" fmla="*/ 878682 h 2544762"/>
                    <a:gd name="connsiteX38" fmla="*/ 1247775 w 1314450"/>
                    <a:gd name="connsiteY38" fmla="*/ 804863 h 2544762"/>
                    <a:gd name="connsiteX39" fmla="*/ 1197769 w 1314450"/>
                    <a:gd name="connsiteY39" fmla="*/ 664370 h 2544762"/>
                    <a:gd name="connsiteX40" fmla="*/ 1138237 w 1314450"/>
                    <a:gd name="connsiteY40" fmla="*/ 604838 h 2544762"/>
                    <a:gd name="connsiteX41" fmla="*/ 1135856 w 1314450"/>
                    <a:gd name="connsiteY41" fmla="*/ 523876 h 2544762"/>
                    <a:gd name="connsiteX42" fmla="*/ 1116807 w 1314450"/>
                    <a:gd name="connsiteY42" fmla="*/ 445295 h 2544762"/>
                    <a:gd name="connsiteX43" fmla="*/ 1137443 w 1314450"/>
                    <a:gd name="connsiteY43" fmla="*/ 324644 h 2544762"/>
                    <a:gd name="connsiteX44" fmla="*/ 985837 w 1314450"/>
                    <a:gd name="connsiteY44" fmla="*/ 0 h 2544762"/>
                    <a:gd name="connsiteX45" fmla="*/ 900112 w 1314450"/>
                    <a:gd name="connsiteY45" fmla="*/ 153193 h 2544762"/>
                    <a:gd name="connsiteX0" fmla="*/ 909902 w 1324240"/>
                    <a:gd name="connsiteY0" fmla="*/ 153193 h 2544762"/>
                    <a:gd name="connsiteX1" fmla="*/ 154252 w 1324240"/>
                    <a:gd name="connsiteY1" fmla="*/ 534987 h 2544762"/>
                    <a:gd name="connsiteX2" fmla="*/ 12171 w 1324240"/>
                    <a:gd name="connsiteY2" fmla="*/ 1083470 h 2544762"/>
                    <a:gd name="connsiteX3" fmla="*/ 9790 w 1324240"/>
                    <a:gd name="connsiteY3" fmla="*/ 1204913 h 2544762"/>
                    <a:gd name="connsiteX4" fmla="*/ 9790 w 1324240"/>
                    <a:gd name="connsiteY4" fmla="*/ 1432718 h 2544762"/>
                    <a:gd name="connsiteX5" fmla="*/ 140758 w 1324240"/>
                    <a:gd name="connsiteY5" fmla="*/ 1795464 h 2544762"/>
                    <a:gd name="connsiteX6" fmla="*/ 145521 w 1324240"/>
                    <a:gd name="connsiteY6" fmla="*/ 1971675 h 2544762"/>
                    <a:gd name="connsiteX7" fmla="*/ 90752 w 1324240"/>
                    <a:gd name="connsiteY7" fmla="*/ 2064545 h 2544762"/>
                    <a:gd name="connsiteX8" fmla="*/ 106627 w 1324240"/>
                    <a:gd name="connsiteY8" fmla="*/ 2228056 h 2544762"/>
                    <a:gd name="connsiteX9" fmla="*/ 221721 w 1324240"/>
                    <a:gd name="connsiteY9" fmla="*/ 2422524 h 2544762"/>
                    <a:gd name="connsiteX10" fmla="*/ 401902 w 1324240"/>
                    <a:gd name="connsiteY10" fmla="*/ 2544762 h 2544762"/>
                    <a:gd name="connsiteX11" fmla="*/ 564620 w 1324240"/>
                    <a:gd name="connsiteY11" fmla="*/ 2409825 h 2544762"/>
                    <a:gd name="connsiteX12" fmla="*/ 569383 w 1324240"/>
                    <a:gd name="connsiteY12" fmla="*/ 2336007 h 2544762"/>
                    <a:gd name="connsiteX13" fmla="*/ 633678 w 1324240"/>
                    <a:gd name="connsiteY13" fmla="*/ 2300288 h 2544762"/>
                    <a:gd name="connsiteX14" fmla="*/ 636058 w 1324240"/>
                    <a:gd name="connsiteY14" fmla="*/ 2183607 h 2544762"/>
                    <a:gd name="connsiteX15" fmla="*/ 593195 w 1324240"/>
                    <a:gd name="connsiteY15" fmla="*/ 2169320 h 2544762"/>
                    <a:gd name="connsiteX16" fmla="*/ 514615 w 1324240"/>
                    <a:gd name="connsiteY16" fmla="*/ 2014538 h 2544762"/>
                    <a:gd name="connsiteX17" fmla="*/ 457465 w 1324240"/>
                    <a:gd name="connsiteY17" fmla="*/ 1704975 h 2544762"/>
                    <a:gd name="connsiteX18" fmla="*/ 369359 w 1324240"/>
                    <a:gd name="connsiteY18" fmla="*/ 1638301 h 2544762"/>
                    <a:gd name="connsiteX19" fmla="*/ 550333 w 1324240"/>
                    <a:gd name="connsiteY19" fmla="*/ 1628775 h 2544762"/>
                    <a:gd name="connsiteX20" fmla="*/ 640821 w 1324240"/>
                    <a:gd name="connsiteY20" fmla="*/ 1540669 h 2544762"/>
                    <a:gd name="connsiteX21" fmla="*/ 857515 w 1324240"/>
                    <a:gd name="connsiteY21" fmla="*/ 1543050 h 2544762"/>
                    <a:gd name="connsiteX22" fmla="*/ 909902 w 1324240"/>
                    <a:gd name="connsiteY22" fmla="*/ 1590676 h 2544762"/>
                    <a:gd name="connsiteX23" fmla="*/ 900377 w 1324240"/>
                    <a:gd name="connsiteY23" fmla="*/ 1628776 h 2544762"/>
                    <a:gd name="connsiteX24" fmla="*/ 978958 w 1324240"/>
                    <a:gd name="connsiteY24" fmla="*/ 1600201 h 2544762"/>
                    <a:gd name="connsiteX25" fmla="*/ 1026584 w 1324240"/>
                    <a:gd name="connsiteY25" fmla="*/ 1678782 h 2544762"/>
                    <a:gd name="connsiteX26" fmla="*/ 1057540 w 1324240"/>
                    <a:gd name="connsiteY26" fmla="*/ 1743074 h 2544762"/>
                    <a:gd name="connsiteX27" fmla="*/ 1112309 w 1324240"/>
                    <a:gd name="connsiteY27" fmla="*/ 1724026 h 2544762"/>
                    <a:gd name="connsiteX28" fmla="*/ 1164696 w 1324240"/>
                    <a:gd name="connsiteY28" fmla="*/ 1723231 h 2544762"/>
                    <a:gd name="connsiteX29" fmla="*/ 1128977 w 1324240"/>
                    <a:gd name="connsiteY29" fmla="*/ 1531144 h 2544762"/>
                    <a:gd name="connsiteX30" fmla="*/ 1181365 w 1324240"/>
                    <a:gd name="connsiteY30" fmla="*/ 1443038 h 2544762"/>
                    <a:gd name="connsiteX31" fmla="*/ 1152790 w 1324240"/>
                    <a:gd name="connsiteY31" fmla="*/ 1388270 h 2544762"/>
                    <a:gd name="connsiteX32" fmla="*/ 1207558 w 1324240"/>
                    <a:gd name="connsiteY32" fmla="*/ 1381125 h 2544762"/>
                    <a:gd name="connsiteX33" fmla="*/ 1259946 w 1324240"/>
                    <a:gd name="connsiteY33" fmla="*/ 1302545 h 2544762"/>
                    <a:gd name="connsiteX34" fmla="*/ 1250421 w 1324240"/>
                    <a:gd name="connsiteY34" fmla="*/ 1254920 h 2544762"/>
                    <a:gd name="connsiteX35" fmla="*/ 1286934 w 1324240"/>
                    <a:gd name="connsiteY35" fmla="*/ 1246187 h 2544762"/>
                    <a:gd name="connsiteX36" fmla="*/ 1324240 w 1324240"/>
                    <a:gd name="connsiteY36" fmla="*/ 1190625 h 2544762"/>
                    <a:gd name="connsiteX37" fmla="*/ 1269471 w 1324240"/>
                    <a:gd name="connsiteY37" fmla="*/ 1007269 h 2544762"/>
                    <a:gd name="connsiteX38" fmla="*/ 1224228 w 1324240"/>
                    <a:gd name="connsiteY38" fmla="*/ 878682 h 2544762"/>
                    <a:gd name="connsiteX39" fmla="*/ 1257565 w 1324240"/>
                    <a:gd name="connsiteY39" fmla="*/ 804863 h 2544762"/>
                    <a:gd name="connsiteX40" fmla="*/ 1207559 w 1324240"/>
                    <a:gd name="connsiteY40" fmla="*/ 664370 h 2544762"/>
                    <a:gd name="connsiteX41" fmla="*/ 1148027 w 1324240"/>
                    <a:gd name="connsiteY41" fmla="*/ 604838 h 2544762"/>
                    <a:gd name="connsiteX42" fmla="*/ 1145646 w 1324240"/>
                    <a:gd name="connsiteY42" fmla="*/ 523876 h 2544762"/>
                    <a:gd name="connsiteX43" fmla="*/ 1126597 w 1324240"/>
                    <a:gd name="connsiteY43" fmla="*/ 445295 h 2544762"/>
                    <a:gd name="connsiteX44" fmla="*/ 1147233 w 1324240"/>
                    <a:gd name="connsiteY44" fmla="*/ 324644 h 2544762"/>
                    <a:gd name="connsiteX45" fmla="*/ 995627 w 1324240"/>
                    <a:gd name="connsiteY45" fmla="*/ 0 h 2544762"/>
                    <a:gd name="connsiteX46" fmla="*/ 909902 w 1324240"/>
                    <a:gd name="connsiteY46" fmla="*/ 153193 h 2544762"/>
                    <a:gd name="connsiteX0" fmla="*/ 1235868 w 1650206"/>
                    <a:gd name="connsiteY0" fmla="*/ 153193 h 2544762"/>
                    <a:gd name="connsiteX1" fmla="*/ 480218 w 1650206"/>
                    <a:gd name="connsiteY1" fmla="*/ 534987 h 2544762"/>
                    <a:gd name="connsiteX2" fmla="*/ 338137 w 1650206"/>
                    <a:gd name="connsiteY2" fmla="*/ 1083470 h 2544762"/>
                    <a:gd name="connsiteX3" fmla="*/ 0 w 1650206"/>
                    <a:gd name="connsiteY3" fmla="*/ 1231107 h 2544762"/>
                    <a:gd name="connsiteX4" fmla="*/ 335756 w 1650206"/>
                    <a:gd name="connsiteY4" fmla="*/ 1432718 h 2544762"/>
                    <a:gd name="connsiteX5" fmla="*/ 466724 w 1650206"/>
                    <a:gd name="connsiteY5" fmla="*/ 1795464 h 2544762"/>
                    <a:gd name="connsiteX6" fmla="*/ 471487 w 1650206"/>
                    <a:gd name="connsiteY6" fmla="*/ 1971675 h 2544762"/>
                    <a:gd name="connsiteX7" fmla="*/ 416718 w 1650206"/>
                    <a:gd name="connsiteY7" fmla="*/ 2064545 h 2544762"/>
                    <a:gd name="connsiteX8" fmla="*/ 432593 w 1650206"/>
                    <a:gd name="connsiteY8" fmla="*/ 2228056 h 2544762"/>
                    <a:gd name="connsiteX9" fmla="*/ 547687 w 1650206"/>
                    <a:gd name="connsiteY9" fmla="*/ 2422524 h 2544762"/>
                    <a:gd name="connsiteX10" fmla="*/ 727868 w 1650206"/>
                    <a:gd name="connsiteY10" fmla="*/ 2544762 h 2544762"/>
                    <a:gd name="connsiteX11" fmla="*/ 890586 w 1650206"/>
                    <a:gd name="connsiteY11" fmla="*/ 2409825 h 2544762"/>
                    <a:gd name="connsiteX12" fmla="*/ 895349 w 1650206"/>
                    <a:gd name="connsiteY12" fmla="*/ 2336007 h 2544762"/>
                    <a:gd name="connsiteX13" fmla="*/ 959644 w 1650206"/>
                    <a:gd name="connsiteY13" fmla="*/ 2300288 h 2544762"/>
                    <a:gd name="connsiteX14" fmla="*/ 962024 w 1650206"/>
                    <a:gd name="connsiteY14" fmla="*/ 2183607 h 2544762"/>
                    <a:gd name="connsiteX15" fmla="*/ 919161 w 1650206"/>
                    <a:gd name="connsiteY15" fmla="*/ 2169320 h 2544762"/>
                    <a:gd name="connsiteX16" fmla="*/ 840581 w 1650206"/>
                    <a:gd name="connsiteY16" fmla="*/ 2014538 h 2544762"/>
                    <a:gd name="connsiteX17" fmla="*/ 783431 w 1650206"/>
                    <a:gd name="connsiteY17" fmla="*/ 1704975 h 2544762"/>
                    <a:gd name="connsiteX18" fmla="*/ 695325 w 1650206"/>
                    <a:gd name="connsiteY18" fmla="*/ 1638301 h 2544762"/>
                    <a:gd name="connsiteX19" fmla="*/ 876299 w 1650206"/>
                    <a:gd name="connsiteY19" fmla="*/ 1628775 h 2544762"/>
                    <a:gd name="connsiteX20" fmla="*/ 966787 w 1650206"/>
                    <a:gd name="connsiteY20" fmla="*/ 1540669 h 2544762"/>
                    <a:gd name="connsiteX21" fmla="*/ 1183481 w 1650206"/>
                    <a:gd name="connsiteY21" fmla="*/ 1543050 h 2544762"/>
                    <a:gd name="connsiteX22" fmla="*/ 1235868 w 1650206"/>
                    <a:gd name="connsiteY22" fmla="*/ 1590676 h 2544762"/>
                    <a:gd name="connsiteX23" fmla="*/ 1226343 w 1650206"/>
                    <a:gd name="connsiteY23" fmla="*/ 1628776 h 2544762"/>
                    <a:gd name="connsiteX24" fmla="*/ 1304924 w 1650206"/>
                    <a:gd name="connsiteY24" fmla="*/ 1600201 h 2544762"/>
                    <a:gd name="connsiteX25" fmla="*/ 1352550 w 1650206"/>
                    <a:gd name="connsiteY25" fmla="*/ 1678782 h 2544762"/>
                    <a:gd name="connsiteX26" fmla="*/ 1383506 w 1650206"/>
                    <a:gd name="connsiteY26" fmla="*/ 1743074 h 2544762"/>
                    <a:gd name="connsiteX27" fmla="*/ 1438275 w 1650206"/>
                    <a:gd name="connsiteY27" fmla="*/ 1724026 h 2544762"/>
                    <a:gd name="connsiteX28" fmla="*/ 1490662 w 1650206"/>
                    <a:gd name="connsiteY28" fmla="*/ 1723231 h 2544762"/>
                    <a:gd name="connsiteX29" fmla="*/ 1454943 w 1650206"/>
                    <a:gd name="connsiteY29" fmla="*/ 1531144 h 2544762"/>
                    <a:gd name="connsiteX30" fmla="*/ 1507331 w 1650206"/>
                    <a:gd name="connsiteY30" fmla="*/ 1443038 h 2544762"/>
                    <a:gd name="connsiteX31" fmla="*/ 1478756 w 1650206"/>
                    <a:gd name="connsiteY31" fmla="*/ 1388270 h 2544762"/>
                    <a:gd name="connsiteX32" fmla="*/ 1533524 w 1650206"/>
                    <a:gd name="connsiteY32" fmla="*/ 1381125 h 2544762"/>
                    <a:gd name="connsiteX33" fmla="*/ 1585912 w 1650206"/>
                    <a:gd name="connsiteY33" fmla="*/ 1302545 h 2544762"/>
                    <a:gd name="connsiteX34" fmla="*/ 1576387 w 1650206"/>
                    <a:gd name="connsiteY34" fmla="*/ 1254920 h 2544762"/>
                    <a:gd name="connsiteX35" fmla="*/ 1612900 w 1650206"/>
                    <a:gd name="connsiteY35" fmla="*/ 1246187 h 2544762"/>
                    <a:gd name="connsiteX36" fmla="*/ 1650206 w 1650206"/>
                    <a:gd name="connsiteY36" fmla="*/ 1190625 h 2544762"/>
                    <a:gd name="connsiteX37" fmla="*/ 1595437 w 1650206"/>
                    <a:gd name="connsiteY37" fmla="*/ 1007269 h 2544762"/>
                    <a:gd name="connsiteX38" fmla="*/ 1550194 w 1650206"/>
                    <a:gd name="connsiteY38" fmla="*/ 878682 h 2544762"/>
                    <a:gd name="connsiteX39" fmla="*/ 1583531 w 1650206"/>
                    <a:gd name="connsiteY39" fmla="*/ 804863 h 2544762"/>
                    <a:gd name="connsiteX40" fmla="*/ 1533525 w 1650206"/>
                    <a:gd name="connsiteY40" fmla="*/ 664370 h 2544762"/>
                    <a:gd name="connsiteX41" fmla="*/ 1473993 w 1650206"/>
                    <a:gd name="connsiteY41" fmla="*/ 604838 h 2544762"/>
                    <a:gd name="connsiteX42" fmla="*/ 1471612 w 1650206"/>
                    <a:gd name="connsiteY42" fmla="*/ 523876 h 2544762"/>
                    <a:gd name="connsiteX43" fmla="*/ 1452563 w 1650206"/>
                    <a:gd name="connsiteY43" fmla="*/ 445295 h 2544762"/>
                    <a:gd name="connsiteX44" fmla="*/ 1473199 w 1650206"/>
                    <a:gd name="connsiteY44" fmla="*/ 324644 h 2544762"/>
                    <a:gd name="connsiteX45" fmla="*/ 1321593 w 1650206"/>
                    <a:gd name="connsiteY45" fmla="*/ 0 h 2544762"/>
                    <a:gd name="connsiteX46" fmla="*/ 1235868 w 1650206"/>
                    <a:gd name="connsiteY46" fmla="*/ 153193 h 2544762"/>
                    <a:gd name="connsiteX0" fmla="*/ 1235868 w 1650206"/>
                    <a:gd name="connsiteY0" fmla="*/ 153193 h 2544762"/>
                    <a:gd name="connsiteX1" fmla="*/ 480218 w 1650206"/>
                    <a:gd name="connsiteY1" fmla="*/ 534987 h 2544762"/>
                    <a:gd name="connsiteX2" fmla="*/ 338137 w 1650206"/>
                    <a:gd name="connsiteY2" fmla="*/ 1083470 h 2544762"/>
                    <a:gd name="connsiteX3" fmla="*/ 0 w 1650206"/>
                    <a:gd name="connsiteY3" fmla="*/ 1231107 h 2544762"/>
                    <a:gd name="connsiteX4" fmla="*/ 335756 w 1650206"/>
                    <a:gd name="connsiteY4" fmla="*/ 1432718 h 2544762"/>
                    <a:gd name="connsiteX5" fmla="*/ 466724 w 1650206"/>
                    <a:gd name="connsiteY5" fmla="*/ 1795464 h 2544762"/>
                    <a:gd name="connsiteX6" fmla="*/ 471487 w 1650206"/>
                    <a:gd name="connsiteY6" fmla="*/ 1971675 h 2544762"/>
                    <a:gd name="connsiteX7" fmla="*/ 416718 w 1650206"/>
                    <a:gd name="connsiteY7" fmla="*/ 2064545 h 2544762"/>
                    <a:gd name="connsiteX8" fmla="*/ 432593 w 1650206"/>
                    <a:gd name="connsiteY8" fmla="*/ 2228056 h 2544762"/>
                    <a:gd name="connsiteX9" fmla="*/ 547687 w 1650206"/>
                    <a:gd name="connsiteY9" fmla="*/ 2422524 h 2544762"/>
                    <a:gd name="connsiteX10" fmla="*/ 727868 w 1650206"/>
                    <a:gd name="connsiteY10" fmla="*/ 2544762 h 2544762"/>
                    <a:gd name="connsiteX11" fmla="*/ 890586 w 1650206"/>
                    <a:gd name="connsiteY11" fmla="*/ 2409825 h 2544762"/>
                    <a:gd name="connsiteX12" fmla="*/ 895349 w 1650206"/>
                    <a:gd name="connsiteY12" fmla="*/ 2336007 h 2544762"/>
                    <a:gd name="connsiteX13" fmla="*/ 959644 w 1650206"/>
                    <a:gd name="connsiteY13" fmla="*/ 2300288 h 2544762"/>
                    <a:gd name="connsiteX14" fmla="*/ 962024 w 1650206"/>
                    <a:gd name="connsiteY14" fmla="*/ 2183607 h 2544762"/>
                    <a:gd name="connsiteX15" fmla="*/ 919161 w 1650206"/>
                    <a:gd name="connsiteY15" fmla="*/ 2169320 h 2544762"/>
                    <a:gd name="connsiteX16" fmla="*/ 840581 w 1650206"/>
                    <a:gd name="connsiteY16" fmla="*/ 2014538 h 2544762"/>
                    <a:gd name="connsiteX17" fmla="*/ 783431 w 1650206"/>
                    <a:gd name="connsiteY17" fmla="*/ 1704975 h 2544762"/>
                    <a:gd name="connsiteX18" fmla="*/ 695325 w 1650206"/>
                    <a:gd name="connsiteY18" fmla="*/ 1638301 h 2544762"/>
                    <a:gd name="connsiteX19" fmla="*/ 876299 w 1650206"/>
                    <a:gd name="connsiteY19" fmla="*/ 1628775 h 2544762"/>
                    <a:gd name="connsiteX20" fmla="*/ 966787 w 1650206"/>
                    <a:gd name="connsiteY20" fmla="*/ 1540669 h 2544762"/>
                    <a:gd name="connsiteX21" fmla="*/ 1183481 w 1650206"/>
                    <a:gd name="connsiteY21" fmla="*/ 1543050 h 2544762"/>
                    <a:gd name="connsiteX22" fmla="*/ 1235868 w 1650206"/>
                    <a:gd name="connsiteY22" fmla="*/ 1590676 h 2544762"/>
                    <a:gd name="connsiteX23" fmla="*/ 1226343 w 1650206"/>
                    <a:gd name="connsiteY23" fmla="*/ 1628776 h 2544762"/>
                    <a:gd name="connsiteX24" fmla="*/ 1304924 w 1650206"/>
                    <a:gd name="connsiteY24" fmla="*/ 1600201 h 2544762"/>
                    <a:gd name="connsiteX25" fmla="*/ 1352550 w 1650206"/>
                    <a:gd name="connsiteY25" fmla="*/ 1678782 h 2544762"/>
                    <a:gd name="connsiteX26" fmla="*/ 1383506 w 1650206"/>
                    <a:gd name="connsiteY26" fmla="*/ 1743074 h 2544762"/>
                    <a:gd name="connsiteX27" fmla="*/ 1438275 w 1650206"/>
                    <a:gd name="connsiteY27" fmla="*/ 1724026 h 2544762"/>
                    <a:gd name="connsiteX28" fmla="*/ 1490662 w 1650206"/>
                    <a:gd name="connsiteY28" fmla="*/ 1723231 h 2544762"/>
                    <a:gd name="connsiteX29" fmla="*/ 1454943 w 1650206"/>
                    <a:gd name="connsiteY29" fmla="*/ 1531144 h 2544762"/>
                    <a:gd name="connsiteX30" fmla="*/ 1507331 w 1650206"/>
                    <a:gd name="connsiteY30" fmla="*/ 1443038 h 2544762"/>
                    <a:gd name="connsiteX31" fmla="*/ 1478756 w 1650206"/>
                    <a:gd name="connsiteY31" fmla="*/ 1388270 h 2544762"/>
                    <a:gd name="connsiteX32" fmla="*/ 1533524 w 1650206"/>
                    <a:gd name="connsiteY32" fmla="*/ 1381125 h 2544762"/>
                    <a:gd name="connsiteX33" fmla="*/ 1585912 w 1650206"/>
                    <a:gd name="connsiteY33" fmla="*/ 1302545 h 2544762"/>
                    <a:gd name="connsiteX34" fmla="*/ 1576387 w 1650206"/>
                    <a:gd name="connsiteY34" fmla="*/ 1254920 h 2544762"/>
                    <a:gd name="connsiteX35" fmla="*/ 1612900 w 1650206"/>
                    <a:gd name="connsiteY35" fmla="*/ 1246187 h 2544762"/>
                    <a:gd name="connsiteX36" fmla="*/ 1650206 w 1650206"/>
                    <a:gd name="connsiteY36" fmla="*/ 1190625 h 2544762"/>
                    <a:gd name="connsiteX37" fmla="*/ 1595437 w 1650206"/>
                    <a:gd name="connsiteY37" fmla="*/ 1007269 h 2544762"/>
                    <a:gd name="connsiteX38" fmla="*/ 1550194 w 1650206"/>
                    <a:gd name="connsiteY38" fmla="*/ 878682 h 2544762"/>
                    <a:gd name="connsiteX39" fmla="*/ 1583531 w 1650206"/>
                    <a:gd name="connsiteY39" fmla="*/ 804863 h 2544762"/>
                    <a:gd name="connsiteX40" fmla="*/ 1533525 w 1650206"/>
                    <a:gd name="connsiteY40" fmla="*/ 664370 h 2544762"/>
                    <a:gd name="connsiteX41" fmla="*/ 1473993 w 1650206"/>
                    <a:gd name="connsiteY41" fmla="*/ 604838 h 2544762"/>
                    <a:gd name="connsiteX42" fmla="*/ 1471612 w 1650206"/>
                    <a:gd name="connsiteY42" fmla="*/ 523876 h 2544762"/>
                    <a:gd name="connsiteX43" fmla="*/ 1452563 w 1650206"/>
                    <a:gd name="connsiteY43" fmla="*/ 445295 h 2544762"/>
                    <a:gd name="connsiteX44" fmla="*/ 1473199 w 1650206"/>
                    <a:gd name="connsiteY44" fmla="*/ 324644 h 2544762"/>
                    <a:gd name="connsiteX45" fmla="*/ 1321593 w 1650206"/>
                    <a:gd name="connsiteY45" fmla="*/ 0 h 2544762"/>
                    <a:gd name="connsiteX46" fmla="*/ 1235868 w 1650206"/>
                    <a:gd name="connsiteY46" fmla="*/ 153193 h 2544762"/>
                    <a:gd name="connsiteX0" fmla="*/ 1235868 w 1650206"/>
                    <a:gd name="connsiteY0" fmla="*/ 153193 h 2544762"/>
                    <a:gd name="connsiteX1" fmla="*/ 480218 w 1650206"/>
                    <a:gd name="connsiteY1" fmla="*/ 534987 h 2544762"/>
                    <a:gd name="connsiteX2" fmla="*/ 338137 w 1650206"/>
                    <a:gd name="connsiteY2" fmla="*/ 1083470 h 2544762"/>
                    <a:gd name="connsiteX3" fmla="*/ 0 w 1650206"/>
                    <a:gd name="connsiteY3" fmla="*/ 1231107 h 2544762"/>
                    <a:gd name="connsiteX4" fmla="*/ 335756 w 1650206"/>
                    <a:gd name="connsiteY4" fmla="*/ 1432718 h 2544762"/>
                    <a:gd name="connsiteX5" fmla="*/ 466724 w 1650206"/>
                    <a:gd name="connsiteY5" fmla="*/ 1795464 h 2544762"/>
                    <a:gd name="connsiteX6" fmla="*/ 471487 w 1650206"/>
                    <a:gd name="connsiteY6" fmla="*/ 1971675 h 2544762"/>
                    <a:gd name="connsiteX7" fmla="*/ 416718 w 1650206"/>
                    <a:gd name="connsiteY7" fmla="*/ 2064545 h 2544762"/>
                    <a:gd name="connsiteX8" fmla="*/ 432593 w 1650206"/>
                    <a:gd name="connsiteY8" fmla="*/ 2228056 h 2544762"/>
                    <a:gd name="connsiteX9" fmla="*/ 547687 w 1650206"/>
                    <a:gd name="connsiteY9" fmla="*/ 2422524 h 2544762"/>
                    <a:gd name="connsiteX10" fmla="*/ 727868 w 1650206"/>
                    <a:gd name="connsiteY10" fmla="*/ 2544762 h 2544762"/>
                    <a:gd name="connsiteX11" fmla="*/ 890586 w 1650206"/>
                    <a:gd name="connsiteY11" fmla="*/ 2409825 h 2544762"/>
                    <a:gd name="connsiteX12" fmla="*/ 895349 w 1650206"/>
                    <a:gd name="connsiteY12" fmla="*/ 2336007 h 2544762"/>
                    <a:gd name="connsiteX13" fmla="*/ 959644 w 1650206"/>
                    <a:gd name="connsiteY13" fmla="*/ 2300288 h 2544762"/>
                    <a:gd name="connsiteX14" fmla="*/ 962024 w 1650206"/>
                    <a:gd name="connsiteY14" fmla="*/ 2183607 h 2544762"/>
                    <a:gd name="connsiteX15" fmla="*/ 919161 w 1650206"/>
                    <a:gd name="connsiteY15" fmla="*/ 2169320 h 2544762"/>
                    <a:gd name="connsiteX16" fmla="*/ 840581 w 1650206"/>
                    <a:gd name="connsiteY16" fmla="*/ 2014538 h 2544762"/>
                    <a:gd name="connsiteX17" fmla="*/ 783431 w 1650206"/>
                    <a:gd name="connsiteY17" fmla="*/ 1704975 h 2544762"/>
                    <a:gd name="connsiteX18" fmla="*/ 695325 w 1650206"/>
                    <a:gd name="connsiteY18" fmla="*/ 1638301 h 2544762"/>
                    <a:gd name="connsiteX19" fmla="*/ 876299 w 1650206"/>
                    <a:gd name="connsiteY19" fmla="*/ 1628775 h 2544762"/>
                    <a:gd name="connsiteX20" fmla="*/ 966787 w 1650206"/>
                    <a:gd name="connsiteY20" fmla="*/ 1540669 h 2544762"/>
                    <a:gd name="connsiteX21" fmla="*/ 1183481 w 1650206"/>
                    <a:gd name="connsiteY21" fmla="*/ 1543050 h 2544762"/>
                    <a:gd name="connsiteX22" fmla="*/ 1235868 w 1650206"/>
                    <a:gd name="connsiteY22" fmla="*/ 1590676 h 2544762"/>
                    <a:gd name="connsiteX23" fmla="*/ 1226343 w 1650206"/>
                    <a:gd name="connsiteY23" fmla="*/ 1628776 h 2544762"/>
                    <a:gd name="connsiteX24" fmla="*/ 1304924 w 1650206"/>
                    <a:gd name="connsiteY24" fmla="*/ 1600201 h 2544762"/>
                    <a:gd name="connsiteX25" fmla="*/ 1352550 w 1650206"/>
                    <a:gd name="connsiteY25" fmla="*/ 1678782 h 2544762"/>
                    <a:gd name="connsiteX26" fmla="*/ 1383506 w 1650206"/>
                    <a:gd name="connsiteY26" fmla="*/ 1743074 h 2544762"/>
                    <a:gd name="connsiteX27" fmla="*/ 1438275 w 1650206"/>
                    <a:gd name="connsiteY27" fmla="*/ 1724026 h 2544762"/>
                    <a:gd name="connsiteX28" fmla="*/ 1490662 w 1650206"/>
                    <a:gd name="connsiteY28" fmla="*/ 1723231 h 2544762"/>
                    <a:gd name="connsiteX29" fmla="*/ 1454943 w 1650206"/>
                    <a:gd name="connsiteY29" fmla="*/ 1531144 h 2544762"/>
                    <a:gd name="connsiteX30" fmla="*/ 1507331 w 1650206"/>
                    <a:gd name="connsiteY30" fmla="*/ 1443038 h 2544762"/>
                    <a:gd name="connsiteX31" fmla="*/ 1478756 w 1650206"/>
                    <a:gd name="connsiteY31" fmla="*/ 1388270 h 2544762"/>
                    <a:gd name="connsiteX32" fmla="*/ 1533524 w 1650206"/>
                    <a:gd name="connsiteY32" fmla="*/ 1381125 h 2544762"/>
                    <a:gd name="connsiteX33" fmla="*/ 1585912 w 1650206"/>
                    <a:gd name="connsiteY33" fmla="*/ 1302545 h 2544762"/>
                    <a:gd name="connsiteX34" fmla="*/ 1576387 w 1650206"/>
                    <a:gd name="connsiteY34" fmla="*/ 1254920 h 2544762"/>
                    <a:gd name="connsiteX35" fmla="*/ 1612900 w 1650206"/>
                    <a:gd name="connsiteY35" fmla="*/ 1246187 h 2544762"/>
                    <a:gd name="connsiteX36" fmla="*/ 1650206 w 1650206"/>
                    <a:gd name="connsiteY36" fmla="*/ 1190625 h 2544762"/>
                    <a:gd name="connsiteX37" fmla="*/ 1595437 w 1650206"/>
                    <a:gd name="connsiteY37" fmla="*/ 1007269 h 2544762"/>
                    <a:gd name="connsiteX38" fmla="*/ 1550194 w 1650206"/>
                    <a:gd name="connsiteY38" fmla="*/ 878682 h 2544762"/>
                    <a:gd name="connsiteX39" fmla="*/ 1583531 w 1650206"/>
                    <a:gd name="connsiteY39" fmla="*/ 804863 h 2544762"/>
                    <a:gd name="connsiteX40" fmla="*/ 1533525 w 1650206"/>
                    <a:gd name="connsiteY40" fmla="*/ 664370 h 2544762"/>
                    <a:gd name="connsiteX41" fmla="*/ 1473993 w 1650206"/>
                    <a:gd name="connsiteY41" fmla="*/ 604838 h 2544762"/>
                    <a:gd name="connsiteX42" fmla="*/ 1471612 w 1650206"/>
                    <a:gd name="connsiteY42" fmla="*/ 523876 h 2544762"/>
                    <a:gd name="connsiteX43" fmla="*/ 1452563 w 1650206"/>
                    <a:gd name="connsiteY43" fmla="*/ 445295 h 2544762"/>
                    <a:gd name="connsiteX44" fmla="*/ 1473199 w 1650206"/>
                    <a:gd name="connsiteY44" fmla="*/ 324644 h 2544762"/>
                    <a:gd name="connsiteX45" fmla="*/ 1321593 w 1650206"/>
                    <a:gd name="connsiteY45" fmla="*/ 0 h 2544762"/>
                    <a:gd name="connsiteX46" fmla="*/ 1235868 w 1650206"/>
                    <a:gd name="connsiteY46" fmla="*/ 153193 h 2544762"/>
                    <a:gd name="connsiteX0" fmla="*/ 926306 w 1340644"/>
                    <a:gd name="connsiteY0" fmla="*/ 153193 h 2544762"/>
                    <a:gd name="connsiteX1" fmla="*/ 170656 w 1340644"/>
                    <a:gd name="connsiteY1" fmla="*/ 534987 h 2544762"/>
                    <a:gd name="connsiteX2" fmla="*/ 28575 w 1340644"/>
                    <a:gd name="connsiteY2" fmla="*/ 1083470 h 2544762"/>
                    <a:gd name="connsiteX3" fmla="*/ 0 w 1340644"/>
                    <a:gd name="connsiteY3" fmla="*/ 1328738 h 2544762"/>
                    <a:gd name="connsiteX4" fmla="*/ 26194 w 1340644"/>
                    <a:gd name="connsiteY4" fmla="*/ 1432718 h 2544762"/>
                    <a:gd name="connsiteX5" fmla="*/ 157162 w 1340644"/>
                    <a:gd name="connsiteY5" fmla="*/ 1795464 h 2544762"/>
                    <a:gd name="connsiteX6" fmla="*/ 161925 w 1340644"/>
                    <a:gd name="connsiteY6" fmla="*/ 1971675 h 2544762"/>
                    <a:gd name="connsiteX7" fmla="*/ 107156 w 1340644"/>
                    <a:gd name="connsiteY7" fmla="*/ 2064545 h 2544762"/>
                    <a:gd name="connsiteX8" fmla="*/ 123031 w 1340644"/>
                    <a:gd name="connsiteY8" fmla="*/ 2228056 h 2544762"/>
                    <a:gd name="connsiteX9" fmla="*/ 238125 w 1340644"/>
                    <a:gd name="connsiteY9" fmla="*/ 2422524 h 2544762"/>
                    <a:gd name="connsiteX10" fmla="*/ 418306 w 1340644"/>
                    <a:gd name="connsiteY10" fmla="*/ 2544762 h 2544762"/>
                    <a:gd name="connsiteX11" fmla="*/ 581024 w 1340644"/>
                    <a:gd name="connsiteY11" fmla="*/ 2409825 h 2544762"/>
                    <a:gd name="connsiteX12" fmla="*/ 585787 w 1340644"/>
                    <a:gd name="connsiteY12" fmla="*/ 2336007 h 2544762"/>
                    <a:gd name="connsiteX13" fmla="*/ 650082 w 1340644"/>
                    <a:gd name="connsiteY13" fmla="*/ 2300288 h 2544762"/>
                    <a:gd name="connsiteX14" fmla="*/ 652462 w 1340644"/>
                    <a:gd name="connsiteY14" fmla="*/ 2183607 h 2544762"/>
                    <a:gd name="connsiteX15" fmla="*/ 609599 w 1340644"/>
                    <a:gd name="connsiteY15" fmla="*/ 2169320 h 2544762"/>
                    <a:gd name="connsiteX16" fmla="*/ 531019 w 1340644"/>
                    <a:gd name="connsiteY16" fmla="*/ 2014538 h 2544762"/>
                    <a:gd name="connsiteX17" fmla="*/ 473869 w 1340644"/>
                    <a:gd name="connsiteY17" fmla="*/ 1704975 h 2544762"/>
                    <a:gd name="connsiteX18" fmla="*/ 385763 w 1340644"/>
                    <a:gd name="connsiteY18" fmla="*/ 1638301 h 2544762"/>
                    <a:gd name="connsiteX19" fmla="*/ 566737 w 1340644"/>
                    <a:gd name="connsiteY19" fmla="*/ 1628775 h 2544762"/>
                    <a:gd name="connsiteX20" fmla="*/ 657225 w 1340644"/>
                    <a:gd name="connsiteY20" fmla="*/ 1540669 h 2544762"/>
                    <a:gd name="connsiteX21" fmla="*/ 873919 w 1340644"/>
                    <a:gd name="connsiteY21" fmla="*/ 1543050 h 2544762"/>
                    <a:gd name="connsiteX22" fmla="*/ 926306 w 1340644"/>
                    <a:gd name="connsiteY22" fmla="*/ 1590676 h 2544762"/>
                    <a:gd name="connsiteX23" fmla="*/ 916781 w 1340644"/>
                    <a:gd name="connsiteY23" fmla="*/ 1628776 h 2544762"/>
                    <a:gd name="connsiteX24" fmla="*/ 995362 w 1340644"/>
                    <a:gd name="connsiteY24" fmla="*/ 1600201 h 2544762"/>
                    <a:gd name="connsiteX25" fmla="*/ 1042988 w 1340644"/>
                    <a:gd name="connsiteY25" fmla="*/ 1678782 h 2544762"/>
                    <a:gd name="connsiteX26" fmla="*/ 1073944 w 1340644"/>
                    <a:gd name="connsiteY26" fmla="*/ 1743074 h 2544762"/>
                    <a:gd name="connsiteX27" fmla="*/ 1128713 w 1340644"/>
                    <a:gd name="connsiteY27" fmla="*/ 1724026 h 2544762"/>
                    <a:gd name="connsiteX28" fmla="*/ 1181100 w 1340644"/>
                    <a:gd name="connsiteY28" fmla="*/ 1723231 h 2544762"/>
                    <a:gd name="connsiteX29" fmla="*/ 1145381 w 1340644"/>
                    <a:gd name="connsiteY29" fmla="*/ 1531144 h 2544762"/>
                    <a:gd name="connsiteX30" fmla="*/ 1197769 w 1340644"/>
                    <a:gd name="connsiteY30" fmla="*/ 1443038 h 2544762"/>
                    <a:gd name="connsiteX31" fmla="*/ 1169194 w 1340644"/>
                    <a:gd name="connsiteY31" fmla="*/ 1388270 h 2544762"/>
                    <a:gd name="connsiteX32" fmla="*/ 1223962 w 1340644"/>
                    <a:gd name="connsiteY32" fmla="*/ 1381125 h 2544762"/>
                    <a:gd name="connsiteX33" fmla="*/ 1276350 w 1340644"/>
                    <a:gd name="connsiteY33" fmla="*/ 1302545 h 2544762"/>
                    <a:gd name="connsiteX34" fmla="*/ 1266825 w 1340644"/>
                    <a:gd name="connsiteY34" fmla="*/ 1254920 h 2544762"/>
                    <a:gd name="connsiteX35" fmla="*/ 1303338 w 1340644"/>
                    <a:gd name="connsiteY35" fmla="*/ 1246187 h 2544762"/>
                    <a:gd name="connsiteX36" fmla="*/ 1340644 w 1340644"/>
                    <a:gd name="connsiteY36" fmla="*/ 1190625 h 2544762"/>
                    <a:gd name="connsiteX37" fmla="*/ 1285875 w 1340644"/>
                    <a:gd name="connsiteY37" fmla="*/ 1007269 h 2544762"/>
                    <a:gd name="connsiteX38" fmla="*/ 1240632 w 1340644"/>
                    <a:gd name="connsiteY38" fmla="*/ 878682 h 2544762"/>
                    <a:gd name="connsiteX39" fmla="*/ 1273969 w 1340644"/>
                    <a:gd name="connsiteY39" fmla="*/ 804863 h 2544762"/>
                    <a:gd name="connsiteX40" fmla="*/ 1223963 w 1340644"/>
                    <a:gd name="connsiteY40" fmla="*/ 664370 h 2544762"/>
                    <a:gd name="connsiteX41" fmla="*/ 1164431 w 1340644"/>
                    <a:gd name="connsiteY41" fmla="*/ 604838 h 2544762"/>
                    <a:gd name="connsiteX42" fmla="*/ 1162050 w 1340644"/>
                    <a:gd name="connsiteY42" fmla="*/ 523876 h 2544762"/>
                    <a:gd name="connsiteX43" fmla="*/ 1143001 w 1340644"/>
                    <a:gd name="connsiteY43" fmla="*/ 445295 h 2544762"/>
                    <a:gd name="connsiteX44" fmla="*/ 1163637 w 1340644"/>
                    <a:gd name="connsiteY44" fmla="*/ 324644 h 2544762"/>
                    <a:gd name="connsiteX45" fmla="*/ 1012031 w 1340644"/>
                    <a:gd name="connsiteY45" fmla="*/ 0 h 2544762"/>
                    <a:gd name="connsiteX46" fmla="*/ 926306 w 1340644"/>
                    <a:gd name="connsiteY46" fmla="*/ 153193 h 2544762"/>
                    <a:gd name="connsiteX0" fmla="*/ 926306 w 1340644"/>
                    <a:gd name="connsiteY0" fmla="*/ 153193 h 2544762"/>
                    <a:gd name="connsiteX1" fmla="*/ 170656 w 1340644"/>
                    <a:gd name="connsiteY1" fmla="*/ 534987 h 2544762"/>
                    <a:gd name="connsiteX2" fmla="*/ 28575 w 1340644"/>
                    <a:gd name="connsiteY2" fmla="*/ 1083470 h 2544762"/>
                    <a:gd name="connsiteX3" fmla="*/ 14287 w 1340644"/>
                    <a:gd name="connsiteY3" fmla="*/ 1188244 h 2544762"/>
                    <a:gd name="connsiteX4" fmla="*/ 0 w 1340644"/>
                    <a:gd name="connsiteY4" fmla="*/ 1328738 h 2544762"/>
                    <a:gd name="connsiteX5" fmla="*/ 26194 w 1340644"/>
                    <a:gd name="connsiteY5" fmla="*/ 1432718 h 2544762"/>
                    <a:gd name="connsiteX6" fmla="*/ 157162 w 1340644"/>
                    <a:gd name="connsiteY6" fmla="*/ 1795464 h 2544762"/>
                    <a:gd name="connsiteX7" fmla="*/ 161925 w 1340644"/>
                    <a:gd name="connsiteY7" fmla="*/ 1971675 h 2544762"/>
                    <a:gd name="connsiteX8" fmla="*/ 107156 w 1340644"/>
                    <a:gd name="connsiteY8" fmla="*/ 2064545 h 2544762"/>
                    <a:gd name="connsiteX9" fmla="*/ 123031 w 1340644"/>
                    <a:gd name="connsiteY9" fmla="*/ 2228056 h 2544762"/>
                    <a:gd name="connsiteX10" fmla="*/ 238125 w 1340644"/>
                    <a:gd name="connsiteY10" fmla="*/ 2422524 h 2544762"/>
                    <a:gd name="connsiteX11" fmla="*/ 418306 w 1340644"/>
                    <a:gd name="connsiteY11" fmla="*/ 2544762 h 2544762"/>
                    <a:gd name="connsiteX12" fmla="*/ 581024 w 1340644"/>
                    <a:gd name="connsiteY12" fmla="*/ 2409825 h 2544762"/>
                    <a:gd name="connsiteX13" fmla="*/ 585787 w 1340644"/>
                    <a:gd name="connsiteY13" fmla="*/ 2336007 h 2544762"/>
                    <a:gd name="connsiteX14" fmla="*/ 650082 w 1340644"/>
                    <a:gd name="connsiteY14" fmla="*/ 2300288 h 2544762"/>
                    <a:gd name="connsiteX15" fmla="*/ 652462 w 1340644"/>
                    <a:gd name="connsiteY15" fmla="*/ 2183607 h 2544762"/>
                    <a:gd name="connsiteX16" fmla="*/ 609599 w 1340644"/>
                    <a:gd name="connsiteY16" fmla="*/ 2169320 h 2544762"/>
                    <a:gd name="connsiteX17" fmla="*/ 531019 w 1340644"/>
                    <a:gd name="connsiteY17" fmla="*/ 2014538 h 2544762"/>
                    <a:gd name="connsiteX18" fmla="*/ 473869 w 1340644"/>
                    <a:gd name="connsiteY18" fmla="*/ 1704975 h 2544762"/>
                    <a:gd name="connsiteX19" fmla="*/ 385763 w 1340644"/>
                    <a:gd name="connsiteY19" fmla="*/ 1638301 h 2544762"/>
                    <a:gd name="connsiteX20" fmla="*/ 566737 w 1340644"/>
                    <a:gd name="connsiteY20" fmla="*/ 1628775 h 2544762"/>
                    <a:gd name="connsiteX21" fmla="*/ 657225 w 1340644"/>
                    <a:gd name="connsiteY21" fmla="*/ 1540669 h 2544762"/>
                    <a:gd name="connsiteX22" fmla="*/ 873919 w 1340644"/>
                    <a:gd name="connsiteY22" fmla="*/ 1543050 h 2544762"/>
                    <a:gd name="connsiteX23" fmla="*/ 926306 w 1340644"/>
                    <a:gd name="connsiteY23" fmla="*/ 1590676 h 2544762"/>
                    <a:gd name="connsiteX24" fmla="*/ 916781 w 1340644"/>
                    <a:gd name="connsiteY24" fmla="*/ 1628776 h 2544762"/>
                    <a:gd name="connsiteX25" fmla="*/ 995362 w 1340644"/>
                    <a:gd name="connsiteY25" fmla="*/ 1600201 h 2544762"/>
                    <a:gd name="connsiteX26" fmla="*/ 1042988 w 1340644"/>
                    <a:gd name="connsiteY26" fmla="*/ 1678782 h 2544762"/>
                    <a:gd name="connsiteX27" fmla="*/ 1073944 w 1340644"/>
                    <a:gd name="connsiteY27" fmla="*/ 1743074 h 2544762"/>
                    <a:gd name="connsiteX28" fmla="*/ 1128713 w 1340644"/>
                    <a:gd name="connsiteY28" fmla="*/ 1724026 h 2544762"/>
                    <a:gd name="connsiteX29" fmla="*/ 1181100 w 1340644"/>
                    <a:gd name="connsiteY29" fmla="*/ 1723231 h 2544762"/>
                    <a:gd name="connsiteX30" fmla="*/ 1145381 w 1340644"/>
                    <a:gd name="connsiteY30" fmla="*/ 1531144 h 2544762"/>
                    <a:gd name="connsiteX31" fmla="*/ 1197769 w 1340644"/>
                    <a:gd name="connsiteY31" fmla="*/ 1443038 h 2544762"/>
                    <a:gd name="connsiteX32" fmla="*/ 1169194 w 1340644"/>
                    <a:gd name="connsiteY32" fmla="*/ 1388270 h 2544762"/>
                    <a:gd name="connsiteX33" fmla="*/ 1223962 w 1340644"/>
                    <a:gd name="connsiteY33" fmla="*/ 1381125 h 2544762"/>
                    <a:gd name="connsiteX34" fmla="*/ 1276350 w 1340644"/>
                    <a:gd name="connsiteY34" fmla="*/ 1302545 h 2544762"/>
                    <a:gd name="connsiteX35" fmla="*/ 1266825 w 1340644"/>
                    <a:gd name="connsiteY35" fmla="*/ 1254920 h 2544762"/>
                    <a:gd name="connsiteX36" fmla="*/ 1303338 w 1340644"/>
                    <a:gd name="connsiteY36" fmla="*/ 1246187 h 2544762"/>
                    <a:gd name="connsiteX37" fmla="*/ 1340644 w 1340644"/>
                    <a:gd name="connsiteY37" fmla="*/ 1190625 h 2544762"/>
                    <a:gd name="connsiteX38" fmla="*/ 1285875 w 1340644"/>
                    <a:gd name="connsiteY38" fmla="*/ 1007269 h 2544762"/>
                    <a:gd name="connsiteX39" fmla="*/ 1240632 w 1340644"/>
                    <a:gd name="connsiteY39" fmla="*/ 878682 h 2544762"/>
                    <a:gd name="connsiteX40" fmla="*/ 1273969 w 1340644"/>
                    <a:gd name="connsiteY40" fmla="*/ 804863 h 2544762"/>
                    <a:gd name="connsiteX41" fmla="*/ 1223963 w 1340644"/>
                    <a:gd name="connsiteY41" fmla="*/ 664370 h 2544762"/>
                    <a:gd name="connsiteX42" fmla="*/ 1164431 w 1340644"/>
                    <a:gd name="connsiteY42" fmla="*/ 604838 h 2544762"/>
                    <a:gd name="connsiteX43" fmla="*/ 1162050 w 1340644"/>
                    <a:gd name="connsiteY43" fmla="*/ 523876 h 2544762"/>
                    <a:gd name="connsiteX44" fmla="*/ 1143001 w 1340644"/>
                    <a:gd name="connsiteY44" fmla="*/ 445295 h 2544762"/>
                    <a:gd name="connsiteX45" fmla="*/ 1163637 w 1340644"/>
                    <a:gd name="connsiteY45" fmla="*/ 324644 h 2544762"/>
                    <a:gd name="connsiteX46" fmla="*/ 1012031 w 1340644"/>
                    <a:gd name="connsiteY46" fmla="*/ 0 h 2544762"/>
                    <a:gd name="connsiteX47" fmla="*/ 926306 w 1340644"/>
                    <a:gd name="connsiteY47" fmla="*/ 153193 h 2544762"/>
                    <a:gd name="connsiteX0" fmla="*/ 926306 w 1340644"/>
                    <a:gd name="connsiteY0" fmla="*/ 153193 h 2544762"/>
                    <a:gd name="connsiteX1" fmla="*/ 170656 w 1340644"/>
                    <a:gd name="connsiteY1" fmla="*/ 534987 h 2544762"/>
                    <a:gd name="connsiteX2" fmla="*/ 28575 w 1340644"/>
                    <a:gd name="connsiteY2" fmla="*/ 1083470 h 2544762"/>
                    <a:gd name="connsiteX3" fmla="*/ 0 w 1340644"/>
                    <a:gd name="connsiteY3" fmla="*/ 1188244 h 2544762"/>
                    <a:gd name="connsiteX4" fmla="*/ 0 w 1340644"/>
                    <a:gd name="connsiteY4" fmla="*/ 1328738 h 2544762"/>
                    <a:gd name="connsiteX5" fmla="*/ 26194 w 1340644"/>
                    <a:gd name="connsiteY5" fmla="*/ 1432718 h 2544762"/>
                    <a:gd name="connsiteX6" fmla="*/ 157162 w 1340644"/>
                    <a:gd name="connsiteY6" fmla="*/ 1795464 h 2544762"/>
                    <a:gd name="connsiteX7" fmla="*/ 161925 w 1340644"/>
                    <a:gd name="connsiteY7" fmla="*/ 1971675 h 2544762"/>
                    <a:gd name="connsiteX8" fmla="*/ 107156 w 1340644"/>
                    <a:gd name="connsiteY8" fmla="*/ 2064545 h 2544762"/>
                    <a:gd name="connsiteX9" fmla="*/ 123031 w 1340644"/>
                    <a:gd name="connsiteY9" fmla="*/ 2228056 h 2544762"/>
                    <a:gd name="connsiteX10" fmla="*/ 238125 w 1340644"/>
                    <a:gd name="connsiteY10" fmla="*/ 2422524 h 2544762"/>
                    <a:gd name="connsiteX11" fmla="*/ 418306 w 1340644"/>
                    <a:gd name="connsiteY11" fmla="*/ 2544762 h 2544762"/>
                    <a:gd name="connsiteX12" fmla="*/ 581024 w 1340644"/>
                    <a:gd name="connsiteY12" fmla="*/ 2409825 h 2544762"/>
                    <a:gd name="connsiteX13" fmla="*/ 585787 w 1340644"/>
                    <a:gd name="connsiteY13" fmla="*/ 2336007 h 2544762"/>
                    <a:gd name="connsiteX14" fmla="*/ 650082 w 1340644"/>
                    <a:gd name="connsiteY14" fmla="*/ 2300288 h 2544762"/>
                    <a:gd name="connsiteX15" fmla="*/ 652462 w 1340644"/>
                    <a:gd name="connsiteY15" fmla="*/ 2183607 h 2544762"/>
                    <a:gd name="connsiteX16" fmla="*/ 609599 w 1340644"/>
                    <a:gd name="connsiteY16" fmla="*/ 2169320 h 2544762"/>
                    <a:gd name="connsiteX17" fmla="*/ 531019 w 1340644"/>
                    <a:gd name="connsiteY17" fmla="*/ 2014538 h 2544762"/>
                    <a:gd name="connsiteX18" fmla="*/ 473869 w 1340644"/>
                    <a:gd name="connsiteY18" fmla="*/ 1704975 h 2544762"/>
                    <a:gd name="connsiteX19" fmla="*/ 385763 w 1340644"/>
                    <a:gd name="connsiteY19" fmla="*/ 1638301 h 2544762"/>
                    <a:gd name="connsiteX20" fmla="*/ 566737 w 1340644"/>
                    <a:gd name="connsiteY20" fmla="*/ 1628775 h 2544762"/>
                    <a:gd name="connsiteX21" fmla="*/ 657225 w 1340644"/>
                    <a:gd name="connsiteY21" fmla="*/ 1540669 h 2544762"/>
                    <a:gd name="connsiteX22" fmla="*/ 873919 w 1340644"/>
                    <a:gd name="connsiteY22" fmla="*/ 1543050 h 2544762"/>
                    <a:gd name="connsiteX23" fmla="*/ 926306 w 1340644"/>
                    <a:gd name="connsiteY23" fmla="*/ 1590676 h 2544762"/>
                    <a:gd name="connsiteX24" fmla="*/ 916781 w 1340644"/>
                    <a:gd name="connsiteY24" fmla="*/ 1628776 h 2544762"/>
                    <a:gd name="connsiteX25" fmla="*/ 995362 w 1340644"/>
                    <a:gd name="connsiteY25" fmla="*/ 1600201 h 2544762"/>
                    <a:gd name="connsiteX26" fmla="*/ 1042988 w 1340644"/>
                    <a:gd name="connsiteY26" fmla="*/ 1678782 h 2544762"/>
                    <a:gd name="connsiteX27" fmla="*/ 1073944 w 1340644"/>
                    <a:gd name="connsiteY27" fmla="*/ 1743074 h 2544762"/>
                    <a:gd name="connsiteX28" fmla="*/ 1128713 w 1340644"/>
                    <a:gd name="connsiteY28" fmla="*/ 1724026 h 2544762"/>
                    <a:gd name="connsiteX29" fmla="*/ 1181100 w 1340644"/>
                    <a:gd name="connsiteY29" fmla="*/ 1723231 h 2544762"/>
                    <a:gd name="connsiteX30" fmla="*/ 1145381 w 1340644"/>
                    <a:gd name="connsiteY30" fmla="*/ 1531144 h 2544762"/>
                    <a:gd name="connsiteX31" fmla="*/ 1197769 w 1340644"/>
                    <a:gd name="connsiteY31" fmla="*/ 1443038 h 2544762"/>
                    <a:gd name="connsiteX32" fmla="*/ 1169194 w 1340644"/>
                    <a:gd name="connsiteY32" fmla="*/ 1388270 h 2544762"/>
                    <a:gd name="connsiteX33" fmla="*/ 1223962 w 1340644"/>
                    <a:gd name="connsiteY33" fmla="*/ 1381125 h 2544762"/>
                    <a:gd name="connsiteX34" fmla="*/ 1276350 w 1340644"/>
                    <a:gd name="connsiteY34" fmla="*/ 1302545 h 2544762"/>
                    <a:gd name="connsiteX35" fmla="*/ 1266825 w 1340644"/>
                    <a:gd name="connsiteY35" fmla="*/ 1254920 h 2544762"/>
                    <a:gd name="connsiteX36" fmla="*/ 1303338 w 1340644"/>
                    <a:gd name="connsiteY36" fmla="*/ 1246187 h 2544762"/>
                    <a:gd name="connsiteX37" fmla="*/ 1340644 w 1340644"/>
                    <a:gd name="connsiteY37" fmla="*/ 1190625 h 2544762"/>
                    <a:gd name="connsiteX38" fmla="*/ 1285875 w 1340644"/>
                    <a:gd name="connsiteY38" fmla="*/ 1007269 h 2544762"/>
                    <a:gd name="connsiteX39" fmla="*/ 1240632 w 1340644"/>
                    <a:gd name="connsiteY39" fmla="*/ 878682 h 2544762"/>
                    <a:gd name="connsiteX40" fmla="*/ 1273969 w 1340644"/>
                    <a:gd name="connsiteY40" fmla="*/ 804863 h 2544762"/>
                    <a:gd name="connsiteX41" fmla="*/ 1223963 w 1340644"/>
                    <a:gd name="connsiteY41" fmla="*/ 664370 h 2544762"/>
                    <a:gd name="connsiteX42" fmla="*/ 1164431 w 1340644"/>
                    <a:gd name="connsiteY42" fmla="*/ 604838 h 2544762"/>
                    <a:gd name="connsiteX43" fmla="*/ 1162050 w 1340644"/>
                    <a:gd name="connsiteY43" fmla="*/ 523876 h 2544762"/>
                    <a:gd name="connsiteX44" fmla="*/ 1143001 w 1340644"/>
                    <a:gd name="connsiteY44" fmla="*/ 445295 h 2544762"/>
                    <a:gd name="connsiteX45" fmla="*/ 1163637 w 1340644"/>
                    <a:gd name="connsiteY45" fmla="*/ 324644 h 2544762"/>
                    <a:gd name="connsiteX46" fmla="*/ 1012031 w 1340644"/>
                    <a:gd name="connsiteY46" fmla="*/ 0 h 2544762"/>
                    <a:gd name="connsiteX47" fmla="*/ 926306 w 1340644"/>
                    <a:gd name="connsiteY47" fmla="*/ 153193 h 2544762"/>
                    <a:gd name="connsiteX0" fmla="*/ 926306 w 1340644"/>
                    <a:gd name="connsiteY0" fmla="*/ 153193 h 2544762"/>
                    <a:gd name="connsiteX1" fmla="*/ 170656 w 1340644"/>
                    <a:gd name="connsiteY1" fmla="*/ 534987 h 2544762"/>
                    <a:gd name="connsiteX2" fmla="*/ 28575 w 1340644"/>
                    <a:gd name="connsiteY2" fmla="*/ 1083470 h 2544762"/>
                    <a:gd name="connsiteX3" fmla="*/ 19050 w 1340644"/>
                    <a:gd name="connsiteY3" fmla="*/ 1133476 h 2544762"/>
                    <a:gd name="connsiteX4" fmla="*/ 0 w 1340644"/>
                    <a:gd name="connsiteY4" fmla="*/ 1188244 h 2544762"/>
                    <a:gd name="connsiteX5" fmla="*/ 0 w 1340644"/>
                    <a:gd name="connsiteY5" fmla="*/ 1328738 h 2544762"/>
                    <a:gd name="connsiteX6" fmla="*/ 26194 w 1340644"/>
                    <a:gd name="connsiteY6" fmla="*/ 1432718 h 2544762"/>
                    <a:gd name="connsiteX7" fmla="*/ 157162 w 1340644"/>
                    <a:gd name="connsiteY7" fmla="*/ 1795464 h 2544762"/>
                    <a:gd name="connsiteX8" fmla="*/ 161925 w 1340644"/>
                    <a:gd name="connsiteY8" fmla="*/ 1971675 h 2544762"/>
                    <a:gd name="connsiteX9" fmla="*/ 107156 w 1340644"/>
                    <a:gd name="connsiteY9" fmla="*/ 2064545 h 2544762"/>
                    <a:gd name="connsiteX10" fmla="*/ 123031 w 1340644"/>
                    <a:gd name="connsiteY10" fmla="*/ 2228056 h 2544762"/>
                    <a:gd name="connsiteX11" fmla="*/ 238125 w 1340644"/>
                    <a:gd name="connsiteY11" fmla="*/ 2422524 h 2544762"/>
                    <a:gd name="connsiteX12" fmla="*/ 418306 w 1340644"/>
                    <a:gd name="connsiteY12" fmla="*/ 2544762 h 2544762"/>
                    <a:gd name="connsiteX13" fmla="*/ 581024 w 1340644"/>
                    <a:gd name="connsiteY13" fmla="*/ 2409825 h 2544762"/>
                    <a:gd name="connsiteX14" fmla="*/ 585787 w 1340644"/>
                    <a:gd name="connsiteY14" fmla="*/ 2336007 h 2544762"/>
                    <a:gd name="connsiteX15" fmla="*/ 650082 w 1340644"/>
                    <a:gd name="connsiteY15" fmla="*/ 2300288 h 2544762"/>
                    <a:gd name="connsiteX16" fmla="*/ 652462 w 1340644"/>
                    <a:gd name="connsiteY16" fmla="*/ 2183607 h 2544762"/>
                    <a:gd name="connsiteX17" fmla="*/ 609599 w 1340644"/>
                    <a:gd name="connsiteY17" fmla="*/ 2169320 h 2544762"/>
                    <a:gd name="connsiteX18" fmla="*/ 531019 w 1340644"/>
                    <a:gd name="connsiteY18" fmla="*/ 2014538 h 2544762"/>
                    <a:gd name="connsiteX19" fmla="*/ 473869 w 1340644"/>
                    <a:gd name="connsiteY19" fmla="*/ 1704975 h 2544762"/>
                    <a:gd name="connsiteX20" fmla="*/ 385763 w 1340644"/>
                    <a:gd name="connsiteY20" fmla="*/ 1638301 h 2544762"/>
                    <a:gd name="connsiteX21" fmla="*/ 566737 w 1340644"/>
                    <a:gd name="connsiteY21" fmla="*/ 1628775 h 2544762"/>
                    <a:gd name="connsiteX22" fmla="*/ 657225 w 1340644"/>
                    <a:gd name="connsiteY22" fmla="*/ 1540669 h 2544762"/>
                    <a:gd name="connsiteX23" fmla="*/ 873919 w 1340644"/>
                    <a:gd name="connsiteY23" fmla="*/ 1543050 h 2544762"/>
                    <a:gd name="connsiteX24" fmla="*/ 926306 w 1340644"/>
                    <a:gd name="connsiteY24" fmla="*/ 1590676 h 2544762"/>
                    <a:gd name="connsiteX25" fmla="*/ 916781 w 1340644"/>
                    <a:gd name="connsiteY25" fmla="*/ 1628776 h 2544762"/>
                    <a:gd name="connsiteX26" fmla="*/ 995362 w 1340644"/>
                    <a:gd name="connsiteY26" fmla="*/ 1600201 h 2544762"/>
                    <a:gd name="connsiteX27" fmla="*/ 1042988 w 1340644"/>
                    <a:gd name="connsiteY27" fmla="*/ 1678782 h 2544762"/>
                    <a:gd name="connsiteX28" fmla="*/ 1073944 w 1340644"/>
                    <a:gd name="connsiteY28" fmla="*/ 1743074 h 2544762"/>
                    <a:gd name="connsiteX29" fmla="*/ 1128713 w 1340644"/>
                    <a:gd name="connsiteY29" fmla="*/ 1724026 h 2544762"/>
                    <a:gd name="connsiteX30" fmla="*/ 1181100 w 1340644"/>
                    <a:gd name="connsiteY30" fmla="*/ 1723231 h 2544762"/>
                    <a:gd name="connsiteX31" fmla="*/ 1145381 w 1340644"/>
                    <a:gd name="connsiteY31" fmla="*/ 1531144 h 2544762"/>
                    <a:gd name="connsiteX32" fmla="*/ 1197769 w 1340644"/>
                    <a:gd name="connsiteY32" fmla="*/ 1443038 h 2544762"/>
                    <a:gd name="connsiteX33" fmla="*/ 1169194 w 1340644"/>
                    <a:gd name="connsiteY33" fmla="*/ 1388270 h 2544762"/>
                    <a:gd name="connsiteX34" fmla="*/ 1223962 w 1340644"/>
                    <a:gd name="connsiteY34" fmla="*/ 1381125 h 2544762"/>
                    <a:gd name="connsiteX35" fmla="*/ 1276350 w 1340644"/>
                    <a:gd name="connsiteY35" fmla="*/ 1302545 h 2544762"/>
                    <a:gd name="connsiteX36" fmla="*/ 1266825 w 1340644"/>
                    <a:gd name="connsiteY36" fmla="*/ 1254920 h 2544762"/>
                    <a:gd name="connsiteX37" fmla="*/ 1303338 w 1340644"/>
                    <a:gd name="connsiteY37" fmla="*/ 1246187 h 2544762"/>
                    <a:gd name="connsiteX38" fmla="*/ 1340644 w 1340644"/>
                    <a:gd name="connsiteY38" fmla="*/ 1190625 h 2544762"/>
                    <a:gd name="connsiteX39" fmla="*/ 1285875 w 1340644"/>
                    <a:gd name="connsiteY39" fmla="*/ 1007269 h 2544762"/>
                    <a:gd name="connsiteX40" fmla="*/ 1240632 w 1340644"/>
                    <a:gd name="connsiteY40" fmla="*/ 878682 h 2544762"/>
                    <a:gd name="connsiteX41" fmla="*/ 1273969 w 1340644"/>
                    <a:gd name="connsiteY41" fmla="*/ 804863 h 2544762"/>
                    <a:gd name="connsiteX42" fmla="*/ 1223963 w 1340644"/>
                    <a:gd name="connsiteY42" fmla="*/ 664370 h 2544762"/>
                    <a:gd name="connsiteX43" fmla="*/ 1164431 w 1340644"/>
                    <a:gd name="connsiteY43" fmla="*/ 604838 h 2544762"/>
                    <a:gd name="connsiteX44" fmla="*/ 1162050 w 1340644"/>
                    <a:gd name="connsiteY44" fmla="*/ 523876 h 2544762"/>
                    <a:gd name="connsiteX45" fmla="*/ 1143001 w 1340644"/>
                    <a:gd name="connsiteY45" fmla="*/ 445295 h 2544762"/>
                    <a:gd name="connsiteX46" fmla="*/ 1163637 w 1340644"/>
                    <a:gd name="connsiteY46" fmla="*/ 324644 h 2544762"/>
                    <a:gd name="connsiteX47" fmla="*/ 1012031 w 1340644"/>
                    <a:gd name="connsiteY47" fmla="*/ 0 h 2544762"/>
                    <a:gd name="connsiteX48" fmla="*/ 926306 w 1340644"/>
                    <a:gd name="connsiteY48" fmla="*/ 153193 h 2544762"/>
                    <a:gd name="connsiteX0" fmla="*/ 926306 w 1340644"/>
                    <a:gd name="connsiteY0" fmla="*/ 153193 h 2544762"/>
                    <a:gd name="connsiteX1" fmla="*/ 170656 w 1340644"/>
                    <a:gd name="connsiteY1" fmla="*/ 534987 h 2544762"/>
                    <a:gd name="connsiteX2" fmla="*/ 28575 w 1340644"/>
                    <a:gd name="connsiteY2" fmla="*/ 1083470 h 2544762"/>
                    <a:gd name="connsiteX3" fmla="*/ 38100 w 1340644"/>
                    <a:gd name="connsiteY3" fmla="*/ 1140620 h 2544762"/>
                    <a:gd name="connsiteX4" fmla="*/ 0 w 1340644"/>
                    <a:gd name="connsiteY4" fmla="*/ 1188244 h 2544762"/>
                    <a:gd name="connsiteX5" fmla="*/ 0 w 1340644"/>
                    <a:gd name="connsiteY5" fmla="*/ 1328738 h 2544762"/>
                    <a:gd name="connsiteX6" fmla="*/ 26194 w 1340644"/>
                    <a:gd name="connsiteY6" fmla="*/ 1432718 h 2544762"/>
                    <a:gd name="connsiteX7" fmla="*/ 157162 w 1340644"/>
                    <a:gd name="connsiteY7" fmla="*/ 1795464 h 2544762"/>
                    <a:gd name="connsiteX8" fmla="*/ 161925 w 1340644"/>
                    <a:gd name="connsiteY8" fmla="*/ 1971675 h 2544762"/>
                    <a:gd name="connsiteX9" fmla="*/ 107156 w 1340644"/>
                    <a:gd name="connsiteY9" fmla="*/ 2064545 h 2544762"/>
                    <a:gd name="connsiteX10" fmla="*/ 123031 w 1340644"/>
                    <a:gd name="connsiteY10" fmla="*/ 2228056 h 2544762"/>
                    <a:gd name="connsiteX11" fmla="*/ 238125 w 1340644"/>
                    <a:gd name="connsiteY11" fmla="*/ 2422524 h 2544762"/>
                    <a:gd name="connsiteX12" fmla="*/ 418306 w 1340644"/>
                    <a:gd name="connsiteY12" fmla="*/ 2544762 h 2544762"/>
                    <a:gd name="connsiteX13" fmla="*/ 581024 w 1340644"/>
                    <a:gd name="connsiteY13" fmla="*/ 2409825 h 2544762"/>
                    <a:gd name="connsiteX14" fmla="*/ 585787 w 1340644"/>
                    <a:gd name="connsiteY14" fmla="*/ 2336007 h 2544762"/>
                    <a:gd name="connsiteX15" fmla="*/ 650082 w 1340644"/>
                    <a:gd name="connsiteY15" fmla="*/ 2300288 h 2544762"/>
                    <a:gd name="connsiteX16" fmla="*/ 652462 w 1340644"/>
                    <a:gd name="connsiteY16" fmla="*/ 2183607 h 2544762"/>
                    <a:gd name="connsiteX17" fmla="*/ 609599 w 1340644"/>
                    <a:gd name="connsiteY17" fmla="*/ 2169320 h 2544762"/>
                    <a:gd name="connsiteX18" fmla="*/ 531019 w 1340644"/>
                    <a:gd name="connsiteY18" fmla="*/ 2014538 h 2544762"/>
                    <a:gd name="connsiteX19" fmla="*/ 473869 w 1340644"/>
                    <a:gd name="connsiteY19" fmla="*/ 1704975 h 2544762"/>
                    <a:gd name="connsiteX20" fmla="*/ 385763 w 1340644"/>
                    <a:gd name="connsiteY20" fmla="*/ 1638301 h 2544762"/>
                    <a:gd name="connsiteX21" fmla="*/ 566737 w 1340644"/>
                    <a:gd name="connsiteY21" fmla="*/ 1628775 h 2544762"/>
                    <a:gd name="connsiteX22" fmla="*/ 657225 w 1340644"/>
                    <a:gd name="connsiteY22" fmla="*/ 1540669 h 2544762"/>
                    <a:gd name="connsiteX23" fmla="*/ 873919 w 1340644"/>
                    <a:gd name="connsiteY23" fmla="*/ 1543050 h 2544762"/>
                    <a:gd name="connsiteX24" fmla="*/ 926306 w 1340644"/>
                    <a:gd name="connsiteY24" fmla="*/ 1590676 h 2544762"/>
                    <a:gd name="connsiteX25" fmla="*/ 916781 w 1340644"/>
                    <a:gd name="connsiteY25" fmla="*/ 1628776 h 2544762"/>
                    <a:gd name="connsiteX26" fmla="*/ 995362 w 1340644"/>
                    <a:gd name="connsiteY26" fmla="*/ 1600201 h 2544762"/>
                    <a:gd name="connsiteX27" fmla="*/ 1042988 w 1340644"/>
                    <a:gd name="connsiteY27" fmla="*/ 1678782 h 2544762"/>
                    <a:gd name="connsiteX28" fmla="*/ 1073944 w 1340644"/>
                    <a:gd name="connsiteY28" fmla="*/ 1743074 h 2544762"/>
                    <a:gd name="connsiteX29" fmla="*/ 1128713 w 1340644"/>
                    <a:gd name="connsiteY29" fmla="*/ 1724026 h 2544762"/>
                    <a:gd name="connsiteX30" fmla="*/ 1181100 w 1340644"/>
                    <a:gd name="connsiteY30" fmla="*/ 1723231 h 2544762"/>
                    <a:gd name="connsiteX31" fmla="*/ 1145381 w 1340644"/>
                    <a:gd name="connsiteY31" fmla="*/ 1531144 h 2544762"/>
                    <a:gd name="connsiteX32" fmla="*/ 1197769 w 1340644"/>
                    <a:gd name="connsiteY32" fmla="*/ 1443038 h 2544762"/>
                    <a:gd name="connsiteX33" fmla="*/ 1169194 w 1340644"/>
                    <a:gd name="connsiteY33" fmla="*/ 1388270 h 2544762"/>
                    <a:gd name="connsiteX34" fmla="*/ 1223962 w 1340644"/>
                    <a:gd name="connsiteY34" fmla="*/ 1381125 h 2544762"/>
                    <a:gd name="connsiteX35" fmla="*/ 1276350 w 1340644"/>
                    <a:gd name="connsiteY35" fmla="*/ 1302545 h 2544762"/>
                    <a:gd name="connsiteX36" fmla="*/ 1266825 w 1340644"/>
                    <a:gd name="connsiteY36" fmla="*/ 1254920 h 2544762"/>
                    <a:gd name="connsiteX37" fmla="*/ 1303338 w 1340644"/>
                    <a:gd name="connsiteY37" fmla="*/ 1246187 h 2544762"/>
                    <a:gd name="connsiteX38" fmla="*/ 1340644 w 1340644"/>
                    <a:gd name="connsiteY38" fmla="*/ 1190625 h 2544762"/>
                    <a:gd name="connsiteX39" fmla="*/ 1285875 w 1340644"/>
                    <a:gd name="connsiteY39" fmla="*/ 1007269 h 2544762"/>
                    <a:gd name="connsiteX40" fmla="*/ 1240632 w 1340644"/>
                    <a:gd name="connsiteY40" fmla="*/ 878682 h 2544762"/>
                    <a:gd name="connsiteX41" fmla="*/ 1273969 w 1340644"/>
                    <a:gd name="connsiteY41" fmla="*/ 804863 h 2544762"/>
                    <a:gd name="connsiteX42" fmla="*/ 1223963 w 1340644"/>
                    <a:gd name="connsiteY42" fmla="*/ 664370 h 2544762"/>
                    <a:gd name="connsiteX43" fmla="*/ 1164431 w 1340644"/>
                    <a:gd name="connsiteY43" fmla="*/ 604838 h 2544762"/>
                    <a:gd name="connsiteX44" fmla="*/ 1162050 w 1340644"/>
                    <a:gd name="connsiteY44" fmla="*/ 523876 h 2544762"/>
                    <a:gd name="connsiteX45" fmla="*/ 1143001 w 1340644"/>
                    <a:gd name="connsiteY45" fmla="*/ 445295 h 2544762"/>
                    <a:gd name="connsiteX46" fmla="*/ 1163637 w 1340644"/>
                    <a:gd name="connsiteY46" fmla="*/ 324644 h 2544762"/>
                    <a:gd name="connsiteX47" fmla="*/ 1012031 w 1340644"/>
                    <a:gd name="connsiteY47" fmla="*/ 0 h 2544762"/>
                    <a:gd name="connsiteX48" fmla="*/ 926306 w 1340644"/>
                    <a:gd name="connsiteY48" fmla="*/ 153193 h 2544762"/>
                    <a:gd name="connsiteX0" fmla="*/ 926306 w 1340644"/>
                    <a:gd name="connsiteY0" fmla="*/ 153193 h 2544762"/>
                    <a:gd name="connsiteX1" fmla="*/ 70643 w 1340644"/>
                    <a:gd name="connsiteY1" fmla="*/ 1068387 h 2544762"/>
                    <a:gd name="connsiteX2" fmla="*/ 28575 w 1340644"/>
                    <a:gd name="connsiteY2" fmla="*/ 1083470 h 2544762"/>
                    <a:gd name="connsiteX3" fmla="*/ 38100 w 1340644"/>
                    <a:gd name="connsiteY3" fmla="*/ 1140620 h 2544762"/>
                    <a:gd name="connsiteX4" fmla="*/ 0 w 1340644"/>
                    <a:gd name="connsiteY4" fmla="*/ 1188244 h 2544762"/>
                    <a:gd name="connsiteX5" fmla="*/ 0 w 1340644"/>
                    <a:gd name="connsiteY5" fmla="*/ 1328738 h 2544762"/>
                    <a:gd name="connsiteX6" fmla="*/ 26194 w 1340644"/>
                    <a:gd name="connsiteY6" fmla="*/ 1432718 h 2544762"/>
                    <a:gd name="connsiteX7" fmla="*/ 157162 w 1340644"/>
                    <a:gd name="connsiteY7" fmla="*/ 1795464 h 2544762"/>
                    <a:gd name="connsiteX8" fmla="*/ 161925 w 1340644"/>
                    <a:gd name="connsiteY8" fmla="*/ 1971675 h 2544762"/>
                    <a:gd name="connsiteX9" fmla="*/ 107156 w 1340644"/>
                    <a:gd name="connsiteY9" fmla="*/ 2064545 h 2544762"/>
                    <a:gd name="connsiteX10" fmla="*/ 123031 w 1340644"/>
                    <a:gd name="connsiteY10" fmla="*/ 2228056 h 2544762"/>
                    <a:gd name="connsiteX11" fmla="*/ 238125 w 1340644"/>
                    <a:gd name="connsiteY11" fmla="*/ 2422524 h 2544762"/>
                    <a:gd name="connsiteX12" fmla="*/ 418306 w 1340644"/>
                    <a:gd name="connsiteY12" fmla="*/ 2544762 h 2544762"/>
                    <a:gd name="connsiteX13" fmla="*/ 581024 w 1340644"/>
                    <a:gd name="connsiteY13" fmla="*/ 2409825 h 2544762"/>
                    <a:gd name="connsiteX14" fmla="*/ 585787 w 1340644"/>
                    <a:gd name="connsiteY14" fmla="*/ 2336007 h 2544762"/>
                    <a:gd name="connsiteX15" fmla="*/ 650082 w 1340644"/>
                    <a:gd name="connsiteY15" fmla="*/ 2300288 h 2544762"/>
                    <a:gd name="connsiteX16" fmla="*/ 652462 w 1340644"/>
                    <a:gd name="connsiteY16" fmla="*/ 2183607 h 2544762"/>
                    <a:gd name="connsiteX17" fmla="*/ 609599 w 1340644"/>
                    <a:gd name="connsiteY17" fmla="*/ 2169320 h 2544762"/>
                    <a:gd name="connsiteX18" fmla="*/ 531019 w 1340644"/>
                    <a:gd name="connsiteY18" fmla="*/ 2014538 h 2544762"/>
                    <a:gd name="connsiteX19" fmla="*/ 473869 w 1340644"/>
                    <a:gd name="connsiteY19" fmla="*/ 1704975 h 2544762"/>
                    <a:gd name="connsiteX20" fmla="*/ 385763 w 1340644"/>
                    <a:gd name="connsiteY20" fmla="*/ 1638301 h 2544762"/>
                    <a:gd name="connsiteX21" fmla="*/ 566737 w 1340644"/>
                    <a:gd name="connsiteY21" fmla="*/ 1628775 h 2544762"/>
                    <a:gd name="connsiteX22" fmla="*/ 657225 w 1340644"/>
                    <a:gd name="connsiteY22" fmla="*/ 1540669 h 2544762"/>
                    <a:gd name="connsiteX23" fmla="*/ 873919 w 1340644"/>
                    <a:gd name="connsiteY23" fmla="*/ 1543050 h 2544762"/>
                    <a:gd name="connsiteX24" fmla="*/ 926306 w 1340644"/>
                    <a:gd name="connsiteY24" fmla="*/ 1590676 h 2544762"/>
                    <a:gd name="connsiteX25" fmla="*/ 916781 w 1340644"/>
                    <a:gd name="connsiteY25" fmla="*/ 1628776 h 2544762"/>
                    <a:gd name="connsiteX26" fmla="*/ 995362 w 1340644"/>
                    <a:gd name="connsiteY26" fmla="*/ 1600201 h 2544762"/>
                    <a:gd name="connsiteX27" fmla="*/ 1042988 w 1340644"/>
                    <a:gd name="connsiteY27" fmla="*/ 1678782 h 2544762"/>
                    <a:gd name="connsiteX28" fmla="*/ 1073944 w 1340644"/>
                    <a:gd name="connsiteY28" fmla="*/ 1743074 h 2544762"/>
                    <a:gd name="connsiteX29" fmla="*/ 1128713 w 1340644"/>
                    <a:gd name="connsiteY29" fmla="*/ 1724026 h 2544762"/>
                    <a:gd name="connsiteX30" fmla="*/ 1181100 w 1340644"/>
                    <a:gd name="connsiteY30" fmla="*/ 1723231 h 2544762"/>
                    <a:gd name="connsiteX31" fmla="*/ 1145381 w 1340644"/>
                    <a:gd name="connsiteY31" fmla="*/ 1531144 h 2544762"/>
                    <a:gd name="connsiteX32" fmla="*/ 1197769 w 1340644"/>
                    <a:gd name="connsiteY32" fmla="*/ 1443038 h 2544762"/>
                    <a:gd name="connsiteX33" fmla="*/ 1169194 w 1340644"/>
                    <a:gd name="connsiteY33" fmla="*/ 1388270 h 2544762"/>
                    <a:gd name="connsiteX34" fmla="*/ 1223962 w 1340644"/>
                    <a:gd name="connsiteY34" fmla="*/ 1381125 h 2544762"/>
                    <a:gd name="connsiteX35" fmla="*/ 1276350 w 1340644"/>
                    <a:gd name="connsiteY35" fmla="*/ 1302545 h 2544762"/>
                    <a:gd name="connsiteX36" fmla="*/ 1266825 w 1340644"/>
                    <a:gd name="connsiteY36" fmla="*/ 1254920 h 2544762"/>
                    <a:gd name="connsiteX37" fmla="*/ 1303338 w 1340644"/>
                    <a:gd name="connsiteY37" fmla="*/ 1246187 h 2544762"/>
                    <a:gd name="connsiteX38" fmla="*/ 1340644 w 1340644"/>
                    <a:gd name="connsiteY38" fmla="*/ 1190625 h 2544762"/>
                    <a:gd name="connsiteX39" fmla="*/ 1285875 w 1340644"/>
                    <a:gd name="connsiteY39" fmla="*/ 1007269 h 2544762"/>
                    <a:gd name="connsiteX40" fmla="*/ 1240632 w 1340644"/>
                    <a:gd name="connsiteY40" fmla="*/ 878682 h 2544762"/>
                    <a:gd name="connsiteX41" fmla="*/ 1273969 w 1340644"/>
                    <a:gd name="connsiteY41" fmla="*/ 804863 h 2544762"/>
                    <a:gd name="connsiteX42" fmla="*/ 1223963 w 1340644"/>
                    <a:gd name="connsiteY42" fmla="*/ 664370 h 2544762"/>
                    <a:gd name="connsiteX43" fmla="*/ 1164431 w 1340644"/>
                    <a:gd name="connsiteY43" fmla="*/ 604838 h 2544762"/>
                    <a:gd name="connsiteX44" fmla="*/ 1162050 w 1340644"/>
                    <a:gd name="connsiteY44" fmla="*/ 523876 h 2544762"/>
                    <a:gd name="connsiteX45" fmla="*/ 1143001 w 1340644"/>
                    <a:gd name="connsiteY45" fmla="*/ 445295 h 2544762"/>
                    <a:gd name="connsiteX46" fmla="*/ 1163637 w 1340644"/>
                    <a:gd name="connsiteY46" fmla="*/ 324644 h 2544762"/>
                    <a:gd name="connsiteX47" fmla="*/ 1012031 w 1340644"/>
                    <a:gd name="connsiteY47" fmla="*/ 0 h 2544762"/>
                    <a:gd name="connsiteX48" fmla="*/ 926306 w 1340644"/>
                    <a:gd name="connsiteY48" fmla="*/ 153193 h 2544762"/>
                    <a:gd name="connsiteX0" fmla="*/ 926306 w 1340644"/>
                    <a:gd name="connsiteY0" fmla="*/ 153193 h 2544762"/>
                    <a:gd name="connsiteX1" fmla="*/ 257175 w 1340644"/>
                    <a:gd name="connsiteY1" fmla="*/ 864394 h 2544762"/>
                    <a:gd name="connsiteX2" fmla="*/ 70643 w 1340644"/>
                    <a:gd name="connsiteY2" fmla="*/ 1068387 h 2544762"/>
                    <a:gd name="connsiteX3" fmla="*/ 28575 w 1340644"/>
                    <a:gd name="connsiteY3" fmla="*/ 1083470 h 2544762"/>
                    <a:gd name="connsiteX4" fmla="*/ 38100 w 1340644"/>
                    <a:gd name="connsiteY4" fmla="*/ 1140620 h 2544762"/>
                    <a:gd name="connsiteX5" fmla="*/ 0 w 1340644"/>
                    <a:gd name="connsiteY5" fmla="*/ 1188244 h 2544762"/>
                    <a:gd name="connsiteX6" fmla="*/ 0 w 1340644"/>
                    <a:gd name="connsiteY6" fmla="*/ 1328738 h 2544762"/>
                    <a:gd name="connsiteX7" fmla="*/ 26194 w 1340644"/>
                    <a:gd name="connsiteY7" fmla="*/ 1432718 h 2544762"/>
                    <a:gd name="connsiteX8" fmla="*/ 157162 w 1340644"/>
                    <a:gd name="connsiteY8" fmla="*/ 1795464 h 2544762"/>
                    <a:gd name="connsiteX9" fmla="*/ 161925 w 1340644"/>
                    <a:gd name="connsiteY9" fmla="*/ 1971675 h 2544762"/>
                    <a:gd name="connsiteX10" fmla="*/ 107156 w 1340644"/>
                    <a:gd name="connsiteY10" fmla="*/ 2064545 h 2544762"/>
                    <a:gd name="connsiteX11" fmla="*/ 123031 w 1340644"/>
                    <a:gd name="connsiteY11" fmla="*/ 2228056 h 2544762"/>
                    <a:gd name="connsiteX12" fmla="*/ 238125 w 1340644"/>
                    <a:gd name="connsiteY12" fmla="*/ 2422524 h 2544762"/>
                    <a:gd name="connsiteX13" fmla="*/ 418306 w 1340644"/>
                    <a:gd name="connsiteY13" fmla="*/ 2544762 h 2544762"/>
                    <a:gd name="connsiteX14" fmla="*/ 581024 w 1340644"/>
                    <a:gd name="connsiteY14" fmla="*/ 2409825 h 2544762"/>
                    <a:gd name="connsiteX15" fmla="*/ 585787 w 1340644"/>
                    <a:gd name="connsiteY15" fmla="*/ 2336007 h 2544762"/>
                    <a:gd name="connsiteX16" fmla="*/ 650082 w 1340644"/>
                    <a:gd name="connsiteY16" fmla="*/ 2300288 h 2544762"/>
                    <a:gd name="connsiteX17" fmla="*/ 652462 w 1340644"/>
                    <a:gd name="connsiteY17" fmla="*/ 2183607 h 2544762"/>
                    <a:gd name="connsiteX18" fmla="*/ 609599 w 1340644"/>
                    <a:gd name="connsiteY18" fmla="*/ 2169320 h 2544762"/>
                    <a:gd name="connsiteX19" fmla="*/ 531019 w 1340644"/>
                    <a:gd name="connsiteY19" fmla="*/ 2014538 h 2544762"/>
                    <a:gd name="connsiteX20" fmla="*/ 473869 w 1340644"/>
                    <a:gd name="connsiteY20" fmla="*/ 1704975 h 2544762"/>
                    <a:gd name="connsiteX21" fmla="*/ 385763 w 1340644"/>
                    <a:gd name="connsiteY21" fmla="*/ 1638301 h 2544762"/>
                    <a:gd name="connsiteX22" fmla="*/ 566737 w 1340644"/>
                    <a:gd name="connsiteY22" fmla="*/ 1628775 h 2544762"/>
                    <a:gd name="connsiteX23" fmla="*/ 657225 w 1340644"/>
                    <a:gd name="connsiteY23" fmla="*/ 1540669 h 2544762"/>
                    <a:gd name="connsiteX24" fmla="*/ 873919 w 1340644"/>
                    <a:gd name="connsiteY24" fmla="*/ 1543050 h 2544762"/>
                    <a:gd name="connsiteX25" fmla="*/ 926306 w 1340644"/>
                    <a:gd name="connsiteY25" fmla="*/ 1590676 h 2544762"/>
                    <a:gd name="connsiteX26" fmla="*/ 916781 w 1340644"/>
                    <a:gd name="connsiteY26" fmla="*/ 1628776 h 2544762"/>
                    <a:gd name="connsiteX27" fmla="*/ 995362 w 1340644"/>
                    <a:gd name="connsiteY27" fmla="*/ 1600201 h 2544762"/>
                    <a:gd name="connsiteX28" fmla="*/ 1042988 w 1340644"/>
                    <a:gd name="connsiteY28" fmla="*/ 1678782 h 2544762"/>
                    <a:gd name="connsiteX29" fmla="*/ 1073944 w 1340644"/>
                    <a:gd name="connsiteY29" fmla="*/ 1743074 h 2544762"/>
                    <a:gd name="connsiteX30" fmla="*/ 1128713 w 1340644"/>
                    <a:gd name="connsiteY30" fmla="*/ 1724026 h 2544762"/>
                    <a:gd name="connsiteX31" fmla="*/ 1181100 w 1340644"/>
                    <a:gd name="connsiteY31" fmla="*/ 1723231 h 2544762"/>
                    <a:gd name="connsiteX32" fmla="*/ 1145381 w 1340644"/>
                    <a:gd name="connsiteY32" fmla="*/ 1531144 h 2544762"/>
                    <a:gd name="connsiteX33" fmla="*/ 1197769 w 1340644"/>
                    <a:gd name="connsiteY33" fmla="*/ 1443038 h 2544762"/>
                    <a:gd name="connsiteX34" fmla="*/ 1169194 w 1340644"/>
                    <a:gd name="connsiteY34" fmla="*/ 1388270 h 2544762"/>
                    <a:gd name="connsiteX35" fmla="*/ 1223962 w 1340644"/>
                    <a:gd name="connsiteY35" fmla="*/ 1381125 h 2544762"/>
                    <a:gd name="connsiteX36" fmla="*/ 1276350 w 1340644"/>
                    <a:gd name="connsiteY36" fmla="*/ 1302545 h 2544762"/>
                    <a:gd name="connsiteX37" fmla="*/ 1266825 w 1340644"/>
                    <a:gd name="connsiteY37" fmla="*/ 1254920 h 2544762"/>
                    <a:gd name="connsiteX38" fmla="*/ 1303338 w 1340644"/>
                    <a:gd name="connsiteY38" fmla="*/ 1246187 h 2544762"/>
                    <a:gd name="connsiteX39" fmla="*/ 1340644 w 1340644"/>
                    <a:gd name="connsiteY39" fmla="*/ 1190625 h 2544762"/>
                    <a:gd name="connsiteX40" fmla="*/ 1285875 w 1340644"/>
                    <a:gd name="connsiteY40" fmla="*/ 1007269 h 2544762"/>
                    <a:gd name="connsiteX41" fmla="*/ 1240632 w 1340644"/>
                    <a:gd name="connsiteY41" fmla="*/ 878682 h 2544762"/>
                    <a:gd name="connsiteX42" fmla="*/ 1273969 w 1340644"/>
                    <a:gd name="connsiteY42" fmla="*/ 804863 h 2544762"/>
                    <a:gd name="connsiteX43" fmla="*/ 1223963 w 1340644"/>
                    <a:gd name="connsiteY43" fmla="*/ 664370 h 2544762"/>
                    <a:gd name="connsiteX44" fmla="*/ 1164431 w 1340644"/>
                    <a:gd name="connsiteY44" fmla="*/ 604838 h 2544762"/>
                    <a:gd name="connsiteX45" fmla="*/ 1162050 w 1340644"/>
                    <a:gd name="connsiteY45" fmla="*/ 523876 h 2544762"/>
                    <a:gd name="connsiteX46" fmla="*/ 1143001 w 1340644"/>
                    <a:gd name="connsiteY46" fmla="*/ 445295 h 2544762"/>
                    <a:gd name="connsiteX47" fmla="*/ 1163637 w 1340644"/>
                    <a:gd name="connsiteY47" fmla="*/ 324644 h 2544762"/>
                    <a:gd name="connsiteX48" fmla="*/ 1012031 w 1340644"/>
                    <a:gd name="connsiteY48" fmla="*/ 0 h 2544762"/>
                    <a:gd name="connsiteX49" fmla="*/ 926306 w 1340644"/>
                    <a:gd name="connsiteY49" fmla="*/ 153193 h 2544762"/>
                    <a:gd name="connsiteX0" fmla="*/ 926306 w 1340644"/>
                    <a:gd name="connsiteY0" fmla="*/ 153193 h 2544762"/>
                    <a:gd name="connsiteX1" fmla="*/ 259556 w 1340644"/>
                    <a:gd name="connsiteY1" fmla="*/ 1090613 h 2544762"/>
                    <a:gd name="connsiteX2" fmla="*/ 70643 w 1340644"/>
                    <a:gd name="connsiteY2" fmla="*/ 1068387 h 2544762"/>
                    <a:gd name="connsiteX3" fmla="*/ 28575 w 1340644"/>
                    <a:gd name="connsiteY3" fmla="*/ 1083470 h 2544762"/>
                    <a:gd name="connsiteX4" fmla="*/ 38100 w 1340644"/>
                    <a:gd name="connsiteY4" fmla="*/ 1140620 h 2544762"/>
                    <a:gd name="connsiteX5" fmla="*/ 0 w 1340644"/>
                    <a:gd name="connsiteY5" fmla="*/ 1188244 h 2544762"/>
                    <a:gd name="connsiteX6" fmla="*/ 0 w 1340644"/>
                    <a:gd name="connsiteY6" fmla="*/ 1328738 h 2544762"/>
                    <a:gd name="connsiteX7" fmla="*/ 26194 w 1340644"/>
                    <a:gd name="connsiteY7" fmla="*/ 1432718 h 2544762"/>
                    <a:gd name="connsiteX8" fmla="*/ 157162 w 1340644"/>
                    <a:gd name="connsiteY8" fmla="*/ 1795464 h 2544762"/>
                    <a:gd name="connsiteX9" fmla="*/ 161925 w 1340644"/>
                    <a:gd name="connsiteY9" fmla="*/ 1971675 h 2544762"/>
                    <a:gd name="connsiteX10" fmla="*/ 107156 w 1340644"/>
                    <a:gd name="connsiteY10" fmla="*/ 2064545 h 2544762"/>
                    <a:gd name="connsiteX11" fmla="*/ 123031 w 1340644"/>
                    <a:gd name="connsiteY11" fmla="*/ 2228056 h 2544762"/>
                    <a:gd name="connsiteX12" fmla="*/ 238125 w 1340644"/>
                    <a:gd name="connsiteY12" fmla="*/ 2422524 h 2544762"/>
                    <a:gd name="connsiteX13" fmla="*/ 418306 w 1340644"/>
                    <a:gd name="connsiteY13" fmla="*/ 2544762 h 2544762"/>
                    <a:gd name="connsiteX14" fmla="*/ 581024 w 1340644"/>
                    <a:gd name="connsiteY14" fmla="*/ 2409825 h 2544762"/>
                    <a:gd name="connsiteX15" fmla="*/ 585787 w 1340644"/>
                    <a:gd name="connsiteY15" fmla="*/ 2336007 h 2544762"/>
                    <a:gd name="connsiteX16" fmla="*/ 650082 w 1340644"/>
                    <a:gd name="connsiteY16" fmla="*/ 2300288 h 2544762"/>
                    <a:gd name="connsiteX17" fmla="*/ 652462 w 1340644"/>
                    <a:gd name="connsiteY17" fmla="*/ 2183607 h 2544762"/>
                    <a:gd name="connsiteX18" fmla="*/ 609599 w 1340644"/>
                    <a:gd name="connsiteY18" fmla="*/ 2169320 h 2544762"/>
                    <a:gd name="connsiteX19" fmla="*/ 531019 w 1340644"/>
                    <a:gd name="connsiteY19" fmla="*/ 2014538 h 2544762"/>
                    <a:gd name="connsiteX20" fmla="*/ 473869 w 1340644"/>
                    <a:gd name="connsiteY20" fmla="*/ 1704975 h 2544762"/>
                    <a:gd name="connsiteX21" fmla="*/ 385763 w 1340644"/>
                    <a:gd name="connsiteY21" fmla="*/ 1638301 h 2544762"/>
                    <a:gd name="connsiteX22" fmla="*/ 566737 w 1340644"/>
                    <a:gd name="connsiteY22" fmla="*/ 1628775 h 2544762"/>
                    <a:gd name="connsiteX23" fmla="*/ 657225 w 1340644"/>
                    <a:gd name="connsiteY23" fmla="*/ 1540669 h 2544762"/>
                    <a:gd name="connsiteX24" fmla="*/ 873919 w 1340644"/>
                    <a:gd name="connsiteY24" fmla="*/ 1543050 h 2544762"/>
                    <a:gd name="connsiteX25" fmla="*/ 926306 w 1340644"/>
                    <a:gd name="connsiteY25" fmla="*/ 1590676 h 2544762"/>
                    <a:gd name="connsiteX26" fmla="*/ 916781 w 1340644"/>
                    <a:gd name="connsiteY26" fmla="*/ 1628776 h 2544762"/>
                    <a:gd name="connsiteX27" fmla="*/ 995362 w 1340644"/>
                    <a:gd name="connsiteY27" fmla="*/ 1600201 h 2544762"/>
                    <a:gd name="connsiteX28" fmla="*/ 1042988 w 1340644"/>
                    <a:gd name="connsiteY28" fmla="*/ 1678782 h 2544762"/>
                    <a:gd name="connsiteX29" fmla="*/ 1073944 w 1340644"/>
                    <a:gd name="connsiteY29" fmla="*/ 1743074 h 2544762"/>
                    <a:gd name="connsiteX30" fmla="*/ 1128713 w 1340644"/>
                    <a:gd name="connsiteY30" fmla="*/ 1724026 h 2544762"/>
                    <a:gd name="connsiteX31" fmla="*/ 1181100 w 1340644"/>
                    <a:gd name="connsiteY31" fmla="*/ 1723231 h 2544762"/>
                    <a:gd name="connsiteX32" fmla="*/ 1145381 w 1340644"/>
                    <a:gd name="connsiteY32" fmla="*/ 1531144 h 2544762"/>
                    <a:gd name="connsiteX33" fmla="*/ 1197769 w 1340644"/>
                    <a:gd name="connsiteY33" fmla="*/ 1443038 h 2544762"/>
                    <a:gd name="connsiteX34" fmla="*/ 1169194 w 1340644"/>
                    <a:gd name="connsiteY34" fmla="*/ 1388270 h 2544762"/>
                    <a:gd name="connsiteX35" fmla="*/ 1223962 w 1340644"/>
                    <a:gd name="connsiteY35" fmla="*/ 1381125 h 2544762"/>
                    <a:gd name="connsiteX36" fmla="*/ 1276350 w 1340644"/>
                    <a:gd name="connsiteY36" fmla="*/ 1302545 h 2544762"/>
                    <a:gd name="connsiteX37" fmla="*/ 1266825 w 1340644"/>
                    <a:gd name="connsiteY37" fmla="*/ 1254920 h 2544762"/>
                    <a:gd name="connsiteX38" fmla="*/ 1303338 w 1340644"/>
                    <a:gd name="connsiteY38" fmla="*/ 1246187 h 2544762"/>
                    <a:gd name="connsiteX39" fmla="*/ 1340644 w 1340644"/>
                    <a:gd name="connsiteY39" fmla="*/ 1190625 h 2544762"/>
                    <a:gd name="connsiteX40" fmla="*/ 1285875 w 1340644"/>
                    <a:gd name="connsiteY40" fmla="*/ 1007269 h 2544762"/>
                    <a:gd name="connsiteX41" fmla="*/ 1240632 w 1340644"/>
                    <a:gd name="connsiteY41" fmla="*/ 878682 h 2544762"/>
                    <a:gd name="connsiteX42" fmla="*/ 1273969 w 1340644"/>
                    <a:gd name="connsiteY42" fmla="*/ 804863 h 2544762"/>
                    <a:gd name="connsiteX43" fmla="*/ 1223963 w 1340644"/>
                    <a:gd name="connsiteY43" fmla="*/ 664370 h 2544762"/>
                    <a:gd name="connsiteX44" fmla="*/ 1164431 w 1340644"/>
                    <a:gd name="connsiteY44" fmla="*/ 604838 h 2544762"/>
                    <a:gd name="connsiteX45" fmla="*/ 1162050 w 1340644"/>
                    <a:gd name="connsiteY45" fmla="*/ 523876 h 2544762"/>
                    <a:gd name="connsiteX46" fmla="*/ 1143001 w 1340644"/>
                    <a:gd name="connsiteY46" fmla="*/ 445295 h 2544762"/>
                    <a:gd name="connsiteX47" fmla="*/ 1163637 w 1340644"/>
                    <a:gd name="connsiteY47" fmla="*/ 324644 h 2544762"/>
                    <a:gd name="connsiteX48" fmla="*/ 1012031 w 1340644"/>
                    <a:gd name="connsiteY48" fmla="*/ 0 h 2544762"/>
                    <a:gd name="connsiteX49" fmla="*/ 926306 w 1340644"/>
                    <a:gd name="connsiteY49" fmla="*/ 153193 h 2544762"/>
                    <a:gd name="connsiteX0" fmla="*/ 926306 w 1340644"/>
                    <a:gd name="connsiteY0" fmla="*/ 153193 h 2544762"/>
                    <a:gd name="connsiteX1" fmla="*/ 433387 w 1340644"/>
                    <a:gd name="connsiteY1" fmla="*/ 845344 h 2544762"/>
                    <a:gd name="connsiteX2" fmla="*/ 259556 w 1340644"/>
                    <a:gd name="connsiteY2" fmla="*/ 1090613 h 2544762"/>
                    <a:gd name="connsiteX3" fmla="*/ 70643 w 1340644"/>
                    <a:gd name="connsiteY3" fmla="*/ 1068387 h 2544762"/>
                    <a:gd name="connsiteX4" fmla="*/ 28575 w 1340644"/>
                    <a:gd name="connsiteY4" fmla="*/ 1083470 h 2544762"/>
                    <a:gd name="connsiteX5" fmla="*/ 38100 w 1340644"/>
                    <a:gd name="connsiteY5" fmla="*/ 1140620 h 2544762"/>
                    <a:gd name="connsiteX6" fmla="*/ 0 w 1340644"/>
                    <a:gd name="connsiteY6" fmla="*/ 1188244 h 2544762"/>
                    <a:gd name="connsiteX7" fmla="*/ 0 w 1340644"/>
                    <a:gd name="connsiteY7" fmla="*/ 1328738 h 2544762"/>
                    <a:gd name="connsiteX8" fmla="*/ 26194 w 1340644"/>
                    <a:gd name="connsiteY8" fmla="*/ 1432718 h 2544762"/>
                    <a:gd name="connsiteX9" fmla="*/ 157162 w 1340644"/>
                    <a:gd name="connsiteY9" fmla="*/ 1795464 h 2544762"/>
                    <a:gd name="connsiteX10" fmla="*/ 161925 w 1340644"/>
                    <a:gd name="connsiteY10" fmla="*/ 1971675 h 2544762"/>
                    <a:gd name="connsiteX11" fmla="*/ 107156 w 1340644"/>
                    <a:gd name="connsiteY11" fmla="*/ 2064545 h 2544762"/>
                    <a:gd name="connsiteX12" fmla="*/ 123031 w 1340644"/>
                    <a:gd name="connsiteY12" fmla="*/ 2228056 h 2544762"/>
                    <a:gd name="connsiteX13" fmla="*/ 238125 w 1340644"/>
                    <a:gd name="connsiteY13" fmla="*/ 2422524 h 2544762"/>
                    <a:gd name="connsiteX14" fmla="*/ 418306 w 1340644"/>
                    <a:gd name="connsiteY14" fmla="*/ 2544762 h 2544762"/>
                    <a:gd name="connsiteX15" fmla="*/ 581024 w 1340644"/>
                    <a:gd name="connsiteY15" fmla="*/ 2409825 h 2544762"/>
                    <a:gd name="connsiteX16" fmla="*/ 585787 w 1340644"/>
                    <a:gd name="connsiteY16" fmla="*/ 2336007 h 2544762"/>
                    <a:gd name="connsiteX17" fmla="*/ 650082 w 1340644"/>
                    <a:gd name="connsiteY17" fmla="*/ 2300288 h 2544762"/>
                    <a:gd name="connsiteX18" fmla="*/ 652462 w 1340644"/>
                    <a:gd name="connsiteY18" fmla="*/ 2183607 h 2544762"/>
                    <a:gd name="connsiteX19" fmla="*/ 609599 w 1340644"/>
                    <a:gd name="connsiteY19" fmla="*/ 2169320 h 2544762"/>
                    <a:gd name="connsiteX20" fmla="*/ 531019 w 1340644"/>
                    <a:gd name="connsiteY20" fmla="*/ 2014538 h 2544762"/>
                    <a:gd name="connsiteX21" fmla="*/ 473869 w 1340644"/>
                    <a:gd name="connsiteY21" fmla="*/ 1704975 h 2544762"/>
                    <a:gd name="connsiteX22" fmla="*/ 385763 w 1340644"/>
                    <a:gd name="connsiteY22" fmla="*/ 1638301 h 2544762"/>
                    <a:gd name="connsiteX23" fmla="*/ 566737 w 1340644"/>
                    <a:gd name="connsiteY23" fmla="*/ 1628775 h 2544762"/>
                    <a:gd name="connsiteX24" fmla="*/ 657225 w 1340644"/>
                    <a:gd name="connsiteY24" fmla="*/ 1540669 h 2544762"/>
                    <a:gd name="connsiteX25" fmla="*/ 873919 w 1340644"/>
                    <a:gd name="connsiteY25" fmla="*/ 1543050 h 2544762"/>
                    <a:gd name="connsiteX26" fmla="*/ 926306 w 1340644"/>
                    <a:gd name="connsiteY26" fmla="*/ 1590676 h 2544762"/>
                    <a:gd name="connsiteX27" fmla="*/ 916781 w 1340644"/>
                    <a:gd name="connsiteY27" fmla="*/ 1628776 h 2544762"/>
                    <a:gd name="connsiteX28" fmla="*/ 995362 w 1340644"/>
                    <a:gd name="connsiteY28" fmla="*/ 1600201 h 2544762"/>
                    <a:gd name="connsiteX29" fmla="*/ 1042988 w 1340644"/>
                    <a:gd name="connsiteY29" fmla="*/ 1678782 h 2544762"/>
                    <a:gd name="connsiteX30" fmla="*/ 1073944 w 1340644"/>
                    <a:gd name="connsiteY30" fmla="*/ 1743074 h 2544762"/>
                    <a:gd name="connsiteX31" fmla="*/ 1128713 w 1340644"/>
                    <a:gd name="connsiteY31" fmla="*/ 1724026 h 2544762"/>
                    <a:gd name="connsiteX32" fmla="*/ 1181100 w 1340644"/>
                    <a:gd name="connsiteY32" fmla="*/ 1723231 h 2544762"/>
                    <a:gd name="connsiteX33" fmla="*/ 1145381 w 1340644"/>
                    <a:gd name="connsiteY33" fmla="*/ 1531144 h 2544762"/>
                    <a:gd name="connsiteX34" fmla="*/ 1197769 w 1340644"/>
                    <a:gd name="connsiteY34" fmla="*/ 1443038 h 2544762"/>
                    <a:gd name="connsiteX35" fmla="*/ 1169194 w 1340644"/>
                    <a:gd name="connsiteY35" fmla="*/ 1388270 h 2544762"/>
                    <a:gd name="connsiteX36" fmla="*/ 1223962 w 1340644"/>
                    <a:gd name="connsiteY36" fmla="*/ 1381125 h 2544762"/>
                    <a:gd name="connsiteX37" fmla="*/ 1276350 w 1340644"/>
                    <a:gd name="connsiteY37" fmla="*/ 1302545 h 2544762"/>
                    <a:gd name="connsiteX38" fmla="*/ 1266825 w 1340644"/>
                    <a:gd name="connsiteY38" fmla="*/ 1254920 h 2544762"/>
                    <a:gd name="connsiteX39" fmla="*/ 1303338 w 1340644"/>
                    <a:gd name="connsiteY39" fmla="*/ 1246187 h 2544762"/>
                    <a:gd name="connsiteX40" fmla="*/ 1340644 w 1340644"/>
                    <a:gd name="connsiteY40" fmla="*/ 1190625 h 2544762"/>
                    <a:gd name="connsiteX41" fmla="*/ 1285875 w 1340644"/>
                    <a:gd name="connsiteY41" fmla="*/ 1007269 h 2544762"/>
                    <a:gd name="connsiteX42" fmla="*/ 1240632 w 1340644"/>
                    <a:gd name="connsiteY42" fmla="*/ 878682 h 2544762"/>
                    <a:gd name="connsiteX43" fmla="*/ 1273969 w 1340644"/>
                    <a:gd name="connsiteY43" fmla="*/ 804863 h 2544762"/>
                    <a:gd name="connsiteX44" fmla="*/ 1223963 w 1340644"/>
                    <a:gd name="connsiteY44" fmla="*/ 664370 h 2544762"/>
                    <a:gd name="connsiteX45" fmla="*/ 1164431 w 1340644"/>
                    <a:gd name="connsiteY45" fmla="*/ 604838 h 2544762"/>
                    <a:gd name="connsiteX46" fmla="*/ 1162050 w 1340644"/>
                    <a:gd name="connsiteY46" fmla="*/ 523876 h 2544762"/>
                    <a:gd name="connsiteX47" fmla="*/ 1143001 w 1340644"/>
                    <a:gd name="connsiteY47" fmla="*/ 445295 h 2544762"/>
                    <a:gd name="connsiteX48" fmla="*/ 1163637 w 1340644"/>
                    <a:gd name="connsiteY48" fmla="*/ 324644 h 2544762"/>
                    <a:gd name="connsiteX49" fmla="*/ 1012031 w 1340644"/>
                    <a:gd name="connsiteY49" fmla="*/ 0 h 2544762"/>
                    <a:gd name="connsiteX50" fmla="*/ 926306 w 1340644"/>
                    <a:gd name="connsiteY50" fmla="*/ 153193 h 2544762"/>
                    <a:gd name="connsiteX0" fmla="*/ 926306 w 1340644"/>
                    <a:gd name="connsiteY0" fmla="*/ 153193 h 2544762"/>
                    <a:gd name="connsiteX1" fmla="*/ 288131 w 1340644"/>
                    <a:gd name="connsiteY1" fmla="*/ 1023938 h 2544762"/>
                    <a:gd name="connsiteX2" fmla="*/ 259556 w 1340644"/>
                    <a:gd name="connsiteY2" fmla="*/ 1090613 h 2544762"/>
                    <a:gd name="connsiteX3" fmla="*/ 70643 w 1340644"/>
                    <a:gd name="connsiteY3" fmla="*/ 1068387 h 2544762"/>
                    <a:gd name="connsiteX4" fmla="*/ 28575 w 1340644"/>
                    <a:gd name="connsiteY4" fmla="*/ 1083470 h 2544762"/>
                    <a:gd name="connsiteX5" fmla="*/ 38100 w 1340644"/>
                    <a:gd name="connsiteY5" fmla="*/ 1140620 h 2544762"/>
                    <a:gd name="connsiteX6" fmla="*/ 0 w 1340644"/>
                    <a:gd name="connsiteY6" fmla="*/ 1188244 h 2544762"/>
                    <a:gd name="connsiteX7" fmla="*/ 0 w 1340644"/>
                    <a:gd name="connsiteY7" fmla="*/ 1328738 h 2544762"/>
                    <a:gd name="connsiteX8" fmla="*/ 26194 w 1340644"/>
                    <a:gd name="connsiteY8" fmla="*/ 1432718 h 2544762"/>
                    <a:gd name="connsiteX9" fmla="*/ 157162 w 1340644"/>
                    <a:gd name="connsiteY9" fmla="*/ 1795464 h 2544762"/>
                    <a:gd name="connsiteX10" fmla="*/ 161925 w 1340644"/>
                    <a:gd name="connsiteY10" fmla="*/ 1971675 h 2544762"/>
                    <a:gd name="connsiteX11" fmla="*/ 107156 w 1340644"/>
                    <a:gd name="connsiteY11" fmla="*/ 2064545 h 2544762"/>
                    <a:gd name="connsiteX12" fmla="*/ 123031 w 1340644"/>
                    <a:gd name="connsiteY12" fmla="*/ 2228056 h 2544762"/>
                    <a:gd name="connsiteX13" fmla="*/ 238125 w 1340644"/>
                    <a:gd name="connsiteY13" fmla="*/ 2422524 h 2544762"/>
                    <a:gd name="connsiteX14" fmla="*/ 418306 w 1340644"/>
                    <a:gd name="connsiteY14" fmla="*/ 2544762 h 2544762"/>
                    <a:gd name="connsiteX15" fmla="*/ 581024 w 1340644"/>
                    <a:gd name="connsiteY15" fmla="*/ 2409825 h 2544762"/>
                    <a:gd name="connsiteX16" fmla="*/ 585787 w 1340644"/>
                    <a:gd name="connsiteY16" fmla="*/ 2336007 h 2544762"/>
                    <a:gd name="connsiteX17" fmla="*/ 650082 w 1340644"/>
                    <a:gd name="connsiteY17" fmla="*/ 2300288 h 2544762"/>
                    <a:gd name="connsiteX18" fmla="*/ 652462 w 1340644"/>
                    <a:gd name="connsiteY18" fmla="*/ 2183607 h 2544762"/>
                    <a:gd name="connsiteX19" fmla="*/ 609599 w 1340644"/>
                    <a:gd name="connsiteY19" fmla="*/ 2169320 h 2544762"/>
                    <a:gd name="connsiteX20" fmla="*/ 531019 w 1340644"/>
                    <a:gd name="connsiteY20" fmla="*/ 2014538 h 2544762"/>
                    <a:gd name="connsiteX21" fmla="*/ 473869 w 1340644"/>
                    <a:gd name="connsiteY21" fmla="*/ 1704975 h 2544762"/>
                    <a:gd name="connsiteX22" fmla="*/ 385763 w 1340644"/>
                    <a:gd name="connsiteY22" fmla="*/ 1638301 h 2544762"/>
                    <a:gd name="connsiteX23" fmla="*/ 566737 w 1340644"/>
                    <a:gd name="connsiteY23" fmla="*/ 1628775 h 2544762"/>
                    <a:gd name="connsiteX24" fmla="*/ 657225 w 1340644"/>
                    <a:gd name="connsiteY24" fmla="*/ 1540669 h 2544762"/>
                    <a:gd name="connsiteX25" fmla="*/ 873919 w 1340644"/>
                    <a:gd name="connsiteY25" fmla="*/ 1543050 h 2544762"/>
                    <a:gd name="connsiteX26" fmla="*/ 926306 w 1340644"/>
                    <a:gd name="connsiteY26" fmla="*/ 1590676 h 2544762"/>
                    <a:gd name="connsiteX27" fmla="*/ 916781 w 1340644"/>
                    <a:gd name="connsiteY27" fmla="*/ 1628776 h 2544762"/>
                    <a:gd name="connsiteX28" fmla="*/ 995362 w 1340644"/>
                    <a:gd name="connsiteY28" fmla="*/ 1600201 h 2544762"/>
                    <a:gd name="connsiteX29" fmla="*/ 1042988 w 1340644"/>
                    <a:gd name="connsiteY29" fmla="*/ 1678782 h 2544762"/>
                    <a:gd name="connsiteX30" fmla="*/ 1073944 w 1340644"/>
                    <a:gd name="connsiteY30" fmla="*/ 1743074 h 2544762"/>
                    <a:gd name="connsiteX31" fmla="*/ 1128713 w 1340644"/>
                    <a:gd name="connsiteY31" fmla="*/ 1724026 h 2544762"/>
                    <a:gd name="connsiteX32" fmla="*/ 1181100 w 1340644"/>
                    <a:gd name="connsiteY32" fmla="*/ 1723231 h 2544762"/>
                    <a:gd name="connsiteX33" fmla="*/ 1145381 w 1340644"/>
                    <a:gd name="connsiteY33" fmla="*/ 1531144 h 2544762"/>
                    <a:gd name="connsiteX34" fmla="*/ 1197769 w 1340644"/>
                    <a:gd name="connsiteY34" fmla="*/ 1443038 h 2544762"/>
                    <a:gd name="connsiteX35" fmla="*/ 1169194 w 1340644"/>
                    <a:gd name="connsiteY35" fmla="*/ 1388270 h 2544762"/>
                    <a:gd name="connsiteX36" fmla="*/ 1223962 w 1340644"/>
                    <a:gd name="connsiteY36" fmla="*/ 1381125 h 2544762"/>
                    <a:gd name="connsiteX37" fmla="*/ 1276350 w 1340644"/>
                    <a:gd name="connsiteY37" fmla="*/ 1302545 h 2544762"/>
                    <a:gd name="connsiteX38" fmla="*/ 1266825 w 1340644"/>
                    <a:gd name="connsiteY38" fmla="*/ 1254920 h 2544762"/>
                    <a:gd name="connsiteX39" fmla="*/ 1303338 w 1340644"/>
                    <a:gd name="connsiteY39" fmla="*/ 1246187 h 2544762"/>
                    <a:gd name="connsiteX40" fmla="*/ 1340644 w 1340644"/>
                    <a:gd name="connsiteY40" fmla="*/ 1190625 h 2544762"/>
                    <a:gd name="connsiteX41" fmla="*/ 1285875 w 1340644"/>
                    <a:gd name="connsiteY41" fmla="*/ 1007269 h 2544762"/>
                    <a:gd name="connsiteX42" fmla="*/ 1240632 w 1340644"/>
                    <a:gd name="connsiteY42" fmla="*/ 878682 h 2544762"/>
                    <a:gd name="connsiteX43" fmla="*/ 1273969 w 1340644"/>
                    <a:gd name="connsiteY43" fmla="*/ 804863 h 2544762"/>
                    <a:gd name="connsiteX44" fmla="*/ 1223963 w 1340644"/>
                    <a:gd name="connsiteY44" fmla="*/ 664370 h 2544762"/>
                    <a:gd name="connsiteX45" fmla="*/ 1164431 w 1340644"/>
                    <a:gd name="connsiteY45" fmla="*/ 604838 h 2544762"/>
                    <a:gd name="connsiteX46" fmla="*/ 1162050 w 1340644"/>
                    <a:gd name="connsiteY46" fmla="*/ 523876 h 2544762"/>
                    <a:gd name="connsiteX47" fmla="*/ 1143001 w 1340644"/>
                    <a:gd name="connsiteY47" fmla="*/ 445295 h 2544762"/>
                    <a:gd name="connsiteX48" fmla="*/ 1163637 w 1340644"/>
                    <a:gd name="connsiteY48" fmla="*/ 324644 h 2544762"/>
                    <a:gd name="connsiteX49" fmla="*/ 1012031 w 1340644"/>
                    <a:gd name="connsiteY49" fmla="*/ 0 h 2544762"/>
                    <a:gd name="connsiteX50" fmla="*/ 926306 w 1340644"/>
                    <a:gd name="connsiteY50" fmla="*/ 153193 h 2544762"/>
                    <a:gd name="connsiteX0" fmla="*/ 926306 w 1340644"/>
                    <a:gd name="connsiteY0" fmla="*/ 153193 h 2544762"/>
                    <a:gd name="connsiteX1" fmla="*/ 381000 w 1340644"/>
                    <a:gd name="connsiteY1" fmla="*/ 885826 h 2544762"/>
                    <a:gd name="connsiteX2" fmla="*/ 288131 w 1340644"/>
                    <a:gd name="connsiteY2" fmla="*/ 1023938 h 2544762"/>
                    <a:gd name="connsiteX3" fmla="*/ 259556 w 1340644"/>
                    <a:gd name="connsiteY3" fmla="*/ 1090613 h 2544762"/>
                    <a:gd name="connsiteX4" fmla="*/ 70643 w 1340644"/>
                    <a:gd name="connsiteY4" fmla="*/ 1068387 h 2544762"/>
                    <a:gd name="connsiteX5" fmla="*/ 28575 w 1340644"/>
                    <a:gd name="connsiteY5" fmla="*/ 1083470 h 2544762"/>
                    <a:gd name="connsiteX6" fmla="*/ 38100 w 1340644"/>
                    <a:gd name="connsiteY6" fmla="*/ 1140620 h 2544762"/>
                    <a:gd name="connsiteX7" fmla="*/ 0 w 1340644"/>
                    <a:gd name="connsiteY7" fmla="*/ 1188244 h 2544762"/>
                    <a:gd name="connsiteX8" fmla="*/ 0 w 1340644"/>
                    <a:gd name="connsiteY8" fmla="*/ 1328738 h 2544762"/>
                    <a:gd name="connsiteX9" fmla="*/ 26194 w 1340644"/>
                    <a:gd name="connsiteY9" fmla="*/ 1432718 h 2544762"/>
                    <a:gd name="connsiteX10" fmla="*/ 157162 w 1340644"/>
                    <a:gd name="connsiteY10" fmla="*/ 1795464 h 2544762"/>
                    <a:gd name="connsiteX11" fmla="*/ 161925 w 1340644"/>
                    <a:gd name="connsiteY11" fmla="*/ 1971675 h 2544762"/>
                    <a:gd name="connsiteX12" fmla="*/ 107156 w 1340644"/>
                    <a:gd name="connsiteY12" fmla="*/ 2064545 h 2544762"/>
                    <a:gd name="connsiteX13" fmla="*/ 123031 w 1340644"/>
                    <a:gd name="connsiteY13" fmla="*/ 2228056 h 2544762"/>
                    <a:gd name="connsiteX14" fmla="*/ 238125 w 1340644"/>
                    <a:gd name="connsiteY14" fmla="*/ 2422524 h 2544762"/>
                    <a:gd name="connsiteX15" fmla="*/ 418306 w 1340644"/>
                    <a:gd name="connsiteY15" fmla="*/ 2544762 h 2544762"/>
                    <a:gd name="connsiteX16" fmla="*/ 581024 w 1340644"/>
                    <a:gd name="connsiteY16" fmla="*/ 2409825 h 2544762"/>
                    <a:gd name="connsiteX17" fmla="*/ 585787 w 1340644"/>
                    <a:gd name="connsiteY17" fmla="*/ 2336007 h 2544762"/>
                    <a:gd name="connsiteX18" fmla="*/ 650082 w 1340644"/>
                    <a:gd name="connsiteY18" fmla="*/ 2300288 h 2544762"/>
                    <a:gd name="connsiteX19" fmla="*/ 652462 w 1340644"/>
                    <a:gd name="connsiteY19" fmla="*/ 2183607 h 2544762"/>
                    <a:gd name="connsiteX20" fmla="*/ 609599 w 1340644"/>
                    <a:gd name="connsiteY20" fmla="*/ 2169320 h 2544762"/>
                    <a:gd name="connsiteX21" fmla="*/ 531019 w 1340644"/>
                    <a:gd name="connsiteY21" fmla="*/ 2014538 h 2544762"/>
                    <a:gd name="connsiteX22" fmla="*/ 473869 w 1340644"/>
                    <a:gd name="connsiteY22" fmla="*/ 1704975 h 2544762"/>
                    <a:gd name="connsiteX23" fmla="*/ 385763 w 1340644"/>
                    <a:gd name="connsiteY23" fmla="*/ 1638301 h 2544762"/>
                    <a:gd name="connsiteX24" fmla="*/ 566737 w 1340644"/>
                    <a:gd name="connsiteY24" fmla="*/ 1628775 h 2544762"/>
                    <a:gd name="connsiteX25" fmla="*/ 657225 w 1340644"/>
                    <a:gd name="connsiteY25" fmla="*/ 1540669 h 2544762"/>
                    <a:gd name="connsiteX26" fmla="*/ 873919 w 1340644"/>
                    <a:gd name="connsiteY26" fmla="*/ 1543050 h 2544762"/>
                    <a:gd name="connsiteX27" fmla="*/ 926306 w 1340644"/>
                    <a:gd name="connsiteY27" fmla="*/ 1590676 h 2544762"/>
                    <a:gd name="connsiteX28" fmla="*/ 916781 w 1340644"/>
                    <a:gd name="connsiteY28" fmla="*/ 1628776 h 2544762"/>
                    <a:gd name="connsiteX29" fmla="*/ 995362 w 1340644"/>
                    <a:gd name="connsiteY29" fmla="*/ 1600201 h 2544762"/>
                    <a:gd name="connsiteX30" fmla="*/ 1042988 w 1340644"/>
                    <a:gd name="connsiteY30" fmla="*/ 1678782 h 2544762"/>
                    <a:gd name="connsiteX31" fmla="*/ 1073944 w 1340644"/>
                    <a:gd name="connsiteY31" fmla="*/ 1743074 h 2544762"/>
                    <a:gd name="connsiteX32" fmla="*/ 1128713 w 1340644"/>
                    <a:gd name="connsiteY32" fmla="*/ 1724026 h 2544762"/>
                    <a:gd name="connsiteX33" fmla="*/ 1181100 w 1340644"/>
                    <a:gd name="connsiteY33" fmla="*/ 1723231 h 2544762"/>
                    <a:gd name="connsiteX34" fmla="*/ 1145381 w 1340644"/>
                    <a:gd name="connsiteY34" fmla="*/ 1531144 h 2544762"/>
                    <a:gd name="connsiteX35" fmla="*/ 1197769 w 1340644"/>
                    <a:gd name="connsiteY35" fmla="*/ 1443038 h 2544762"/>
                    <a:gd name="connsiteX36" fmla="*/ 1169194 w 1340644"/>
                    <a:gd name="connsiteY36" fmla="*/ 1388270 h 2544762"/>
                    <a:gd name="connsiteX37" fmla="*/ 1223962 w 1340644"/>
                    <a:gd name="connsiteY37" fmla="*/ 1381125 h 2544762"/>
                    <a:gd name="connsiteX38" fmla="*/ 1276350 w 1340644"/>
                    <a:gd name="connsiteY38" fmla="*/ 1302545 h 2544762"/>
                    <a:gd name="connsiteX39" fmla="*/ 1266825 w 1340644"/>
                    <a:gd name="connsiteY39" fmla="*/ 1254920 h 2544762"/>
                    <a:gd name="connsiteX40" fmla="*/ 1303338 w 1340644"/>
                    <a:gd name="connsiteY40" fmla="*/ 1246187 h 2544762"/>
                    <a:gd name="connsiteX41" fmla="*/ 1340644 w 1340644"/>
                    <a:gd name="connsiteY41" fmla="*/ 1190625 h 2544762"/>
                    <a:gd name="connsiteX42" fmla="*/ 1285875 w 1340644"/>
                    <a:gd name="connsiteY42" fmla="*/ 1007269 h 2544762"/>
                    <a:gd name="connsiteX43" fmla="*/ 1240632 w 1340644"/>
                    <a:gd name="connsiteY43" fmla="*/ 878682 h 2544762"/>
                    <a:gd name="connsiteX44" fmla="*/ 1273969 w 1340644"/>
                    <a:gd name="connsiteY44" fmla="*/ 804863 h 2544762"/>
                    <a:gd name="connsiteX45" fmla="*/ 1223963 w 1340644"/>
                    <a:gd name="connsiteY45" fmla="*/ 664370 h 2544762"/>
                    <a:gd name="connsiteX46" fmla="*/ 1164431 w 1340644"/>
                    <a:gd name="connsiteY46" fmla="*/ 604838 h 2544762"/>
                    <a:gd name="connsiteX47" fmla="*/ 1162050 w 1340644"/>
                    <a:gd name="connsiteY47" fmla="*/ 523876 h 2544762"/>
                    <a:gd name="connsiteX48" fmla="*/ 1143001 w 1340644"/>
                    <a:gd name="connsiteY48" fmla="*/ 445295 h 2544762"/>
                    <a:gd name="connsiteX49" fmla="*/ 1163637 w 1340644"/>
                    <a:gd name="connsiteY49" fmla="*/ 324644 h 2544762"/>
                    <a:gd name="connsiteX50" fmla="*/ 1012031 w 1340644"/>
                    <a:gd name="connsiteY50" fmla="*/ 0 h 2544762"/>
                    <a:gd name="connsiteX51" fmla="*/ 926306 w 1340644"/>
                    <a:gd name="connsiteY51" fmla="*/ 153193 h 2544762"/>
                    <a:gd name="connsiteX0" fmla="*/ 926306 w 1340644"/>
                    <a:gd name="connsiteY0" fmla="*/ 153193 h 2544762"/>
                    <a:gd name="connsiteX1" fmla="*/ 335757 w 1340644"/>
                    <a:gd name="connsiteY1" fmla="*/ 1045369 h 2544762"/>
                    <a:gd name="connsiteX2" fmla="*/ 288131 w 1340644"/>
                    <a:gd name="connsiteY2" fmla="*/ 1023938 h 2544762"/>
                    <a:gd name="connsiteX3" fmla="*/ 259556 w 1340644"/>
                    <a:gd name="connsiteY3" fmla="*/ 1090613 h 2544762"/>
                    <a:gd name="connsiteX4" fmla="*/ 70643 w 1340644"/>
                    <a:gd name="connsiteY4" fmla="*/ 1068387 h 2544762"/>
                    <a:gd name="connsiteX5" fmla="*/ 28575 w 1340644"/>
                    <a:gd name="connsiteY5" fmla="*/ 1083470 h 2544762"/>
                    <a:gd name="connsiteX6" fmla="*/ 38100 w 1340644"/>
                    <a:gd name="connsiteY6" fmla="*/ 1140620 h 2544762"/>
                    <a:gd name="connsiteX7" fmla="*/ 0 w 1340644"/>
                    <a:gd name="connsiteY7" fmla="*/ 1188244 h 2544762"/>
                    <a:gd name="connsiteX8" fmla="*/ 0 w 1340644"/>
                    <a:gd name="connsiteY8" fmla="*/ 1328738 h 2544762"/>
                    <a:gd name="connsiteX9" fmla="*/ 26194 w 1340644"/>
                    <a:gd name="connsiteY9" fmla="*/ 1432718 h 2544762"/>
                    <a:gd name="connsiteX10" fmla="*/ 157162 w 1340644"/>
                    <a:gd name="connsiteY10" fmla="*/ 1795464 h 2544762"/>
                    <a:gd name="connsiteX11" fmla="*/ 161925 w 1340644"/>
                    <a:gd name="connsiteY11" fmla="*/ 1971675 h 2544762"/>
                    <a:gd name="connsiteX12" fmla="*/ 107156 w 1340644"/>
                    <a:gd name="connsiteY12" fmla="*/ 2064545 h 2544762"/>
                    <a:gd name="connsiteX13" fmla="*/ 123031 w 1340644"/>
                    <a:gd name="connsiteY13" fmla="*/ 2228056 h 2544762"/>
                    <a:gd name="connsiteX14" fmla="*/ 238125 w 1340644"/>
                    <a:gd name="connsiteY14" fmla="*/ 2422524 h 2544762"/>
                    <a:gd name="connsiteX15" fmla="*/ 418306 w 1340644"/>
                    <a:gd name="connsiteY15" fmla="*/ 2544762 h 2544762"/>
                    <a:gd name="connsiteX16" fmla="*/ 581024 w 1340644"/>
                    <a:gd name="connsiteY16" fmla="*/ 2409825 h 2544762"/>
                    <a:gd name="connsiteX17" fmla="*/ 585787 w 1340644"/>
                    <a:gd name="connsiteY17" fmla="*/ 2336007 h 2544762"/>
                    <a:gd name="connsiteX18" fmla="*/ 650082 w 1340644"/>
                    <a:gd name="connsiteY18" fmla="*/ 2300288 h 2544762"/>
                    <a:gd name="connsiteX19" fmla="*/ 652462 w 1340644"/>
                    <a:gd name="connsiteY19" fmla="*/ 2183607 h 2544762"/>
                    <a:gd name="connsiteX20" fmla="*/ 609599 w 1340644"/>
                    <a:gd name="connsiteY20" fmla="*/ 2169320 h 2544762"/>
                    <a:gd name="connsiteX21" fmla="*/ 531019 w 1340644"/>
                    <a:gd name="connsiteY21" fmla="*/ 2014538 h 2544762"/>
                    <a:gd name="connsiteX22" fmla="*/ 473869 w 1340644"/>
                    <a:gd name="connsiteY22" fmla="*/ 1704975 h 2544762"/>
                    <a:gd name="connsiteX23" fmla="*/ 385763 w 1340644"/>
                    <a:gd name="connsiteY23" fmla="*/ 1638301 h 2544762"/>
                    <a:gd name="connsiteX24" fmla="*/ 566737 w 1340644"/>
                    <a:gd name="connsiteY24" fmla="*/ 1628775 h 2544762"/>
                    <a:gd name="connsiteX25" fmla="*/ 657225 w 1340644"/>
                    <a:gd name="connsiteY25" fmla="*/ 1540669 h 2544762"/>
                    <a:gd name="connsiteX26" fmla="*/ 873919 w 1340644"/>
                    <a:gd name="connsiteY26" fmla="*/ 1543050 h 2544762"/>
                    <a:gd name="connsiteX27" fmla="*/ 926306 w 1340644"/>
                    <a:gd name="connsiteY27" fmla="*/ 1590676 h 2544762"/>
                    <a:gd name="connsiteX28" fmla="*/ 916781 w 1340644"/>
                    <a:gd name="connsiteY28" fmla="*/ 1628776 h 2544762"/>
                    <a:gd name="connsiteX29" fmla="*/ 995362 w 1340644"/>
                    <a:gd name="connsiteY29" fmla="*/ 1600201 h 2544762"/>
                    <a:gd name="connsiteX30" fmla="*/ 1042988 w 1340644"/>
                    <a:gd name="connsiteY30" fmla="*/ 1678782 h 2544762"/>
                    <a:gd name="connsiteX31" fmla="*/ 1073944 w 1340644"/>
                    <a:gd name="connsiteY31" fmla="*/ 1743074 h 2544762"/>
                    <a:gd name="connsiteX32" fmla="*/ 1128713 w 1340644"/>
                    <a:gd name="connsiteY32" fmla="*/ 1724026 h 2544762"/>
                    <a:gd name="connsiteX33" fmla="*/ 1181100 w 1340644"/>
                    <a:gd name="connsiteY33" fmla="*/ 1723231 h 2544762"/>
                    <a:gd name="connsiteX34" fmla="*/ 1145381 w 1340644"/>
                    <a:gd name="connsiteY34" fmla="*/ 1531144 h 2544762"/>
                    <a:gd name="connsiteX35" fmla="*/ 1197769 w 1340644"/>
                    <a:gd name="connsiteY35" fmla="*/ 1443038 h 2544762"/>
                    <a:gd name="connsiteX36" fmla="*/ 1169194 w 1340644"/>
                    <a:gd name="connsiteY36" fmla="*/ 1388270 h 2544762"/>
                    <a:gd name="connsiteX37" fmla="*/ 1223962 w 1340644"/>
                    <a:gd name="connsiteY37" fmla="*/ 1381125 h 2544762"/>
                    <a:gd name="connsiteX38" fmla="*/ 1276350 w 1340644"/>
                    <a:gd name="connsiteY38" fmla="*/ 1302545 h 2544762"/>
                    <a:gd name="connsiteX39" fmla="*/ 1266825 w 1340644"/>
                    <a:gd name="connsiteY39" fmla="*/ 1254920 h 2544762"/>
                    <a:gd name="connsiteX40" fmla="*/ 1303338 w 1340644"/>
                    <a:gd name="connsiteY40" fmla="*/ 1246187 h 2544762"/>
                    <a:gd name="connsiteX41" fmla="*/ 1340644 w 1340644"/>
                    <a:gd name="connsiteY41" fmla="*/ 1190625 h 2544762"/>
                    <a:gd name="connsiteX42" fmla="*/ 1285875 w 1340644"/>
                    <a:gd name="connsiteY42" fmla="*/ 1007269 h 2544762"/>
                    <a:gd name="connsiteX43" fmla="*/ 1240632 w 1340644"/>
                    <a:gd name="connsiteY43" fmla="*/ 878682 h 2544762"/>
                    <a:gd name="connsiteX44" fmla="*/ 1273969 w 1340644"/>
                    <a:gd name="connsiteY44" fmla="*/ 804863 h 2544762"/>
                    <a:gd name="connsiteX45" fmla="*/ 1223963 w 1340644"/>
                    <a:gd name="connsiteY45" fmla="*/ 664370 h 2544762"/>
                    <a:gd name="connsiteX46" fmla="*/ 1164431 w 1340644"/>
                    <a:gd name="connsiteY46" fmla="*/ 604838 h 2544762"/>
                    <a:gd name="connsiteX47" fmla="*/ 1162050 w 1340644"/>
                    <a:gd name="connsiteY47" fmla="*/ 523876 h 2544762"/>
                    <a:gd name="connsiteX48" fmla="*/ 1143001 w 1340644"/>
                    <a:gd name="connsiteY48" fmla="*/ 445295 h 2544762"/>
                    <a:gd name="connsiteX49" fmla="*/ 1163637 w 1340644"/>
                    <a:gd name="connsiteY49" fmla="*/ 324644 h 2544762"/>
                    <a:gd name="connsiteX50" fmla="*/ 1012031 w 1340644"/>
                    <a:gd name="connsiteY50" fmla="*/ 0 h 2544762"/>
                    <a:gd name="connsiteX51" fmla="*/ 926306 w 1340644"/>
                    <a:gd name="connsiteY51" fmla="*/ 153193 h 2544762"/>
                    <a:gd name="connsiteX0" fmla="*/ 926306 w 1340644"/>
                    <a:gd name="connsiteY0" fmla="*/ 153193 h 2544762"/>
                    <a:gd name="connsiteX1" fmla="*/ 490537 w 1340644"/>
                    <a:gd name="connsiteY1" fmla="*/ 809626 h 2544762"/>
                    <a:gd name="connsiteX2" fmla="*/ 335757 w 1340644"/>
                    <a:gd name="connsiteY2" fmla="*/ 1045369 h 2544762"/>
                    <a:gd name="connsiteX3" fmla="*/ 288131 w 1340644"/>
                    <a:gd name="connsiteY3" fmla="*/ 1023938 h 2544762"/>
                    <a:gd name="connsiteX4" fmla="*/ 259556 w 1340644"/>
                    <a:gd name="connsiteY4" fmla="*/ 1090613 h 2544762"/>
                    <a:gd name="connsiteX5" fmla="*/ 70643 w 1340644"/>
                    <a:gd name="connsiteY5" fmla="*/ 1068387 h 2544762"/>
                    <a:gd name="connsiteX6" fmla="*/ 28575 w 1340644"/>
                    <a:gd name="connsiteY6" fmla="*/ 1083470 h 2544762"/>
                    <a:gd name="connsiteX7" fmla="*/ 38100 w 1340644"/>
                    <a:gd name="connsiteY7" fmla="*/ 1140620 h 2544762"/>
                    <a:gd name="connsiteX8" fmla="*/ 0 w 1340644"/>
                    <a:gd name="connsiteY8" fmla="*/ 1188244 h 2544762"/>
                    <a:gd name="connsiteX9" fmla="*/ 0 w 1340644"/>
                    <a:gd name="connsiteY9" fmla="*/ 1328738 h 2544762"/>
                    <a:gd name="connsiteX10" fmla="*/ 26194 w 1340644"/>
                    <a:gd name="connsiteY10" fmla="*/ 1432718 h 2544762"/>
                    <a:gd name="connsiteX11" fmla="*/ 157162 w 1340644"/>
                    <a:gd name="connsiteY11" fmla="*/ 1795464 h 2544762"/>
                    <a:gd name="connsiteX12" fmla="*/ 161925 w 1340644"/>
                    <a:gd name="connsiteY12" fmla="*/ 1971675 h 2544762"/>
                    <a:gd name="connsiteX13" fmla="*/ 107156 w 1340644"/>
                    <a:gd name="connsiteY13" fmla="*/ 2064545 h 2544762"/>
                    <a:gd name="connsiteX14" fmla="*/ 123031 w 1340644"/>
                    <a:gd name="connsiteY14" fmla="*/ 2228056 h 2544762"/>
                    <a:gd name="connsiteX15" fmla="*/ 238125 w 1340644"/>
                    <a:gd name="connsiteY15" fmla="*/ 2422524 h 2544762"/>
                    <a:gd name="connsiteX16" fmla="*/ 418306 w 1340644"/>
                    <a:gd name="connsiteY16" fmla="*/ 2544762 h 2544762"/>
                    <a:gd name="connsiteX17" fmla="*/ 581024 w 1340644"/>
                    <a:gd name="connsiteY17" fmla="*/ 2409825 h 2544762"/>
                    <a:gd name="connsiteX18" fmla="*/ 585787 w 1340644"/>
                    <a:gd name="connsiteY18" fmla="*/ 2336007 h 2544762"/>
                    <a:gd name="connsiteX19" fmla="*/ 650082 w 1340644"/>
                    <a:gd name="connsiteY19" fmla="*/ 2300288 h 2544762"/>
                    <a:gd name="connsiteX20" fmla="*/ 652462 w 1340644"/>
                    <a:gd name="connsiteY20" fmla="*/ 2183607 h 2544762"/>
                    <a:gd name="connsiteX21" fmla="*/ 609599 w 1340644"/>
                    <a:gd name="connsiteY21" fmla="*/ 2169320 h 2544762"/>
                    <a:gd name="connsiteX22" fmla="*/ 531019 w 1340644"/>
                    <a:gd name="connsiteY22" fmla="*/ 2014538 h 2544762"/>
                    <a:gd name="connsiteX23" fmla="*/ 473869 w 1340644"/>
                    <a:gd name="connsiteY23" fmla="*/ 1704975 h 2544762"/>
                    <a:gd name="connsiteX24" fmla="*/ 385763 w 1340644"/>
                    <a:gd name="connsiteY24" fmla="*/ 1638301 h 2544762"/>
                    <a:gd name="connsiteX25" fmla="*/ 566737 w 1340644"/>
                    <a:gd name="connsiteY25" fmla="*/ 1628775 h 2544762"/>
                    <a:gd name="connsiteX26" fmla="*/ 657225 w 1340644"/>
                    <a:gd name="connsiteY26" fmla="*/ 1540669 h 2544762"/>
                    <a:gd name="connsiteX27" fmla="*/ 873919 w 1340644"/>
                    <a:gd name="connsiteY27" fmla="*/ 1543050 h 2544762"/>
                    <a:gd name="connsiteX28" fmla="*/ 926306 w 1340644"/>
                    <a:gd name="connsiteY28" fmla="*/ 1590676 h 2544762"/>
                    <a:gd name="connsiteX29" fmla="*/ 916781 w 1340644"/>
                    <a:gd name="connsiteY29" fmla="*/ 1628776 h 2544762"/>
                    <a:gd name="connsiteX30" fmla="*/ 995362 w 1340644"/>
                    <a:gd name="connsiteY30" fmla="*/ 1600201 h 2544762"/>
                    <a:gd name="connsiteX31" fmla="*/ 1042988 w 1340644"/>
                    <a:gd name="connsiteY31" fmla="*/ 1678782 h 2544762"/>
                    <a:gd name="connsiteX32" fmla="*/ 1073944 w 1340644"/>
                    <a:gd name="connsiteY32" fmla="*/ 1743074 h 2544762"/>
                    <a:gd name="connsiteX33" fmla="*/ 1128713 w 1340644"/>
                    <a:gd name="connsiteY33" fmla="*/ 1724026 h 2544762"/>
                    <a:gd name="connsiteX34" fmla="*/ 1181100 w 1340644"/>
                    <a:gd name="connsiteY34" fmla="*/ 1723231 h 2544762"/>
                    <a:gd name="connsiteX35" fmla="*/ 1145381 w 1340644"/>
                    <a:gd name="connsiteY35" fmla="*/ 1531144 h 2544762"/>
                    <a:gd name="connsiteX36" fmla="*/ 1197769 w 1340644"/>
                    <a:gd name="connsiteY36" fmla="*/ 1443038 h 2544762"/>
                    <a:gd name="connsiteX37" fmla="*/ 1169194 w 1340644"/>
                    <a:gd name="connsiteY37" fmla="*/ 1388270 h 2544762"/>
                    <a:gd name="connsiteX38" fmla="*/ 1223962 w 1340644"/>
                    <a:gd name="connsiteY38" fmla="*/ 1381125 h 2544762"/>
                    <a:gd name="connsiteX39" fmla="*/ 1276350 w 1340644"/>
                    <a:gd name="connsiteY39" fmla="*/ 1302545 h 2544762"/>
                    <a:gd name="connsiteX40" fmla="*/ 1266825 w 1340644"/>
                    <a:gd name="connsiteY40" fmla="*/ 1254920 h 2544762"/>
                    <a:gd name="connsiteX41" fmla="*/ 1303338 w 1340644"/>
                    <a:gd name="connsiteY41" fmla="*/ 1246187 h 2544762"/>
                    <a:gd name="connsiteX42" fmla="*/ 1340644 w 1340644"/>
                    <a:gd name="connsiteY42" fmla="*/ 1190625 h 2544762"/>
                    <a:gd name="connsiteX43" fmla="*/ 1285875 w 1340644"/>
                    <a:gd name="connsiteY43" fmla="*/ 1007269 h 2544762"/>
                    <a:gd name="connsiteX44" fmla="*/ 1240632 w 1340644"/>
                    <a:gd name="connsiteY44" fmla="*/ 878682 h 2544762"/>
                    <a:gd name="connsiteX45" fmla="*/ 1273969 w 1340644"/>
                    <a:gd name="connsiteY45" fmla="*/ 804863 h 2544762"/>
                    <a:gd name="connsiteX46" fmla="*/ 1223963 w 1340644"/>
                    <a:gd name="connsiteY46" fmla="*/ 664370 h 2544762"/>
                    <a:gd name="connsiteX47" fmla="*/ 1164431 w 1340644"/>
                    <a:gd name="connsiteY47" fmla="*/ 604838 h 2544762"/>
                    <a:gd name="connsiteX48" fmla="*/ 1162050 w 1340644"/>
                    <a:gd name="connsiteY48" fmla="*/ 523876 h 2544762"/>
                    <a:gd name="connsiteX49" fmla="*/ 1143001 w 1340644"/>
                    <a:gd name="connsiteY49" fmla="*/ 445295 h 2544762"/>
                    <a:gd name="connsiteX50" fmla="*/ 1163637 w 1340644"/>
                    <a:gd name="connsiteY50" fmla="*/ 324644 h 2544762"/>
                    <a:gd name="connsiteX51" fmla="*/ 1012031 w 1340644"/>
                    <a:gd name="connsiteY51" fmla="*/ 0 h 2544762"/>
                    <a:gd name="connsiteX52" fmla="*/ 926306 w 1340644"/>
                    <a:gd name="connsiteY52" fmla="*/ 153193 h 2544762"/>
                    <a:gd name="connsiteX0" fmla="*/ 1073944 w 1488282"/>
                    <a:gd name="connsiteY0" fmla="*/ 153193 h 2544762"/>
                    <a:gd name="connsiteX1" fmla="*/ 0 w 1488282"/>
                    <a:gd name="connsiteY1" fmla="*/ 185739 h 2544762"/>
                    <a:gd name="connsiteX2" fmla="*/ 483395 w 1488282"/>
                    <a:gd name="connsiteY2" fmla="*/ 1045369 h 2544762"/>
                    <a:gd name="connsiteX3" fmla="*/ 435769 w 1488282"/>
                    <a:gd name="connsiteY3" fmla="*/ 1023938 h 2544762"/>
                    <a:gd name="connsiteX4" fmla="*/ 407194 w 1488282"/>
                    <a:gd name="connsiteY4" fmla="*/ 1090613 h 2544762"/>
                    <a:gd name="connsiteX5" fmla="*/ 218281 w 1488282"/>
                    <a:gd name="connsiteY5" fmla="*/ 1068387 h 2544762"/>
                    <a:gd name="connsiteX6" fmla="*/ 176213 w 1488282"/>
                    <a:gd name="connsiteY6" fmla="*/ 1083470 h 2544762"/>
                    <a:gd name="connsiteX7" fmla="*/ 185738 w 1488282"/>
                    <a:gd name="connsiteY7" fmla="*/ 1140620 h 2544762"/>
                    <a:gd name="connsiteX8" fmla="*/ 147638 w 1488282"/>
                    <a:gd name="connsiteY8" fmla="*/ 1188244 h 2544762"/>
                    <a:gd name="connsiteX9" fmla="*/ 147638 w 1488282"/>
                    <a:gd name="connsiteY9" fmla="*/ 1328738 h 2544762"/>
                    <a:gd name="connsiteX10" fmla="*/ 173832 w 1488282"/>
                    <a:gd name="connsiteY10" fmla="*/ 1432718 h 2544762"/>
                    <a:gd name="connsiteX11" fmla="*/ 304800 w 1488282"/>
                    <a:gd name="connsiteY11" fmla="*/ 1795464 h 2544762"/>
                    <a:gd name="connsiteX12" fmla="*/ 309563 w 1488282"/>
                    <a:gd name="connsiteY12" fmla="*/ 1971675 h 2544762"/>
                    <a:gd name="connsiteX13" fmla="*/ 254794 w 1488282"/>
                    <a:gd name="connsiteY13" fmla="*/ 2064545 h 2544762"/>
                    <a:gd name="connsiteX14" fmla="*/ 270669 w 1488282"/>
                    <a:gd name="connsiteY14" fmla="*/ 2228056 h 2544762"/>
                    <a:gd name="connsiteX15" fmla="*/ 385763 w 1488282"/>
                    <a:gd name="connsiteY15" fmla="*/ 2422524 h 2544762"/>
                    <a:gd name="connsiteX16" fmla="*/ 565944 w 1488282"/>
                    <a:gd name="connsiteY16" fmla="*/ 2544762 h 2544762"/>
                    <a:gd name="connsiteX17" fmla="*/ 728662 w 1488282"/>
                    <a:gd name="connsiteY17" fmla="*/ 2409825 h 2544762"/>
                    <a:gd name="connsiteX18" fmla="*/ 733425 w 1488282"/>
                    <a:gd name="connsiteY18" fmla="*/ 2336007 h 2544762"/>
                    <a:gd name="connsiteX19" fmla="*/ 797720 w 1488282"/>
                    <a:gd name="connsiteY19" fmla="*/ 2300288 h 2544762"/>
                    <a:gd name="connsiteX20" fmla="*/ 800100 w 1488282"/>
                    <a:gd name="connsiteY20" fmla="*/ 2183607 h 2544762"/>
                    <a:gd name="connsiteX21" fmla="*/ 757237 w 1488282"/>
                    <a:gd name="connsiteY21" fmla="*/ 2169320 h 2544762"/>
                    <a:gd name="connsiteX22" fmla="*/ 678657 w 1488282"/>
                    <a:gd name="connsiteY22" fmla="*/ 2014538 h 2544762"/>
                    <a:gd name="connsiteX23" fmla="*/ 621507 w 1488282"/>
                    <a:gd name="connsiteY23" fmla="*/ 1704975 h 2544762"/>
                    <a:gd name="connsiteX24" fmla="*/ 533401 w 1488282"/>
                    <a:gd name="connsiteY24" fmla="*/ 1638301 h 2544762"/>
                    <a:gd name="connsiteX25" fmla="*/ 714375 w 1488282"/>
                    <a:gd name="connsiteY25" fmla="*/ 1628775 h 2544762"/>
                    <a:gd name="connsiteX26" fmla="*/ 804863 w 1488282"/>
                    <a:gd name="connsiteY26" fmla="*/ 1540669 h 2544762"/>
                    <a:gd name="connsiteX27" fmla="*/ 1021557 w 1488282"/>
                    <a:gd name="connsiteY27" fmla="*/ 1543050 h 2544762"/>
                    <a:gd name="connsiteX28" fmla="*/ 1073944 w 1488282"/>
                    <a:gd name="connsiteY28" fmla="*/ 1590676 h 2544762"/>
                    <a:gd name="connsiteX29" fmla="*/ 1064419 w 1488282"/>
                    <a:gd name="connsiteY29" fmla="*/ 1628776 h 2544762"/>
                    <a:gd name="connsiteX30" fmla="*/ 1143000 w 1488282"/>
                    <a:gd name="connsiteY30" fmla="*/ 1600201 h 2544762"/>
                    <a:gd name="connsiteX31" fmla="*/ 1190626 w 1488282"/>
                    <a:gd name="connsiteY31" fmla="*/ 1678782 h 2544762"/>
                    <a:gd name="connsiteX32" fmla="*/ 1221582 w 1488282"/>
                    <a:gd name="connsiteY32" fmla="*/ 1743074 h 2544762"/>
                    <a:gd name="connsiteX33" fmla="*/ 1276351 w 1488282"/>
                    <a:gd name="connsiteY33" fmla="*/ 1724026 h 2544762"/>
                    <a:gd name="connsiteX34" fmla="*/ 1328738 w 1488282"/>
                    <a:gd name="connsiteY34" fmla="*/ 1723231 h 2544762"/>
                    <a:gd name="connsiteX35" fmla="*/ 1293019 w 1488282"/>
                    <a:gd name="connsiteY35" fmla="*/ 1531144 h 2544762"/>
                    <a:gd name="connsiteX36" fmla="*/ 1345407 w 1488282"/>
                    <a:gd name="connsiteY36" fmla="*/ 1443038 h 2544762"/>
                    <a:gd name="connsiteX37" fmla="*/ 1316832 w 1488282"/>
                    <a:gd name="connsiteY37" fmla="*/ 1388270 h 2544762"/>
                    <a:gd name="connsiteX38" fmla="*/ 1371600 w 1488282"/>
                    <a:gd name="connsiteY38" fmla="*/ 1381125 h 2544762"/>
                    <a:gd name="connsiteX39" fmla="*/ 1423988 w 1488282"/>
                    <a:gd name="connsiteY39" fmla="*/ 1302545 h 2544762"/>
                    <a:gd name="connsiteX40" fmla="*/ 1414463 w 1488282"/>
                    <a:gd name="connsiteY40" fmla="*/ 1254920 h 2544762"/>
                    <a:gd name="connsiteX41" fmla="*/ 1450976 w 1488282"/>
                    <a:gd name="connsiteY41" fmla="*/ 1246187 h 2544762"/>
                    <a:gd name="connsiteX42" fmla="*/ 1488282 w 1488282"/>
                    <a:gd name="connsiteY42" fmla="*/ 1190625 h 2544762"/>
                    <a:gd name="connsiteX43" fmla="*/ 1433513 w 1488282"/>
                    <a:gd name="connsiteY43" fmla="*/ 1007269 h 2544762"/>
                    <a:gd name="connsiteX44" fmla="*/ 1388270 w 1488282"/>
                    <a:gd name="connsiteY44" fmla="*/ 878682 h 2544762"/>
                    <a:gd name="connsiteX45" fmla="*/ 1421607 w 1488282"/>
                    <a:gd name="connsiteY45" fmla="*/ 804863 h 2544762"/>
                    <a:gd name="connsiteX46" fmla="*/ 1371601 w 1488282"/>
                    <a:gd name="connsiteY46" fmla="*/ 664370 h 2544762"/>
                    <a:gd name="connsiteX47" fmla="*/ 1312069 w 1488282"/>
                    <a:gd name="connsiteY47" fmla="*/ 604838 h 2544762"/>
                    <a:gd name="connsiteX48" fmla="*/ 1309688 w 1488282"/>
                    <a:gd name="connsiteY48" fmla="*/ 523876 h 2544762"/>
                    <a:gd name="connsiteX49" fmla="*/ 1290639 w 1488282"/>
                    <a:gd name="connsiteY49" fmla="*/ 445295 h 2544762"/>
                    <a:gd name="connsiteX50" fmla="*/ 1311275 w 1488282"/>
                    <a:gd name="connsiteY50" fmla="*/ 324644 h 2544762"/>
                    <a:gd name="connsiteX51" fmla="*/ 1159669 w 1488282"/>
                    <a:gd name="connsiteY51" fmla="*/ 0 h 2544762"/>
                    <a:gd name="connsiteX52" fmla="*/ 1073944 w 1488282"/>
                    <a:gd name="connsiteY52" fmla="*/ 153193 h 2544762"/>
                    <a:gd name="connsiteX0" fmla="*/ 1073944 w 1488282"/>
                    <a:gd name="connsiteY0" fmla="*/ 153193 h 2544762"/>
                    <a:gd name="connsiteX1" fmla="*/ 759619 w 1488282"/>
                    <a:gd name="connsiteY1" fmla="*/ 161926 h 2544762"/>
                    <a:gd name="connsiteX2" fmla="*/ 0 w 1488282"/>
                    <a:gd name="connsiteY2" fmla="*/ 185739 h 2544762"/>
                    <a:gd name="connsiteX3" fmla="*/ 483395 w 1488282"/>
                    <a:gd name="connsiteY3" fmla="*/ 1045369 h 2544762"/>
                    <a:gd name="connsiteX4" fmla="*/ 435769 w 1488282"/>
                    <a:gd name="connsiteY4" fmla="*/ 1023938 h 2544762"/>
                    <a:gd name="connsiteX5" fmla="*/ 407194 w 1488282"/>
                    <a:gd name="connsiteY5" fmla="*/ 1090613 h 2544762"/>
                    <a:gd name="connsiteX6" fmla="*/ 218281 w 1488282"/>
                    <a:gd name="connsiteY6" fmla="*/ 1068387 h 2544762"/>
                    <a:gd name="connsiteX7" fmla="*/ 176213 w 1488282"/>
                    <a:gd name="connsiteY7" fmla="*/ 1083470 h 2544762"/>
                    <a:gd name="connsiteX8" fmla="*/ 185738 w 1488282"/>
                    <a:gd name="connsiteY8" fmla="*/ 1140620 h 2544762"/>
                    <a:gd name="connsiteX9" fmla="*/ 147638 w 1488282"/>
                    <a:gd name="connsiteY9" fmla="*/ 1188244 h 2544762"/>
                    <a:gd name="connsiteX10" fmla="*/ 147638 w 1488282"/>
                    <a:gd name="connsiteY10" fmla="*/ 1328738 h 2544762"/>
                    <a:gd name="connsiteX11" fmla="*/ 173832 w 1488282"/>
                    <a:gd name="connsiteY11" fmla="*/ 1432718 h 2544762"/>
                    <a:gd name="connsiteX12" fmla="*/ 304800 w 1488282"/>
                    <a:gd name="connsiteY12" fmla="*/ 1795464 h 2544762"/>
                    <a:gd name="connsiteX13" fmla="*/ 309563 w 1488282"/>
                    <a:gd name="connsiteY13" fmla="*/ 1971675 h 2544762"/>
                    <a:gd name="connsiteX14" fmla="*/ 254794 w 1488282"/>
                    <a:gd name="connsiteY14" fmla="*/ 2064545 h 2544762"/>
                    <a:gd name="connsiteX15" fmla="*/ 270669 w 1488282"/>
                    <a:gd name="connsiteY15" fmla="*/ 2228056 h 2544762"/>
                    <a:gd name="connsiteX16" fmla="*/ 385763 w 1488282"/>
                    <a:gd name="connsiteY16" fmla="*/ 2422524 h 2544762"/>
                    <a:gd name="connsiteX17" fmla="*/ 565944 w 1488282"/>
                    <a:gd name="connsiteY17" fmla="*/ 2544762 h 2544762"/>
                    <a:gd name="connsiteX18" fmla="*/ 728662 w 1488282"/>
                    <a:gd name="connsiteY18" fmla="*/ 2409825 h 2544762"/>
                    <a:gd name="connsiteX19" fmla="*/ 733425 w 1488282"/>
                    <a:gd name="connsiteY19" fmla="*/ 2336007 h 2544762"/>
                    <a:gd name="connsiteX20" fmla="*/ 797720 w 1488282"/>
                    <a:gd name="connsiteY20" fmla="*/ 2300288 h 2544762"/>
                    <a:gd name="connsiteX21" fmla="*/ 800100 w 1488282"/>
                    <a:gd name="connsiteY21" fmla="*/ 2183607 h 2544762"/>
                    <a:gd name="connsiteX22" fmla="*/ 757237 w 1488282"/>
                    <a:gd name="connsiteY22" fmla="*/ 2169320 h 2544762"/>
                    <a:gd name="connsiteX23" fmla="*/ 678657 w 1488282"/>
                    <a:gd name="connsiteY23" fmla="*/ 2014538 h 2544762"/>
                    <a:gd name="connsiteX24" fmla="*/ 621507 w 1488282"/>
                    <a:gd name="connsiteY24" fmla="*/ 1704975 h 2544762"/>
                    <a:gd name="connsiteX25" fmla="*/ 533401 w 1488282"/>
                    <a:gd name="connsiteY25" fmla="*/ 1638301 h 2544762"/>
                    <a:gd name="connsiteX26" fmla="*/ 714375 w 1488282"/>
                    <a:gd name="connsiteY26" fmla="*/ 1628775 h 2544762"/>
                    <a:gd name="connsiteX27" fmla="*/ 804863 w 1488282"/>
                    <a:gd name="connsiteY27" fmla="*/ 1540669 h 2544762"/>
                    <a:gd name="connsiteX28" fmla="*/ 1021557 w 1488282"/>
                    <a:gd name="connsiteY28" fmla="*/ 1543050 h 2544762"/>
                    <a:gd name="connsiteX29" fmla="*/ 1073944 w 1488282"/>
                    <a:gd name="connsiteY29" fmla="*/ 1590676 h 2544762"/>
                    <a:gd name="connsiteX30" fmla="*/ 1064419 w 1488282"/>
                    <a:gd name="connsiteY30" fmla="*/ 1628776 h 2544762"/>
                    <a:gd name="connsiteX31" fmla="*/ 1143000 w 1488282"/>
                    <a:gd name="connsiteY31" fmla="*/ 1600201 h 2544762"/>
                    <a:gd name="connsiteX32" fmla="*/ 1190626 w 1488282"/>
                    <a:gd name="connsiteY32" fmla="*/ 1678782 h 2544762"/>
                    <a:gd name="connsiteX33" fmla="*/ 1221582 w 1488282"/>
                    <a:gd name="connsiteY33" fmla="*/ 1743074 h 2544762"/>
                    <a:gd name="connsiteX34" fmla="*/ 1276351 w 1488282"/>
                    <a:gd name="connsiteY34" fmla="*/ 1724026 h 2544762"/>
                    <a:gd name="connsiteX35" fmla="*/ 1328738 w 1488282"/>
                    <a:gd name="connsiteY35" fmla="*/ 1723231 h 2544762"/>
                    <a:gd name="connsiteX36" fmla="*/ 1293019 w 1488282"/>
                    <a:gd name="connsiteY36" fmla="*/ 1531144 h 2544762"/>
                    <a:gd name="connsiteX37" fmla="*/ 1345407 w 1488282"/>
                    <a:gd name="connsiteY37" fmla="*/ 1443038 h 2544762"/>
                    <a:gd name="connsiteX38" fmla="*/ 1316832 w 1488282"/>
                    <a:gd name="connsiteY38" fmla="*/ 1388270 h 2544762"/>
                    <a:gd name="connsiteX39" fmla="*/ 1371600 w 1488282"/>
                    <a:gd name="connsiteY39" fmla="*/ 1381125 h 2544762"/>
                    <a:gd name="connsiteX40" fmla="*/ 1423988 w 1488282"/>
                    <a:gd name="connsiteY40" fmla="*/ 1302545 h 2544762"/>
                    <a:gd name="connsiteX41" fmla="*/ 1414463 w 1488282"/>
                    <a:gd name="connsiteY41" fmla="*/ 1254920 h 2544762"/>
                    <a:gd name="connsiteX42" fmla="*/ 1450976 w 1488282"/>
                    <a:gd name="connsiteY42" fmla="*/ 1246187 h 2544762"/>
                    <a:gd name="connsiteX43" fmla="*/ 1488282 w 1488282"/>
                    <a:gd name="connsiteY43" fmla="*/ 1190625 h 2544762"/>
                    <a:gd name="connsiteX44" fmla="*/ 1433513 w 1488282"/>
                    <a:gd name="connsiteY44" fmla="*/ 1007269 h 2544762"/>
                    <a:gd name="connsiteX45" fmla="*/ 1388270 w 1488282"/>
                    <a:gd name="connsiteY45" fmla="*/ 878682 h 2544762"/>
                    <a:gd name="connsiteX46" fmla="*/ 1421607 w 1488282"/>
                    <a:gd name="connsiteY46" fmla="*/ 804863 h 2544762"/>
                    <a:gd name="connsiteX47" fmla="*/ 1371601 w 1488282"/>
                    <a:gd name="connsiteY47" fmla="*/ 664370 h 2544762"/>
                    <a:gd name="connsiteX48" fmla="*/ 1312069 w 1488282"/>
                    <a:gd name="connsiteY48" fmla="*/ 604838 h 2544762"/>
                    <a:gd name="connsiteX49" fmla="*/ 1309688 w 1488282"/>
                    <a:gd name="connsiteY49" fmla="*/ 523876 h 2544762"/>
                    <a:gd name="connsiteX50" fmla="*/ 1290639 w 1488282"/>
                    <a:gd name="connsiteY50" fmla="*/ 445295 h 2544762"/>
                    <a:gd name="connsiteX51" fmla="*/ 1311275 w 1488282"/>
                    <a:gd name="connsiteY51" fmla="*/ 324644 h 2544762"/>
                    <a:gd name="connsiteX52" fmla="*/ 1159669 w 1488282"/>
                    <a:gd name="connsiteY52" fmla="*/ 0 h 2544762"/>
                    <a:gd name="connsiteX53" fmla="*/ 1073944 w 1488282"/>
                    <a:gd name="connsiteY53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0 w 1488282"/>
                    <a:gd name="connsiteY2" fmla="*/ 185739 h 2544762"/>
                    <a:gd name="connsiteX3" fmla="*/ 483395 w 1488282"/>
                    <a:gd name="connsiteY3" fmla="*/ 1045369 h 2544762"/>
                    <a:gd name="connsiteX4" fmla="*/ 435769 w 1488282"/>
                    <a:gd name="connsiteY4" fmla="*/ 1023938 h 2544762"/>
                    <a:gd name="connsiteX5" fmla="*/ 407194 w 1488282"/>
                    <a:gd name="connsiteY5" fmla="*/ 1090613 h 2544762"/>
                    <a:gd name="connsiteX6" fmla="*/ 218281 w 1488282"/>
                    <a:gd name="connsiteY6" fmla="*/ 1068387 h 2544762"/>
                    <a:gd name="connsiteX7" fmla="*/ 176213 w 1488282"/>
                    <a:gd name="connsiteY7" fmla="*/ 1083470 h 2544762"/>
                    <a:gd name="connsiteX8" fmla="*/ 185738 w 1488282"/>
                    <a:gd name="connsiteY8" fmla="*/ 1140620 h 2544762"/>
                    <a:gd name="connsiteX9" fmla="*/ 147638 w 1488282"/>
                    <a:gd name="connsiteY9" fmla="*/ 1188244 h 2544762"/>
                    <a:gd name="connsiteX10" fmla="*/ 147638 w 1488282"/>
                    <a:gd name="connsiteY10" fmla="*/ 1328738 h 2544762"/>
                    <a:gd name="connsiteX11" fmla="*/ 173832 w 1488282"/>
                    <a:gd name="connsiteY11" fmla="*/ 1432718 h 2544762"/>
                    <a:gd name="connsiteX12" fmla="*/ 304800 w 1488282"/>
                    <a:gd name="connsiteY12" fmla="*/ 1795464 h 2544762"/>
                    <a:gd name="connsiteX13" fmla="*/ 309563 w 1488282"/>
                    <a:gd name="connsiteY13" fmla="*/ 1971675 h 2544762"/>
                    <a:gd name="connsiteX14" fmla="*/ 254794 w 1488282"/>
                    <a:gd name="connsiteY14" fmla="*/ 2064545 h 2544762"/>
                    <a:gd name="connsiteX15" fmla="*/ 270669 w 1488282"/>
                    <a:gd name="connsiteY15" fmla="*/ 2228056 h 2544762"/>
                    <a:gd name="connsiteX16" fmla="*/ 385763 w 1488282"/>
                    <a:gd name="connsiteY16" fmla="*/ 2422524 h 2544762"/>
                    <a:gd name="connsiteX17" fmla="*/ 565944 w 1488282"/>
                    <a:gd name="connsiteY17" fmla="*/ 2544762 h 2544762"/>
                    <a:gd name="connsiteX18" fmla="*/ 728662 w 1488282"/>
                    <a:gd name="connsiteY18" fmla="*/ 2409825 h 2544762"/>
                    <a:gd name="connsiteX19" fmla="*/ 733425 w 1488282"/>
                    <a:gd name="connsiteY19" fmla="*/ 2336007 h 2544762"/>
                    <a:gd name="connsiteX20" fmla="*/ 797720 w 1488282"/>
                    <a:gd name="connsiteY20" fmla="*/ 2300288 h 2544762"/>
                    <a:gd name="connsiteX21" fmla="*/ 800100 w 1488282"/>
                    <a:gd name="connsiteY21" fmla="*/ 2183607 h 2544762"/>
                    <a:gd name="connsiteX22" fmla="*/ 757237 w 1488282"/>
                    <a:gd name="connsiteY22" fmla="*/ 2169320 h 2544762"/>
                    <a:gd name="connsiteX23" fmla="*/ 678657 w 1488282"/>
                    <a:gd name="connsiteY23" fmla="*/ 2014538 h 2544762"/>
                    <a:gd name="connsiteX24" fmla="*/ 621507 w 1488282"/>
                    <a:gd name="connsiteY24" fmla="*/ 1704975 h 2544762"/>
                    <a:gd name="connsiteX25" fmla="*/ 533401 w 1488282"/>
                    <a:gd name="connsiteY25" fmla="*/ 1638301 h 2544762"/>
                    <a:gd name="connsiteX26" fmla="*/ 714375 w 1488282"/>
                    <a:gd name="connsiteY26" fmla="*/ 1628775 h 2544762"/>
                    <a:gd name="connsiteX27" fmla="*/ 804863 w 1488282"/>
                    <a:gd name="connsiteY27" fmla="*/ 1540669 h 2544762"/>
                    <a:gd name="connsiteX28" fmla="*/ 1021557 w 1488282"/>
                    <a:gd name="connsiteY28" fmla="*/ 1543050 h 2544762"/>
                    <a:gd name="connsiteX29" fmla="*/ 1073944 w 1488282"/>
                    <a:gd name="connsiteY29" fmla="*/ 1590676 h 2544762"/>
                    <a:gd name="connsiteX30" fmla="*/ 1064419 w 1488282"/>
                    <a:gd name="connsiteY30" fmla="*/ 1628776 h 2544762"/>
                    <a:gd name="connsiteX31" fmla="*/ 1143000 w 1488282"/>
                    <a:gd name="connsiteY31" fmla="*/ 1600201 h 2544762"/>
                    <a:gd name="connsiteX32" fmla="*/ 1190626 w 1488282"/>
                    <a:gd name="connsiteY32" fmla="*/ 1678782 h 2544762"/>
                    <a:gd name="connsiteX33" fmla="*/ 1221582 w 1488282"/>
                    <a:gd name="connsiteY33" fmla="*/ 1743074 h 2544762"/>
                    <a:gd name="connsiteX34" fmla="*/ 1276351 w 1488282"/>
                    <a:gd name="connsiteY34" fmla="*/ 1724026 h 2544762"/>
                    <a:gd name="connsiteX35" fmla="*/ 1328738 w 1488282"/>
                    <a:gd name="connsiteY35" fmla="*/ 1723231 h 2544762"/>
                    <a:gd name="connsiteX36" fmla="*/ 1293019 w 1488282"/>
                    <a:gd name="connsiteY36" fmla="*/ 1531144 h 2544762"/>
                    <a:gd name="connsiteX37" fmla="*/ 1345407 w 1488282"/>
                    <a:gd name="connsiteY37" fmla="*/ 1443038 h 2544762"/>
                    <a:gd name="connsiteX38" fmla="*/ 1316832 w 1488282"/>
                    <a:gd name="connsiteY38" fmla="*/ 1388270 h 2544762"/>
                    <a:gd name="connsiteX39" fmla="*/ 1371600 w 1488282"/>
                    <a:gd name="connsiteY39" fmla="*/ 1381125 h 2544762"/>
                    <a:gd name="connsiteX40" fmla="*/ 1423988 w 1488282"/>
                    <a:gd name="connsiteY40" fmla="*/ 1302545 h 2544762"/>
                    <a:gd name="connsiteX41" fmla="*/ 1414463 w 1488282"/>
                    <a:gd name="connsiteY41" fmla="*/ 1254920 h 2544762"/>
                    <a:gd name="connsiteX42" fmla="*/ 1450976 w 1488282"/>
                    <a:gd name="connsiteY42" fmla="*/ 1246187 h 2544762"/>
                    <a:gd name="connsiteX43" fmla="*/ 1488282 w 1488282"/>
                    <a:gd name="connsiteY43" fmla="*/ 1190625 h 2544762"/>
                    <a:gd name="connsiteX44" fmla="*/ 1433513 w 1488282"/>
                    <a:gd name="connsiteY44" fmla="*/ 1007269 h 2544762"/>
                    <a:gd name="connsiteX45" fmla="*/ 1388270 w 1488282"/>
                    <a:gd name="connsiteY45" fmla="*/ 878682 h 2544762"/>
                    <a:gd name="connsiteX46" fmla="*/ 1421607 w 1488282"/>
                    <a:gd name="connsiteY46" fmla="*/ 804863 h 2544762"/>
                    <a:gd name="connsiteX47" fmla="*/ 1371601 w 1488282"/>
                    <a:gd name="connsiteY47" fmla="*/ 664370 h 2544762"/>
                    <a:gd name="connsiteX48" fmla="*/ 1312069 w 1488282"/>
                    <a:gd name="connsiteY48" fmla="*/ 604838 h 2544762"/>
                    <a:gd name="connsiteX49" fmla="*/ 1309688 w 1488282"/>
                    <a:gd name="connsiteY49" fmla="*/ 523876 h 2544762"/>
                    <a:gd name="connsiteX50" fmla="*/ 1290639 w 1488282"/>
                    <a:gd name="connsiteY50" fmla="*/ 445295 h 2544762"/>
                    <a:gd name="connsiteX51" fmla="*/ 1311275 w 1488282"/>
                    <a:gd name="connsiteY51" fmla="*/ 324644 h 2544762"/>
                    <a:gd name="connsiteX52" fmla="*/ 1159669 w 1488282"/>
                    <a:gd name="connsiteY52" fmla="*/ 0 h 2544762"/>
                    <a:gd name="connsiteX53" fmla="*/ 1073944 w 1488282"/>
                    <a:gd name="connsiteY53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666750 w 1488282"/>
                    <a:gd name="connsiteY2" fmla="*/ 211932 h 2544762"/>
                    <a:gd name="connsiteX3" fmla="*/ 0 w 1488282"/>
                    <a:gd name="connsiteY3" fmla="*/ 185739 h 2544762"/>
                    <a:gd name="connsiteX4" fmla="*/ 483395 w 1488282"/>
                    <a:gd name="connsiteY4" fmla="*/ 1045369 h 2544762"/>
                    <a:gd name="connsiteX5" fmla="*/ 435769 w 1488282"/>
                    <a:gd name="connsiteY5" fmla="*/ 1023938 h 2544762"/>
                    <a:gd name="connsiteX6" fmla="*/ 407194 w 1488282"/>
                    <a:gd name="connsiteY6" fmla="*/ 1090613 h 2544762"/>
                    <a:gd name="connsiteX7" fmla="*/ 218281 w 1488282"/>
                    <a:gd name="connsiteY7" fmla="*/ 1068387 h 2544762"/>
                    <a:gd name="connsiteX8" fmla="*/ 176213 w 1488282"/>
                    <a:gd name="connsiteY8" fmla="*/ 1083470 h 2544762"/>
                    <a:gd name="connsiteX9" fmla="*/ 185738 w 1488282"/>
                    <a:gd name="connsiteY9" fmla="*/ 1140620 h 2544762"/>
                    <a:gd name="connsiteX10" fmla="*/ 147638 w 1488282"/>
                    <a:gd name="connsiteY10" fmla="*/ 1188244 h 2544762"/>
                    <a:gd name="connsiteX11" fmla="*/ 147638 w 1488282"/>
                    <a:gd name="connsiteY11" fmla="*/ 1328738 h 2544762"/>
                    <a:gd name="connsiteX12" fmla="*/ 173832 w 1488282"/>
                    <a:gd name="connsiteY12" fmla="*/ 1432718 h 2544762"/>
                    <a:gd name="connsiteX13" fmla="*/ 304800 w 1488282"/>
                    <a:gd name="connsiteY13" fmla="*/ 1795464 h 2544762"/>
                    <a:gd name="connsiteX14" fmla="*/ 309563 w 1488282"/>
                    <a:gd name="connsiteY14" fmla="*/ 1971675 h 2544762"/>
                    <a:gd name="connsiteX15" fmla="*/ 254794 w 1488282"/>
                    <a:gd name="connsiteY15" fmla="*/ 2064545 h 2544762"/>
                    <a:gd name="connsiteX16" fmla="*/ 270669 w 1488282"/>
                    <a:gd name="connsiteY16" fmla="*/ 2228056 h 2544762"/>
                    <a:gd name="connsiteX17" fmla="*/ 385763 w 1488282"/>
                    <a:gd name="connsiteY17" fmla="*/ 2422524 h 2544762"/>
                    <a:gd name="connsiteX18" fmla="*/ 565944 w 1488282"/>
                    <a:gd name="connsiteY18" fmla="*/ 2544762 h 2544762"/>
                    <a:gd name="connsiteX19" fmla="*/ 728662 w 1488282"/>
                    <a:gd name="connsiteY19" fmla="*/ 2409825 h 2544762"/>
                    <a:gd name="connsiteX20" fmla="*/ 733425 w 1488282"/>
                    <a:gd name="connsiteY20" fmla="*/ 2336007 h 2544762"/>
                    <a:gd name="connsiteX21" fmla="*/ 797720 w 1488282"/>
                    <a:gd name="connsiteY21" fmla="*/ 2300288 h 2544762"/>
                    <a:gd name="connsiteX22" fmla="*/ 800100 w 1488282"/>
                    <a:gd name="connsiteY22" fmla="*/ 2183607 h 2544762"/>
                    <a:gd name="connsiteX23" fmla="*/ 757237 w 1488282"/>
                    <a:gd name="connsiteY23" fmla="*/ 2169320 h 2544762"/>
                    <a:gd name="connsiteX24" fmla="*/ 678657 w 1488282"/>
                    <a:gd name="connsiteY24" fmla="*/ 2014538 h 2544762"/>
                    <a:gd name="connsiteX25" fmla="*/ 621507 w 1488282"/>
                    <a:gd name="connsiteY25" fmla="*/ 1704975 h 2544762"/>
                    <a:gd name="connsiteX26" fmla="*/ 533401 w 1488282"/>
                    <a:gd name="connsiteY26" fmla="*/ 1638301 h 2544762"/>
                    <a:gd name="connsiteX27" fmla="*/ 714375 w 1488282"/>
                    <a:gd name="connsiteY27" fmla="*/ 1628775 h 2544762"/>
                    <a:gd name="connsiteX28" fmla="*/ 804863 w 1488282"/>
                    <a:gd name="connsiteY28" fmla="*/ 1540669 h 2544762"/>
                    <a:gd name="connsiteX29" fmla="*/ 1021557 w 1488282"/>
                    <a:gd name="connsiteY29" fmla="*/ 1543050 h 2544762"/>
                    <a:gd name="connsiteX30" fmla="*/ 1073944 w 1488282"/>
                    <a:gd name="connsiteY30" fmla="*/ 1590676 h 2544762"/>
                    <a:gd name="connsiteX31" fmla="*/ 1064419 w 1488282"/>
                    <a:gd name="connsiteY31" fmla="*/ 1628776 h 2544762"/>
                    <a:gd name="connsiteX32" fmla="*/ 1143000 w 1488282"/>
                    <a:gd name="connsiteY32" fmla="*/ 1600201 h 2544762"/>
                    <a:gd name="connsiteX33" fmla="*/ 1190626 w 1488282"/>
                    <a:gd name="connsiteY33" fmla="*/ 1678782 h 2544762"/>
                    <a:gd name="connsiteX34" fmla="*/ 1221582 w 1488282"/>
                    <a:gd name="connsiteY34" fmla="*/ 1743074 h 2544762"/>
                    <a:gd name="connsiteX35" fmla="*/ 1276351 w 1488282"/>
                    <a:gd name="connsiteY35" fmla="*/ 1724026 h 2544762"/>
                    <a:gd name="connsiteX36" fmla="*/ 1328738 w 1488282"/>
                    <a:gd name="connsiteY36" fmla="*/ 1723231 h 2544762"/>
                    <a:gd name="connsiteX37" fmla="*/ 1293019 w 1488282"/>
                    <a:gd name="connsiteY37" fmla="*/ 1531144 h 2544762"/>
                    <a:gd name="connsiteX38" fmla="*/ 1345407 w 1488282"/>
                    <a:gd name="connsiteY38" fmla="*/ 1443038 h 2544762"/>
                    <a:gd name="connsiteX39" fmla="*/ 1316832 w 1488282"/>
                    <a:gd name="connsiteY39" fmla="*/ 1388270 h 2544762"/>
                    <a:gd name="connsiteX40" fmla="*/ 1371600 w 1488282"/>
                    <a:gd name="connsiteY40" fmla="*/ 1381125 h 2544762"/>
                    <a:gd name="connsiteX41" fmla="*/ 1423988 w 1488282"/>
                    <a:gd name="connsiteY41" fmla="*/ 1302545 h 2544762"/>
                    <a:gd name="connsiteX42" fmla="*/ 1414463 w 1488282"/>
                    <a:gd name="connsiteY42" fmla="*/ 1254920 h 2544762"/>
                    <a:gd name="connsiteX43" fmla="*/ 1450976 w 1488282"/>
                    <a:gd name="connsiteY43" fmla="*/ 1246187 h 2544762"/>
                    <a:gd name="connsiteX44" fmla="*/ 1488282 w 1488282"/>
                    <a:gd name="connsiteY44" fmla="*/ 1190625 h 2544762"/>
                    <a:gd name="connsiteX45" fmla="*/ 1433513 w 1488282"/>
                    <a:gd name="connsiteY45" fmla="*/ 1007269 h 2544762"/>
                    <a:gd name="connsiteX46" fmla="*/ 1388270 w 1488282"/>
                    <a:gd name="connsiteY46" fmla="*/ 878682 h 2544762"/>
                    <a:gd name="connsiteX47" fmla="*/ 1421607 w 1488282"/>
                    <a:gd name="connsiteY47" fmla="*/ 804863 h 2544762"/>
                    <a:gd name="connsiteX48" fmla="*/ 1371601 w 1488282"/>
                    <a:gd name="connsiteY48" fmla="*/ 664370 h 2544762"/>
                    <a:gd name="connsiteX49" fmla="*/ 1312069 w 1488282"/>
                    <a:gd name="connsiteY49" fmla="*/ 604838 h 2544762"/>
                    <a:gd name="connsiteX50" fmla="*/ 1309688 w 1488282"/>
                    <a:gd name="connsiteY50" fmla="*/ 523876 h 2544762"/>
                    <a:gd name="connsiteX51" fmla="*/ 1290639 w 1488282"/>
                    <a:gd name="connsiteY51" fmla="*/ 445295 h 2544762"/>
                    <a:gd name="connsiteX52" fmla="*/ 1311275 w 1488282"/>
                    <a:gd name="connsiteY52" fmla="*/ 324644 h 2544762"/>
                    <a:gd name="connsiteX53" fmla="*/ 1159669 w 1488282"/>
                    <a:gd name="connsiteY53" fmla="*/ 0 h 2544762"/>
                    <a:gd name="connsiteX54" fmla="*/ 1073944 w 1488282"/>
                    <a:gd name="connsiteY54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0 w 1488282"/>
                    <a:gd name="connsiteY3" fmla="*/ 185739 h 2544762"/>
                    <a:gd name="connsiteX4" fmla="*/ 483395 w 1488282"/>
                    <a:gd name="connsiteY4" fmla="*/ 1045369 h 2544762"/>
                    <a:gd name="connsiteX5" fmla="*/ 435769 w 1488282"/>
                    <a:gd name="connsiteY5" fmla="*/ 1023938 h 2544762"/>
                    <a:gd name="connsiteX6" fmla="*/ 407194 w 1488282"/>
                    <a:gd name="connsiteY6" fmla="*/ 1090613 h 2544762"/>
                    <a:gd name="connsiteX7" fmla="*/ 218281 w 1488282"/>
                    <a:gd name="connsiteY7" fmla="*/ 1068387 h 2544762"/>
                    <a:gd name="connsiteX8" fmla="*/ 176213 w 1488282"/>
                    <a:gd name="connsiteY8" fmla="*/ 1083470 h 2544762"/>
                    <a:gd name="connsiteX9" fmla="*/ 185738 w 1488282"/>
                    <a:gd name="connsiteY9" fmla="*/ 1140620 h 2544762"/>
                    <a:gd name="connsiteX10" fmla="*/ 147638 w 1488282"/>
                    <a:gd name="connsiteY10" fmla="*/ 1188244 h 2544762"/>
                    <a:gd name="connsiteX11" fmla="*/ 147638 w 1488282"/>
                    <a:gd name="connsiteY11" fmla="*/ 1328738 h 2544762"/>
                    <a:gd name="connsiteX12" fmla="*/ 173832 w 1488282"/>
                    <a:gd name="connsiteY12" fmla="*/ 1432718 h 2544762"/>
                    <a:gd name="connsiteX13" fmla="*/ 304800 w 1488282"/>
                    <a:gd name="connsiteY13" fmla="*/ 1795464 h 2544762"/>
                    <a:gd name="connsiteX14" fmla="*/ 309563 w 1488282"/>
                    <a:gd name="connsiteY14" fmla="*/ 1971675 h 2544762"/>
                    <a:gd name="connsiteX15" fmla="*/ 254794 w 1488282"/>
                    <a:gd name="connsiteY15" fmla="*/ 2064545 h 2544762"/>
                    <a:gd name="connsiteX16" fmla="*/ 270669 w 1488282"/>
                    <a:gd name="connsiteY16" fmla="*/ 2228056 h 2544762"/>
                    <a:gd name="connsiteX17" fmla="*/ 385763 w 1488282"/>
                    <a:gd name="connsiteY17" fmla="*/ 2422524 h 2544762"/>
                    <a:gd name="connsiteX18" fmla="*/ 565944 w 1488282"/>
                    <a:gd name="connsiteY18" fmla="*/ 2544762 h 2544762"/>
                    <a:gd name="connsiteX19" fmla="*/ 728662 w 1488282"/>
                    <a:gd name="connsiteY19" fmla="*/ 2409825 h 2544762"/>
                    <a:gd name="connsiteX20" fmla="*/ 733425 w 1488282"/>
                    <a:gd name="connsiteY20" fmla="*/ 2336007 h 2544762"/>
                    <a:gd name="connsiteX21" fmla="*/ 797720 w 1488282"/>
                    <a:gd name="connsiteY21" fmla="*/ 2300288 h 2544762"/>
                    <a:gd name="connsiteX22" fmla="*/ 800100 w 1488282"/>
                    <a:gd name="connsiteY22" fmla="*/ 2183607 h 2544762"/>
                    <a:gd name="connsiteX23" fmla="*/ 757237 w 1488282"/>
                    <a:gd name="connsiteY23" fmla="*/ 2169320 h 2544762"/>
                    <a:gd name="connsiteX24" fmla="*/ 678657 w 1488282"/>
                    <a:gd name="connsiteY24" fmla="*/ 2014538 h 2544762"/>
                    <a:gd name="connsiteX25" fmla="*/ 621507 w 1488282"/>
                    <a:gd name="connsiteY25" fmla="*/ 1704975 h 2544762"/>
                    <a:gd name="connsiteX26" fmla="*/ 533401 w 1488282"/>
                    <a:gd name="connsiteY26" fmla="*/ 1638301 h 2544762"/>
                    <a:gd name="connsiteX27" fmla="*/ 714375 w 1488282"/>
                    <a:gd name="connsiteY27" fmla="*/ 1628775 h 2544762"/>
                    <a:gd name="connsiteX28" fmla="*/ 804863 w 1488282"/>
                    <a:gd name="connsiteY28" fmla="*/ 1540669 h 2544762"/>
                    <a:gd name="connsiteX29" fmla="*/ 1021557 w 1488282"/>
                    <a:gd name="connsiteY29" fmla="*/ 1543050 h 2544762"/>
                    <a:gd name="connsiteX30" fmla="*/ 1073944 w 1488282"/>
                    <a:gd name="connsiteY30" fmla="*/ 1590676 h 2544762"/>
                    <a:gd name="connsiteX31" fmla="*/ 1064419 w 1488282"/>
                    <a:gd name="connsiteY31" fmla="*/ 1628776 h 2544762"/>
                    <a:gd name="connsiteX32" fmla="*/ 1143000 w 1488282"/>
                    <a:gd name="connsiteY32" fmla="*/ 1600201 h 2544762"/>
                    <a:gd name="connsiteX33" fmla="*/ 1190626 w 1488282"/>
                    <a:gd name="connsiteY33" fmla="*/ 1678782 h 2544762"/>
                    <a:gd name="connsiteX34" fmla="*/ 1221582 w 1488282"/>
                    <a:gd name="connsiteY34" fmla="*/ 1743074 h 2544762"/>
                    <a:gd name="connsiteX35" fmla="*/ 1276351 w 1488282"/>
                    <a:gd name="connsiteY35" fmla="*/ 1724026 h 2544762"/>
                    <a:gd name="connsiteX36" fmla="*/ 1328738 w 1488282"/>
                    <a:gd name="connsiteY36" fmla="*/ 1723231 h 2544762"/>
                    <a:gd name="connsiteX37" fmla="*/ 1293019 w 1488282"/>
                    <a:gd name="connsiteY37" fmla="*/ 1531144 h 2544762"/>
                    <a:gd name="connsiteX38" fmla="*/ 1345407 w 1488282"/>
                    <a:gd name="connsiteY38" fmla="*/ 1443038 h 2544762"/>
                    <a:gd name="connsiteX39" fmla="*/ 1316832 w 1488282"/>
                    <a:gd name="connsiteY39" fmla="*/ 1388270 h 2544762"/>
                    <a:gd name="connsiteX40" fmla="*/ 1371600 w 1488282"/>
                    <a:gd name="connsiteY40" fmla="*/ 1381125 h 2544762"/>
                    <a:gd name="connsiteX41" fmla="*/ 1423988 w 1488282"/>
                    <a:gd name="connsiteY41" fmla="*/ 1302545 h 2544762"/>
                    <a:gd name="connsiteX42" fmla="*/ 1414463 w 1488282"/>
                    <a:gd name="connsiteY42" fmla="*/ 1254920 h 2544762"/>
                    <a:gd name="connsiteX43" fmla="*/ 1450976 w 1488282"/>
                    <a:gd name="connsiteY43" fmla="*/ 1246187 h 2544762"/>
                    <a:gd name="connsiteX44" fmla="*/ 1488282 w 1488282"/>
                    <a:gd name="connsiteY44" fmla="*/ 1190625 h 2544762"/>
                    <a:gd name="connsiteX45" fmla="*/ 1433513 w 1488282"/>
                    <a:gd name="connsiteY45" fmla="*/ 1007269 h 2544762"/>
                    <a:gd name="connsiteX46" fmla="*/ 1388270 w 1488282"/>
                    <a:gd name="connsiteY46" fmla="*/ 878682 h 2544762"/>
                    <a:gd name="connsiteX47" fmla="*/ 1421607 w 1488282"/>
                    <a:gd name="connsiteY47" fmla="*/ 804863 h 2544762"/>
                    <a:gd name="connsiteX48" fmla="*/ 1371601 w 1488282"/>
                    <a:gd name="connsiteY48" fmla="*/ 664370 h 2544762"/>
                    <a:gd name="connsiteX49" fmla="*/ 1312069 w 1488282"/>
                    <a:gd name="connsiteY49" fmla="*/ 604838 h 2544762"/>
                    <a:gd name="connsiteX50" fmla="*/ 1309688 w 1488282"/>
                    <a:gd name="connsiteY50" fmla="*/ 523876 h 2544762"/>
                    <a:gd name="connsiteX51" fmla="*/ 1290639 w 1488282"/>
                    <a:gd name="connsiteY51" fmla="*/ 445295 h 2544762"/>
                    <a:gd name="connsiteX52" fmla="*/ 1311275 w 1488282"/>
                    <a:gd name="connsiteY52" fmla="*/ 324644 h 2544762"/>
                    <a:gd name="connsiteX53" fmla="*/ 1159669 w 1488282"/>
                    <a:gd name="connsiteY53" fmla="*/ 0 h 2544762"/>
                    <a:gd name="connsiteX54" fmla="*/ 1073944 w 1488282"/>
                    <a:gd name="connsiteY54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554832 w 1488282"/>
                    <a:gd name="connsiteY3" fmla="*/ 238126 h 2544762"/>
                    <a:gd name="connsiteX4" fmla="*/ 0 w 1488282"/>
                    <a:gd name="connsiteY4" fmla="*/ 185739 h 2544762"/>
                    <a:gd name="connsiteX5" fmla="*/ 483395 w 1488282"/>
                    <a:gd name="connsiteY5" fmla="*/ 1045369 h 2544762"/>
                    <a:gd name="connsiteX6" fmla="*/ 435769 w 1488282"/>
                    <a:gd name="connsiteY6" fmla="*/ 1023938 h 2544762"/>
                    <a:gd name="connsiteX7" fmla="*/ 407194 w 1488282"/>
                    <a:gd name="connsiteY7" fmla="*/ 1090613 h 2544762"/>
                    <a:gd name="connsiteX8" fmla="*/ 218281 w 1488282"/>
                    <a:gd name="connsiteY8" fmla="*/ 1068387 h 2544762"/>
                    <a:gd name="connsiteX9" fmla="*/ 176213 w 1488282"/>
                    <a:gd name="connsiteY9" fmla="*/ 1083470 h 2544762"/>
                    <a:gd name="connsiteX10" fmla="*/ 185738 w 1488282"/>
                    <a:gd name="connsiteY10" fmla="*/ 1140620 h 2544762"/>
                    <a:gd name="connsiteX11" fmla="*/ 147638 w 1488282"/>
                    <a:gd name="connsiteY11" fmla="*/ 1188244 h 2544762"/>
                    <a:gd name="connsiteX12" fmla="*/ 147638 w 1488282"/>
                    <a:gd name="connsiteY12" fmla="*/ 1328738 h 2544762"/>
                    <a:gd name="connsiteX13" fmla="*/ 173832 w 1488282"/>
                    <a:gd name="connsiteY13" fmla="*/ 1432718 h 2544762"/>
                    <a:gd name="connsiteX14" fmla="*/ 304800 w 1488282"/>
                    <a:gd name="connsiteY14" fmla="*/ 1795464 h 2544762"/>
                    <a:gd name="connsiteX15" fmla="*/ 309563 w 1488282"/>
                    <a:gd name="connsiteY15" fmla="*/ 1971675 h 2544762"/>
                    <a:gd name="connsiteX16" fmla="*/ 254794 w 1488282"/>
                    <a:gd name="connsiteY16" fmla="*/ 2064545 h 2544762"/>
                    <a:gd name="connsiteX17" fmla="*/ 270669 w 1488282"/>
                    <a:gd name="connsiteY17" fmla="*/ 2228056 h 2544762"/>
                    <a:gd name="connsiteX18" fmla="*/ 385763 w 1488282"/>
                    <a:gd name="connsiteY18" fmla="*/ 2422524 h 2544762"/>
                    <a:gd name="connsiteX19" fmla="*/ 565944 w 1488282"/>
                    <a:gd name="connsiteY19" fmla="*/ 2544762 h 2544762"/>
                    <a:gd name="connsiteX20" fmla="*/ 728662 w 1488282"/>
                    <a:gd name="connsiteY20" fmla="*/ 2409825 h 2544762"/>
                    <a:gd name="connsiteX21" fmla="*/ 733425 w 1488282"/>
                    <a:gd name="connsiteY21" fmla="*/ 2336007 h 2544762"/>
                    <a:gd name="connsiteX22" fmla="*/ 797720 w 1488282"/>
                    <a:gd name="connsiteY22" fmla="*/ 2300288 h 2544762"/>
                    <a:gd name="connsiteX23" fmla="*/ 800100 w 1488282"/>
                    <a:gd name="connsiteY23" fmla="*/ 2183607 h 2544762"/>
                    <a:gd name="connsiteX24" fmla="*/ 757237 w 1488282"/>
                    <a:gd name="connsiteY24" fmla="*/ 2169320 h 2544762"/>
                    <a:gd name="connsiteX25" fmla="*/ 678657 w 1488282"/>
                    <a:gd name="connsiteY25" fmla="*/ 2014538 h 2544762"/>
                    <a:gd name="connsiteX26" fmla="*/ 621507 w 1488282"/>
                    <a:gd name="connsiteY26" fmla="*/ 1704975 h 2544762"/>
                    <a:gd name="connsiteX27" fmla="*/ 533401 w 1488282"/>
                    <a:gd name="connsiteY27" fmla="*/ 1638301 h 2544762"/>
                    <a:gd name="connsiteX28" fmla="*/ 714375 w 1488282"/>
                    <a:gd name="connsiteY28" fmla="*/ 1628775 h 2544762"/>
                    <a:gd name="connsiteX29" fmla="*/ 804863 w 1488282"/>
                    <a:gd name="connsiteY29" fmla="*/ 1540669 h 2544762"/>
                    <a:gd name="connsiteX30" fmla="*/ 1021557 w 1488282"/>
                    <a:gd name="connsiteY30" fmla="*/ 1543050 h 2544762"/>
                    <a:gd name="connsiteX31" fmla="*/ 1073944 w 1488282"/>
                    <a:gd name="connsiteY31" fmla="*/ 1590676 h 2544762"/>
                    <a:gd name="connsiteX32" fmla="*/ 1064419 w 1488282"/>
                    <a:gd name="connsiteY32" fmla="*/ 1628776 h 2544762"/>
                    <a:gd name="connsiteX33" fmla="*/ 1143000 w 1488282"/>
                    <a:gd name="connsiteY33" fmla="*/ 1600201 h 2544762"/>
                    <a:gd name="connsiteX34" fmla="*/ 1190626 w 1488282"/>
                    <a:gd name="connsiteY34" fmla="*/ 1678782 h 2544762"/>
                    <a:gd name="connsiteX35" fmla="*/ 1221582 w 1488282"/>
                    <a:gd name="connsiteY35" fmla="*/ 1743074 h 2544762"/>
                    <a:gd name="connsiteX36" fmla="*/ 1276351 w 1488282"/>
                    <a:gd name="connsiteY36" fmla="*/ 1724026 h 2544762"/>
                    <a:gd name="connsiteX37" fmla="*/ 1328738 w 1488282"/>
                    <a:gd name="connsiteY37" fmla="*/ 1723231 h 2544762"/>
                    <a:gd name="connsiteX38" fmla="*/ 1293019 w 1488282"/>
                    <a:gd name="connsiteY38" fmla="*/ 1531144 h 2544762"/>
                    <a:gd name="connsiteX39" fmla="*/ 1345407 w 1488282"/>
                    <a:gd name="connsiteY39" fmla="*/ 1443038 h 2544762"/>
                    <a:gd name="connsiteX40" fmla="*/ 1316832 w 1488282"/>
                    <a:gd name="connsiteY40" fmla="*/ 1388270 h 2544762"/>
                    <a:gd name="connsiteX41" fmla="*/ 1371600 w 1488282"/>
                    <a:gd name="connsiteY41" fmla="*/ 1381125 h 2544762"/>
                    <a:gd name="connsiteX42" fmla="*/ 1423988 w 1488282"/>
                    <a:gd name="connsiteY42" fmla="*/ 1302545 h 2544762"/>
                    <a:gd name="connsiteX43" fmla="*/ 1414463 w 1488282"/>
                    <a:gd name="connsiteY43" fmla="*/ 1254920 h 2544762"/>
                    <a:gd name="connsiteX44" fmla="*/ 1450976 w 1488282"/>
                    <a:gd name="connsiteY44" fmla="*/ 1246187 h 2544762"/>
                    <a:gd name="connsiteX45" fmla="*/ 1488282 w 1488282"/>
                    <a:gd name="connsiteY45" fmla="*/ 1190625 h 2544762"/>
                    <a:gd name="connsiteX46" fmla="*/ 1433513 w 1488282"/>
                    <a:gd name="connsiteY46" fmla="*/ 1007269 h 2544762"/>
                    <a:gd name="connsiteX47" fmla="*/ 1388270 w 1488282"/>
                    <a:gd name="connsiteY47" fmla="*/ 878682 h 2544762"/>
                    <a:gd name="connsiteX48" fmla="*/ 1421607 w 1488282"/>
                    <a:gd name="connsiteY48" fmla="*/ 804863 h 2544762"/>
                    <a:gd name="connsiteX49" fmla="*/ 1371601 w 1488282"/>
                    <a:gd name="connsiteY49" fmla="*/ 664370 h 2544762"/>
                    <a:gd name="connsiteX50" fmla="*/ 1312069 w 1488282"/>
                    <a:gd name="connsiteY50" fmla="*/ 604838 h 2544762"/>
                    <a:gd name="connsiteX51" fmla="*/ 1309688 w 1488282"/>
                    <a:gd name="connsiteY51" fmla="*/ 523876 h 2544762"/>
                    <a:gd name="connsiteX52" fmla="*/ 1290639 w 1488282"/>
                    <a:gd name="connsiteY52" fmla="*/ 445295 h 2544762"/>
                    <a:gd name="connsiteX53" fmla="*/ 1311275 w 1488282"/>
                    <a:gd name="connsiteY53" fmla="*/ 324644 h 2544762"/>
                    <a:gd name="connsiteX54" fmla="*/ 1159669 w 1488282"/>
                    <a:gd name="connsiteY54" fmla="*/ 0 h 2544762"/>
                    <a:gd name="connsiteX55" fmla="*/ 1073944 w 1488282"/>
                    <a:gd name="connsiteY55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0 w 1488282"/>
                    <a:gd name="connsiteY4" fmla="*/ 185739 h 2544762"/>
                    <a:gd name="connsiteX5" fmla="*/ 483395 w 1488282"/>
                    <a:gd name="connsiteY5" fmla="*/ 1045369 h 2544762"/>
                    <a:gd name="connsiteX6" fmla="*/ 435769 w 1488282"/>
                    <a:gd name="connsiteY6" fmla="*/ 1023938 h 2544762"/>
                    <a:gd name="connsiteX7" fmla="*/ 407194 w 1488282"/>
                    <a:gd name="connsiteY7" fmla="*/ 1090613 h 2544762"/>
                    <a:gd name="connsiteX8" fmla="*/ 218281 w 1488282"/>
                    <a:gd name="connsiteY8" fmla="*/ 1068387 h 2544762"/>
                    <a:gd name="connsiteX9" fmla="*/ 176213 w 1488282"/>
                    <a:gd name="connsiteY9" fmla="*/ 1083470 h 2544762"/>
                    <a:gd name="connsiteX10" fmla="*/ 185738 w 1488282"/>
                    <a:gd name="connsiteY10" fmla="*/ 1140620 h 2544762"/>
                    <a:gd name="connsiteX11" fmla="*/ 147638 w 1488282"/>
                    <a:gd name="connsiteY11" fmla="*/ 1188244 h 2544762"/>
                    <a:gd name="connsiteX12" fmla="*/ 147638 w 1488282"/>
                    <a:gd name="connsiteY12" fmla="*/ 1328738 h 2544762"/>
                    <a:gd name="connsiteX13" fmla="*/ 173832 w 1488282"/>
                    <a:gd name="connsiteY13" fmla="*/ 1432718 h 2544762"/>
                    <a:gd name="connsiteX14" fmla="*/ 304800 w 1488282"/>
                    <a:gd name="connsiteY14" fmla="*/ 1795464 h 2544762"/>
                    <a:gd name="connsiteX15" fmla="*/ 309563 w 1488282"/>
                    <a:gd name="connsiteY15" fmla="*/ 1971675 h 2544762"/>
                    <a:gd name="connsiteX16" fmla="*/ 254794 w 1488282"/>
                    <a:gd name="connsiteY16" fmla="*/ 2064545 h 2544762"/>
                    <a:gd name="connsiteX17" fmla="*/ 270669 w 1488282"/>
                    <a:gd name="connsiteY17" fmla="*/ 2228056 h 2544762"/>
                    <a:gd name="connsiteX18" fmla="*/ 385763 w 1488282"/>
                    <a:gd name="connsiteY18" fmla="*/ 2422524 h 2544762"/>
                    <a:gd name="connsiteX19" fmla="*/ 565944 w 1488282"/>
                    <a:gd name="connsiteY19" fmla="*/ 2544762 h 2544762"/>
                    <a:gd name="connsiteX20" fmla="*/ 728662 w 1488282"/>
                    <a:gd name="connsiteY20" fmla="*/ 2409825 h 2544762"/>
                    <a:gd name="connsiteX21" fmla="*/ 733425 w 1488282"/>
                    <a:gd name="connsiteY21" fmla="*/ 2336007 h 2544762"/>
                    <a:gd name="connsiteX22" fmla="*/ 797720 w 1488282"/>
                    <a:gd name="connsiteY22" fmla="*/ 2300288 h 2544762"/>
                    <a:gd name="connsiteX23" fmla="*/ 800100 w 1488282"/>
                    <a:gd name="connsiteY23" fmla="*/ 2183607 h 2544762"/>
                    <a:gd name="connsiteX24" fmla="*/ 757237 w 1488282"/>
                    <a:gd name="connsiteY24" fmla="*/ 2169320 h 2544762"/>
                    <a:gd name="connsiteX25" fmla="*/ 678657 w 1488282"/>
                    <a:gd name="connsiteY25" fmla="*/ 2014538 h 2544762"/>
                    <a:gd name="connsiteX26" fmla="*/ 621507 w 1488282"/>
                    <a:gd name="connsiteY26" fmla="*/ 1704975 h 2544762"/>
                    <a:gd name="connsiteX27" fmla="*/ 533401 w 1488282"/>
                    <a:gd name="connsiteY27" fmla="*/ 1638301 h 2544762"/>
                    <a:gd name="connsiteX28" fmla="*/ 714375 w 1488282"/>
                    <a:gd name="connsiteY28" fmla="*/ 1628775 h 2544762"/>
                    <a:gd name="connsiteX29" fmla="*/ 804863 w 1488282"/>
                    <a:gd name="connsiteY29" fmla="*/ 1540669 h 2544762"/>
                    <a:gd name="connsiteX30" fmla="*/ 1021557 w 1488282"/>
                    <a:gd name="connsiteY30" fmla="*/ 1543050 h 2544762"/>
                    <a:gd name="connsiteX31" fmla="*/ 1073944 w 1488282"/>
                    <a:gd name="connsiteY31" fmla="*/ 1590676 h 2544762"/>
                    <a:gd name="connsiteX32" fmla="*/ 1064419 w 1488282"/>
                    <a:gd name="connsiteY32" fmla="*/ 1628776 h 2544762"/>
                    <a:gd name="connsiteX33" fmla="*/ 1143000 w 1488282"/>
                    <a:gd name="connsiteY33" fmla="*/ 1600201 h 2544762"/>
                    <a:gd name="connsiteX34" fmla="*/ 1190626 w 1488282"/>
                    <a:gd name="connsiteY34" fmla="*/ 1678782 h 2544762"/>
                    <a:gd name="connsiteX35" fmla="*/ 1221582 w 1488282"/>
                    <a:gd name="connsiteY35" fmla="*/ 1743074 h 2544762"/>
                    <a:gd name="connsiteX36" fmla="*/ 1276351 w 1488282"/>
                    <a:gd name="connsiteY36" fmla="*/ 1724026 h 2544762"/>
                    <a:gd name="connsiteX37" fmla="*/ 1328738 w 1488282"/>
                    <a:gd name="connsiteY37" fmla="*/ 1723231 h 2544762"/>
                    <a:gd name="connsiteX38" fmla="*/ 1293019 w 1488282"/>
                    <a:gd name="connsiteY38" fmla="*/ 1531144 h 2544762"/>
                    <a:gd name="connsiteX39" fmla="*/ 1345407 w 1488282"/>
                    <a:gd name="connsiteY39" fmla="*/ 1443038 h 2544762"/>
                    <a:gd name="connsiteX40" fmla="*/ 1316832 w 1488282"/>
                    <a:gd name="connsiteY40" fmla="*/ 1388270 h 2544762"/>
                    <a:gd name="connsiteX41" fmla="*/ 1371600 w 1488282"/>
                    <a:gd name="connsiteY41" fmla="*/ 1381125 h 2544762"/>
                    <a:gd name="connsiteX42" fmla="*/ 1423988 w 1488282"/>
                    <a:gd name="connsiteY42" fmla="*/ 1302545 h 2544762"/>
                    <a:gd name="connsiteX43" fmla="*/ 1414463 w 1488282"/>
                    <a:gd name="connsiteY43" fmla="*/ 1254920 h 2544762"/>
                    <a:gd name="connsiteX44" fmla="*/ 1450976 w 1488282"/>
                    <a:gd name="connsiteY44" fmla="*/ 1246187 h 2544762"/>
                    <a:gd name="connsiteX45" fmla="*/ 1488282 w 1488282"/>
                    <a:gd name="connsiteY45" fmla="*/ 1190625 h 2544762"/>
                    <a:gd name="connsiteX46" fmla="*/ 1433513 w 1488282"/>
                    <a:gd name="connsiteY46" fmla="*/ 1007269 h 2544762"/>
                    <a:gd name="connsiteX47" fmla="*/ 1388270 w 1488282"/>
                    <a:gd name="connsiteY47" fmla="*/ 878682 h 2544762"/>
                    <a:gd name="connsiteX48" fmla="*/ 1421607 w 1488282"/>
                    <a:gd name="connsiteY48" fmla="*/ 804863 h 2544762"/>
                    <a:gd name="connsiteX49" fmla="*/ 1371601 w 1488282"/>
                    <a:gd name="connsiteY49" fmla="*/ 664370 h 2544762"/>
                    <a:gd name="connsiteX50" fmla="*/ 1312069 w 1488282"/>
                    <a:gd name="connsiteY50" fmla="*/ 604838 h 2544762"/>
                    <a:gd name="connsiteX51" fmla="*/ 1309688 w 1488282"/>
                    <a:gd name="connsiteY51" fmla="*/ 523876 h 2544762"/>
                    <a:gd name="connsiteX52" fmla="*/ 1290639 w 1488282"/>
                    <a:gd name="connsiteY52" fmla="*/ 445295 h 2544762"/>
                    <a:gd name="connsiteX53" fmla="*/ 1311275 w 1488282"/>
                    <a:gd name="connsiteY53" fmla="*/ 324644 h 2544762"/>
                    <a:gd name="connsiteX54" fmla="*/ 1159669 w 1488282"/>
                    <a:gd name="connsiteY54" fmla="*/ 0 h 2544762"/>
                    <a:gd name="connsiteX55" fmla="*/ 1073944 w 1488282"/>
                    <a:gd name="connsiteY55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504825 w 1488282"/>
                    <a:gd name="connsiteY4" fmla="*/ 264319 h 2544762"/>
                    <a:gd name="connsiteX5" fmla="*/ 0 w 1488282"/>
                    <a:gd name="connsiteY5" fmla="*/ 185739 h 2544762"/>
                    <a:gd name="connsiteX6" fmla="*/ 483395 w 1488282"/>
                    <a:gd name="connsiteY6" fmla="*/ 1045369 h 2544762"/>
                    <a:gd name="connsiteX7" fmla="*/ 435769 w 1488282"/>
                    <a:gd name="connsiteY7" fmla="*/ 1023938 h 2544762"/>
                    <a:gd name="connsiteX8" fmla="*/ 407194 w 1488282"/>
                    <a:gd name="connsiteY8" fmla="*/ 1090613 h 2544762"/>
                    <a:gd name="connsiteX9" fmla="*/ 218281 w 1488282"/>
                    <a:gd name="connsiteY9" fmla="*/ 1068387 h 2544762"/>
                    <a:gd name="connsiteX10" fmla="*/ 176213 w 1488282"/>
                    <a:gd name="connsiteY10" fmla="*/ 1083470 h 2544762"/>
                    <a:gd name="connsiteX11" fmla="*/ 185738 w 1488282"/>
                    <a:gd name="connsiteY11" fmla="*/ 1140620 h 2544762"/>
                    <a:gd name="connsiteX12" fmla="*/ 147638 w 1488282"/>
                    <a:gd name="connsiteY12" fmla="*/ 1188244 h 2544762"/>
                    <a:gd name="connsiteX13" fmla="*/ 147638 w 1488282"/>
                    <a:gd name="connsiteY13" fmla="*/ 1328738 h 2544762"/>
                    <a:gd name="connsiteX14" fmla="*/ 173832 w 1488282"/>
                    <a:gd name="connsiteY14" fmla="*/ 1432718 h 2544762"/>
                    <a:gd name="connsiteX15" fmla="*/ 304800 w 1488282"/>
                    <a:gd name="connsiteY15" fmla="*/ 1795464 h 2544762"/>
                    <a:gd name="connsiteX16" fmla="*/ 309563 w 1488282"/>
                    <a:gd name="connsiteY16" fmla="*/ 1971675 h 2544762"/>
                    <a:gd name="connsiteX17" fmla="*/ 254794 w 1488282"/>
                    <a:gd name="connsiteY17" fmla="*/ 2064545 h 2544762"/>
                    <a:gd name="connsiteX18" fmla="*/ 270669 w 1488282"/>
                    <a:gd name="connsiteY18" fmla="*/ 2228056 h 2544762"/>
                    <a:gd name="connsiteX19" fmla="*/ 385763 w 1488282"/>
                    <a:gd name="connsiteY19" fmla="*/ 2422524 h 2544762"/>
                    <a:gd name="connsiteX20" fmla="*/ 565944 w 1488282"/>
                    <a:gd name="connsiteY20" fmla="*/ 2544762 h 2544762"/>
                    <a:gd name="connsiteX21" fmla="*/ 728662 w 1488282"/>
                    <a:gd name="connsiteY21" fmla="*/ 2409825 h 2544762"/>
                    <a:gd name="connsiteX22" fmla="*/ 733425 w 1488282"/>
                    <a:gd name="connsiteY22" fmla="*/ 2336007 h 2544762"/>
                    <a:gd name="connsiteX23" fmla="*/ 797720 w 1488282"/>
                    <a:gd name="connsiteY23" fmla="*/ 2300288 h 2544762"/>
                    <a:gd name="connsiteX24" fmla="*/ 800100 w 1488282"/>
                    <a:gd name="connsiteY24" fmla="*/ 2183607 h 2544762"/>
                    <a:gd name="connsiteX25" fmla="*/ 757237 w 1488282"/>
                    <a:gd name="connsiteY25" fmla="*/ 2169320 h 2544762"/>
                    <a:gd name="connsiteX26" fmla="*/ 678657 w 1488282"/>
                    <a:gd name="connsiteY26" fmla="*/ 2014538 h 2544762"/>
                    <a:gd name="connsiteX27" fmla="*/ 621507 w 1488282"/>
                    <a:gd name="connsiteY27" fmla="*/ 1704975 h 2544762"/>
                    <a:gd name="connsiteX28" fmla="*/ 533401 w 1488282"/>
                    <a:gd name="connsiteY28" fmla="*/ 1638301 h 2544762"/>
                    <a:gd name="connsiteX29" fmla="*/ 714375 w 1488282"/>
                    <a:gd name="connsiteY29" fmla="*/ 1628775 h 2544762"/>
                    <a:gd name="connsiteX30" fmla="*/ 804863 w 1488282"/>
                    <a:gd name="connsiteY30" fmla="*/ 1540669 h 2544762"/>
                    <a:gd name="connsiteX31" fmla="*/ 1021557 w 1488282"/>
                    <a:gd name="connsiteY31" fmla="*/ 1543050 h 2544762"/>
                    <a:gd name="connsiteX32" fmla="*/ 1073944 w 1488282"/>
                    <a:gd name="connsiteY32" fmla="*/ 1590676 h 2544762"/>
                    <a:gd name="connsiteX33" fmla="*/ 1064419 w 1488282"/>
                    <a:gd name="connsiteY33" fmla="*/ 1628776 h 2544762"/>
                    <a:gd name="connsiteX34" fmla="*/ 1143000 w 1488282"/>
                    <a:gd name="connsiteY34" fmla="*/ 1600201 h 2544762"/>
                    <a:gd name="connsiteX35" fmla="*/ 1190626 w 1488282"/>
                    <a:gd name="connsiteY35" fmla="*/ 1678782 h 2544762"/>
                    <a:gd name="connsiteX36" fmla="*/ 1221582 w 1488282"/>
                    <a:gd name="connsiteY36" fmla="*/ 1743074 h 2544762"/>
                    <a:gd name="connsiteX37" fmla="*/ 1276351 w 1488282"/>
                    <a:gd name="connsiteY37" fmla="*/ 1724026 h 2544762"/>
                    <a:gd name="connsiteX38" fmla="*/ 1328738 w 1488282"/>
                    <a:gd name="connsiteY38" fmla="*/ 1723231 h 2544762"/>
                    <a:gd name="connsiteX39" fmla="*/ 1293019 w 1488282"/>
                    <a:gd name="connsiteY39" fmla="*/ 1531144 h 2544762"/>
                    <a:gd name="connsiteX40" fmla="*/ 1345407 w 1488282"/>
                    <a:gd name="connsiteY40" fmla="*/ 1443038 h 2544762"/>
                    <a:gd name="connsiteX41" fmla="*/ 1316832 w 1488282"/>
                    <a:gd name="connsiteY41" fmla="*/ 1388270 h 2544762"/>
                    <a:gd name="connsiteX42" fmla="*/ 1371600 w 1488282"/>
                    <a:gd name="connsiteY42" fmla="*/ 1381125 h 2544762"/>
                    <a:gd name="connsiteX43" fmla="*/ 1423988 w 1488282"/>
                    <a:gd name="connsiteY43" fmla="*/ 1302545 h 2544762"/>
                    <a:gd name="connsiteX44" fmla="*/ 1414463 w 1488282"/>
                    <a:gd name="connsiteY44" fmla="*/ 1254920 h 2544762"/>
                    <a:gd name="connsiteX45" fmla="*/ 1450976 w 1488282"/>
                    <a:gd name="connsiteY45" fmla="*/ 1246187 h 2544762"/>
                    <a:gd name="connsiteX46" fmla="*/ 1488282 w 1488282"/>
                    <a:gd name="connsiteY46" fmla="*/ 1190625 h 2544762"/>
                    <a:gd name="connsiteX47" fmla="*/ 1433513 w 1488282"/>
                    <a:gd name="connsiteY47" fmla="*/ 1007269 h 2544762"/>
                    <a:gd name="connsiteX48" fmla="*/ 1388270 w 1488282"/>
                    <a:gd name="connsiteY48" fmla="*/ 878682 h 2544762"/>
                    <a:gd name="connsiteX49" fmla="*/ 1421607 w 1488282"/>
                    <a:gd name="connsiteY49" fmla="*/ 804863 h 2544762"/>
                    <a:gd name="connsiteX50" fmla="*/ 1371601 w 1488282"/>
                    <a:gd name="connsiteY50" fmla="*/ 664370 h 2544762"/>
                    <a:gd name="connsiteX51" fmla="*/ 1312069 w 1488282"/>
                    <a:gd name="connsiteY51" fmla="*/ 604838 h 2544762"/>
                    <a:gd name="connsiteX52" fmla="*/ 1309688 w 1488282"/>
                    <a:gd name="connsiteY52" fmla="*/ 523876 h 2544762"/>
                    <a:gd name="connsiteX53" fmla="*/ 1290639 w 1488282"/>
                    <a:gd name="connsiteY53" fmla="*/ 445295 h 2544762"/>
                    <a:gd name="connsiteX54" fmla="*/ 1311275 w 1488282"/>
                    <a:gd name="connsiteY54" fmla="*/ 324644 h 2544762"/>
                    <a:gd name="connsiteX55" fmla="*/ 1159669 w 1488282"/>
                    <a:gd name="connsiteY55" fmla="*/ 0 h 2544762"/>
                    <a:gd name="connsiteX56" fmla="*/ 1073944 w 1488282"/>
                    <a:gd name="connsiteY56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0 w 1488282"/>
                    <a:gd name="connsiteY5" fmla="*/ 185739 h 2544762"/>
                    <a:gd name="connsiteX6" fmla="*/ 483395 w 1488282"/>
                    <a:gd name="connsiteY6" fmla="*/ 1045369 h 2544762"/>
                    <a:gd name="connsiteX7" fmla="*/ 435769 w 1488282"/>
                    <a:gd name="connsiteY7" fmla="*/ 1023938 h 2544762"/>
                    <a:gd name="connsiteX8" fmla="*/ 407194 w 1488282"/>
                    <a:gd name="connsiteY8" fmla="*/ 1090613 h 2544762"/>
                    <a:gd name="connsiteX9" fmla="*/ 218281 w 1488282"/>
                    <a:gd name="connsiteY9" fmla="*/ 1068387 h 2544762"/>
                    <a:gd name="connsiteX10" fmla="*/ 176213 w 1488282"/>
                    <a:gd name="connsiteY10" fmla="*/ 1083470 h 2544762"/>
                    <a:gd name="connsiteX11" fmla="*/ 185738 w 1488282"/>
                    <a:gd name="connsiteY11" fmla="*/ 1140620 h 2544762"/>
                    <a:gd name="connsiteX12" fmla="*/ 147638 w 1488282"/>
                    <a:gd name="connsiteY12" fmla="*/ 1188244 h 2544762"/>
                    <a:gd name="connsiteX13" fmla="*/ 147638 w 1488282"/>
                    <a:gd name="connsiteY13" fmla="*/ 1328738 h 2544762"/>
                    <a:gd name="connsiteX14" fmla="*/ 173832 w 1488282"/>
                    <a:gd name="connsiteY14" fmla="*/ 1432718 h 2544762"/>
                    <a:gd name="connsiteX15" fmla="*/ 304800 w 1488282"/>
                    <a:gd name="connsiteY15" fmla="*/ 1795464 h 2544762"/>
                    <a:gd name="connsiteX16" fmla="*/ 309563 w 1488282"/>
                    <a:gd name="connsiteY16" fmla="*/ 1971675 h 2544762"/>
                    <a:gd name="connsiteX17" fmla="*/ 254794 w 1488282"/>
                    <a:gd name="connsiteY17" fmla="*/ 2064545 h 2544762"/>
                    <a:gd name="connsiteX18" fmla="*/ 270669 w 1488282"/>
                    <a:gd name="connsiteY18" fmla="*/ 2228056 h 2544762"/>
                    <a:gd name="connsiteX19" fmla="*/ 385763 w 1488282"/>
                    <a:gd name="connsiteY19" fmla="*/ 2422524 h 2544762"/>
                    <a:gd name="connsiteX20" fmla="*/ 565944 w 1488282"/>
                    <a:gd name="connsiteY20" fmla="*/ 2544762 h 2544762"/>
                    <a:gd name="connsiteX21" fmla="*/ 728662 w 1488282"/>
                    <a:gd name="connsiteY21" fmla="*/ 2409825 h 2544762"/>
                    <a:gd name="connsiteX22" fmla="*/ 733425 w 1488282"/>
                    <a:gd name="connsiteY22" fmla="*/ 2336007 h 2544762"/>
                    <a:gd name="connsiteX23" fmla="*/ 797720 w 1488282"/>
                    <a:gd name="connsiteY23" fmla="*/ 2300288 h 2544762"/>
                    <a:gd name="connsiteX24" fmla="*/ 800100 w 1488282"/>
                    <a:gd name="connsiteY24" fmla="*/ 2183607 h 2544762"/>
                    <a:gd name="connsiteX25" fmla="*/ 757237 w 1488282"/>
                    <a:gd name="connsiteY25" fmla="*/ 2169320 h 2544762"/>
                    <a:gd name="connsiteX26" fmla="*/ 678657 w 1488282"/>
                    <a:gd name="connsiteY26" fmla="*/ 2014538 h 2544762"/>
                    <a:gd name="connsiteX27" fmla="*/ 621507 w 1488282"/>
                    <a:gd name="connsiteY27" fmla="*/ 1704975 h 2544762"/>
                    <a:gd name="connsiteX28" fmla="*/ 533401 w 1488282"/>
                    <a:gd name="connsiteY28" fmla="*/ 1638301 h 2544762"/>
                    <a:gd name="connsiteX29" fmla="*/ 714375 w 1488282"/>
                    <a:gd name="connsiteY29" fmla="*/ 1628775 h 2544762"/>
                    <a:gd name="connsiteX30" fmla="*/ 804863 w 1488282"/>
                    <a:gd name="connsiteY30" fmla="*/ 1540669 h 2544762"/>
                    <a:gd name="connsiteX31" fmla="*/ 1021557 w 1488282"/>
                    <a:gd name="connsiteY31" fmla="*/ 1543050 h 2544762"/>
                    <a:gd name="connsiteX32" fmla="*/ 1073944 w 1488282"/>
                    <a:gd name="connsiteY32" fmla="*/ 1590676 h 2544762"/>
                    <a:gd name="connsiteX33" fmla="*/ 1064419 w 1488282"/>
                    <a:gd name="connsiteY33" fmla="*/ 1628776 h 2544762"/>
                    <a:gd name="connsiteX34" fmla="*/ 1143000 w 1488282"/>
                    <a:gd name="connsiteY34" fmla="*/ 1600201 h 2544762"/>
                    <a:gd name="connsiteX35" fmla="*/ 1190626 w 1488282"/>
                    <a:gd name="connsiteY35" fmla="*/ 1678782 h 2544762"/>
                    <a:gd name="connsiteX36" fmla="*/ 1221582 w 1488282"/>
                    <a:gd name="connsiteY36" fmla="*/ 1743074 h 2544762"/>
                    <a:gd name="connsiteX37" fmla="*/ 1276351 w 1488282"/>
                    <a:gd name="connsiteY37" fmla="*/ 1724026 h 2544762"/>
                    <a:gd name="connsiteX38" fmla="*/ 1328738 w 1488282"/>
                    <a:gd name="connsiteY38" fmla="*/ 1723231 h 2544762"/>
                    <a:gd name="connsiteX39" fmla="*/ 1293019 w 1488282"/>
                    <a:gd name="connsiteY39" fmla="*/ 1531144 h 2544762"/>
                    <a:gd name="connsiteX40" fmla="*/ 1345407 w 1488282"/>
                    <a:gd name="connsiteY40" fmla="*/ 1443038 h 2544762"/>
                    <a:gd name="connsiteX41" fmla="*/ 1316832 w 1488282"/>
                    <a:gd name="connsiteY41" fmla="*/ 1388270 h 2544762"/>
                    <a:gd name="connsiteX42" fmla="*/ 1371600 w 1488282"/>
                    <a:gd name="connsiteY42" fmla="*/ 1381125 h 2544762"/>
                    <a:gd name="connsiteX43" fmla="*/ 1423988 w 1488282"/>
                    <a:gd name="connsiteY43" fmla="*/ 1302545 h 2544762"/>
                    <a:gd name="connsiteX44" fmla="*/ 1414463 w 1488282"/>
                    <a:gd name="connsiteY44" fmla="*/ 1254920 h 2544762"/>
                    <a:gd name="connsiteX45" fmla="*/ 1450976 w 1488282"/>
                    <a:gd name="connsiteY45" fmla="*/ 1246187 h 2544762"/>
                    <a:gd name="connsiteX46" fmla="*/ 1488282 w 1488282"/>
                    <a:gd name="connsiteY46" fmla="*/ 1190625 h 2544762"/>
                    <a:gd name="connsiteX47" fmla="*/ 1433513 w 1488282"/>
                    <a:gd name="connsiteY47" fmla="*/ 1007269 h 2544762"/>
                    <a:gd name="connsiteX48" fmla="*/ 1388270 w 1488282"/>
                    <a:gd name="connsiteY48" fmla="*/ 878682 h 2544762"/>
                    <a:gd name="connsiteX49" fmla="*/ 1421607 w 1488282"/>
                    <a:gd name="connsiteY49" fmla="*/ 804863 h 2544762"/>
                    <a:gd name="connsiteX50" fmla="*/ 1371601 w 1488282"/>
                    <a:gd name="connsiteY50" fmla="*/ 664370 h 2544762"/>
                    <a:gd name="connsiteX51" fmla="*/ 1312069 w 1488282"/>
                    <a:gd name="connsiteY51" fmla="*/ 604838 h 2544762"/>
                    <a:gd name="connsiteX52" fmla="*/ 1309688 w 1488282"/>
                    <a:gd name="connsiteY52" fmla="*/ 523876 h 2544762"/>
                    <a:gd name="connsiteX53" fmla="*/ 1290639 w 1488282"/>
                    <a:gd name="connsiteY53" fmla="*/ 445295 h 2544762"/>
                    <a:gd name="connsiteX54" fmla="*/ 1311275 w 1488282"/>
                    <a:gd name="connsiteY54" fmla="*/ 324644 h 2544762"/>
                    <a:gd name="connsiteX55" fmla="*/ 1159669 w 1488282"/>
                    <a:gd name="connsiteY55" fmla="*/ 0 h 2544762"/>
                    <a:gd name="connsiteX56" fmla="*/ 1073944 w 1488282"/>
                    <a:gd name="connsiteY56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490538 w 1488282"/>
                    <a:gd name="connsiteY5" fmla="*/ 273844 h 2544762"/>
                    <a:gd name="connsiteX6" fmla="*/ 0 w 1488282"/>
                    <a:gd name="connsiteY6" fmla="*/ 185739 h 2544762"/>
                    <a:gd name="connsiteX7" fmla="*/ 483395 w 1488282"/>
                    <a:gd name="connsiteY7" fmla="*/ 1045369 h 2544762"/>
                    <a:gd name="connsiteX8" fmla="*/ 435769 w 1488282"/>
                    <a:gd name="connsiteY8" fmla="*/ 1023938 h 2544762"/>
                    <a:gd name="connsiteX9" fmla="*/ 407194 w 1488282"/>
                    <a:gd name="connsiteY9" fmla="*/ 1090613 h 2544762"/>
                    <a:gd name="connsiteX10" fmla="*/ 218281 w 1488282"/>
                    <a:gd name="connsiteY10" fmla="*/ 1068387 h 2544762"/>
                    <a:gd name="connsiteX11" fmla="*/ 176213 w 1488282"/>
                    <a:gd name="connsiteY11" fmla="*/ 1083470 h 2544762"/>
                    <a:gd name="connsiteX12" fmla="*/ 185738 w 1488282"/>
                    <a:gd name="connsiteY12" fmla="*/ 1140620 h 2544762"/>
                    <a:gd name="connsiteX13" fmla="*/ 147638 w 1488282"/>
                    <a:gd name="connsiteY13" fmla="*/ 1188244 h 2544762"/>
                    <a:gd name="connsiteX14" fmla="*/ 147638 w 1488282"/>
                    <a:gd name="connsiteY14" fmla="*/ 1328738 h 2544762"/>
                    <a:gd name="connsiteX15" fmla="*/ 173832 w 1488282"/>
                    <a:gd name="connsiteY15" fmla="*/ 1432718 h 2544762"/>
                    <a:gd name="connsiteX16" fmla="*/ 304800 w 1488282"/>
                    <a:gd name="connsiteY16" fmla="*/ 1795464 h 2544762"/>
                    <a:gd name="connsiteX17" fmla="*/ 309563 w 1488282"/>
                    <a:gd name="connsiteY17" fmla="*/ 1971675 h 2544762"/>
                    <a:gd name="connsiteX18" fmla="*/ 254794 w 1488282"/>
                    <a:gd name="connsiteY18" fmla="*/ 2064545 h 2544762"/>
                    <a:gd name="connsiteX19" fmla="*/ 270669 w 1488282"/>
                    <a:gd name="connsiteY19" fmla="*/ 2228056 h 2544762"/>
                    <a:gd name="connsiteX20" fmla="*/ 385763 w 1488282"/>
                    <a:gd name="connsiteY20" fmla="*/ 2422524 h 2544762"/>
                    <a:gd name="connsiteX21" fmla="*/ 565944 w 1488282"/>
                    <a:gd name="connsiteY21" fmla="*/ 2544762 h 2544762"/>
                    <a:gd name="connsiteX22" fmla="*/ 728662 w 1488282"/>
                    <a:gd name="connsiteY22" fmla="*/ 2409825 h 2544762"/>
                    <a:gd name="connsiteX23" fmla="*/ 733425 w 1488282"/>
                    <a:gd name="connsiteY23" fmla="*/ 2336007 h 2544762"/>
                    <a:gd name="connsiteX24" fmla="*/ 797720 w 1488282"/>
                    <a:gd name="connsiteY24" fmla="*/ 2300288 h 2544762"/>
                    <a:gd name="connsiteX25" fmla="*/ 800100 w 1488282"/>
                    <a:gd name="connsiteY25" fmla="*/ 2183607 h 2544762"/>
                    <a:gd name="connsiteX26" fmla="*/ 757237 w 1488282"/>
                    <a:gd name="connsiteY26" fmla="*/ 2169320 h 2544762"/>
                    <a:gd name="connsiteX27" fmla="*/ 678657 w 1488282"/>
                    <a:gd name="connsiteY27" fmla="*/ 2014538 h 2544762"/>
                    <a:gd name="connsiteX28" fmla="*/ 621507 w 1488282"/>
                    <a:gd name="connsiteY28" fmla="*/ 1704975 h 2544762"/>
                    <a:gd name="connsiteX29" fmla="*/ 533401 w 1488282"/>
                    <a:gd name="connsiteY29" fmla="*/ 1638301 h 2544762"/>
                    <a:gd name="connsiteX30" fmla="*/ 714375 w 1488282"/>
                    <a:gd name="connsiteY30" fmla="*/ 1628775 h 2544762"/>
                    <a:gd name="connsiteX31" fmla="*/ 804863 w 1488282"/>
                    <a:gd name="connsiteY31" fmla="*/ 1540669 h 2544762"/>
                    <a:gd name="connsiteX32" fmla="*/ 1021557 w 1488282"/>
                    <a:gd name="connsiteY32" fmla="*/ 1543050 h 2544762"/>
                    <a:gd name="connsiteX33" fmla="*/ 1073944 w 1488282"/>
                    <a:gd name="connsiteY33" fmla="*/ 1590676 h 2544762"/>
                    <a:gd name="connsiteX34" fmla="*/ 1064419 w 1488282"/>
                    <a:gd name="connsiteY34" fmla="*/ 1628776 h 2544762"/>
                    <a:gd name="connsiteX35" fmla="*/ 1143000 w 1488282"/>
                    <a:gd name="connsiteY35" fmla="*/ 1600201 h 2544762"/>
                    <a:gd name="connsiteX36" fmla="*/ 1190626 w 1488282"/>
                    <a:gd name="connsiteY36" fmla="*/ 1678782 h 2544762"/>
                    <a:gd name="connsiteX37" fmla="*/ 1221582 w 1488282"/>
                    <a:gd name="connsiteY37" fmla="*/ 1743074 h 2544762"/>
                    <a:gd name="connsiteX38" fmla="*/ 1276351 w 1488282"/>
                    <a:gd name="connsiteY38" fmla="*/ 1724026 h 2544762"/>
                    <a:gd name="connsiteX39" fmla="*/ 1328738 w 1488282"/>
                    <a:gd name="connsiteY39" fmla="*/ 1723231 h 2544762"/>
                    <a:gd name="connsiteX40" fmla="*/ 1293019 w 1488282"/>
                    <a:gd name="connsiteY40" fmla="*/ 1531144 h 2544762"/>
                    <a:gd name="connsiteX41" fmla="*/ 1345407 w 1488282"/>
                    <a:gd name="connsiteY41" fmla="*/ 1443038 h 2544762"/>
                    <a:gd name="connsiteX42" fmla="*/ 1316832 w 1488282"/>
                    <a:gd name="connsiteY42" fmla="*/ 1388270 h 2544762"/>
                    <a:gd name="connsiteX43" fmla="*/ 1371600 w 1488282"/>
                    <a:gd name="connsiteY43" fmla="*/ 1381125 h 2544762"/>
                    <a:gd name="connsiteX44" fmla="*/ 1423988 w 1488282"/>
                    <a:gd name="connsiteY44" fmla="*/ 1302545 h 2544762"/>
                    <a:gd name="connsiteX45" fmla="*/ 1414463 w 1488282"/>
                    <a:gd name="connsiteY45" fmla="*/ 1254920 h 2544762"/>
                    <a:gd name="connsiteX46" fmla="*/ 1450976 w 1488282"/>
                    <a:gd name="connsiteY46" fmla="*/ 1246187 h 2544762"/>
                    <a:gd name="connsiteX47" fmla="*/ 1488282 w 1488282"/>
                    <a:gd name="connsiteY47" fmla="*/ 1190625 h 2544762"/>
                    <a:gd name="connsiteX48" fmla="*/ 1433513 w 1488282"/>
                    <a:gd name="connsiteY48" fmla="*/ 1007269 h 2544762"/>
                    <a:gd name="connsiteX49" fmla="*/ 1388270 w 1488282"/>
                    <a:gd name="connsiteY49" fmla="*/ 878682 h 2544762"/>
                    <a:gd name="connsiteX50" fmla="*/ 1421607 w 1488282"/>
                    <a:gd name="connsiteY50" fmla="*/ 804863 h 2544762"/>
                    <a:gd name="connsiteX51" fmla="*/ 1371601 w 1488282"/>
                    <a:gd name="connsiteY51" fmla="*/ 664370 h 2544762"/>
                    <a:gd name="connsiteX52" fmla="*/ 1312069 w 1488282"/>
                    <a:gd name="connsiteY52" fmla="*/ 604838 h 2544762"/>
                    <a:gd name="connsiteX53" fmla="*/ 1309688 w 1488282"/>
                    <a:gd name="connsiteY53" fmla="*/ 523876 h 2544762"/>
                    <a:gd name="connsiteX54" fmla="*/ 1290639 w 1488282"/>
                    <a:gd name="connsiteY54" fmla="*/ 445295 h 2544762"/>
                    <a:gd name="connsiteX55" fmla="*/ 1311275 w 1488282"/>
                    <a:gd name="connsiteY55" fmla="*/ 324644 h 2544762"/>
                    <a:gd name="connsiteX56" fmla="*/ 1159669 w 1488282"/>
                    <a:gd name="connsiteY56" fmla="*/ 0 h 2544762"/>
                    <a:gd name="connsiteX57" fmla="*/ 1073944 w 1488282"/>
                    <a:gd name="connsiteY57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0 w 1488282"/>
                    <a:gd name="connsiteY6" fmla="*/ 185739 h 2544762"/>
                    <a:gd name="connsiteX7" fmla="*/ 483395 w 1488282"/>
                    <a:gd name="connsiteY7" fmla="*/ 1045369 h 2544762"/>
                    <a:gd name="connsiteX8" fmla="*/ 435769 w 1488282"/>
                    <a:gd name="connsiteY8" fmla="*/ 1023938 h 2544762"/>
                    <a:gd name="connsiteX9" fmla="*/ 407194 w 1488282"/>
                    <a:gd name="connsiteY9" fmla="*/ 1090613 h 2544762"/>
                    <a:gd name="connsiteX10" fmla="*/ 218281 w 1488282"/>
                    <a:gd name="connsiteY10" fmla="*/ 1068387 h 2544762"/>
                    <a:gd name="connsiteX11" fmla="*/ 176213 w 1488282"/>
                    <a:gd name="connsiteY11" fmla="*/ 1083470 h 2544762"/>
                    <a:gd name="connsiteX12" fmla="*/ 185738 w 1488282"/>
                    <a:gd name="connsiteY12" fmla="*/ 1140620 h 2544762"/>
                    <a:gd name="connsiteX13" fmla="*/ 147638 w 1488282"/>
                    <a:gd name="connsiteY13" fmla="*/ 1188244 h 2544762"/>
                    <a:gd name="connsiteX14" fmla="*/ 147638 w 1488282"/>
                    <a:gd name="connsiteY14" fmla="*/ 1328738 h 2544762"/>
                    <a:gd name="connsiteX15" fmla="*/ 173832 w 1488282"/>
                    <a:gd name="connsiteY15" fmla="*/ 1432718 h 2544762"/>
                    <a:gd name="connsiteX16" fmla="*/ 304800 w 1488282"/>
                    <a:gd name="connsiteY16" fmla="*/ 1795464 h 2544762"/>
                    <a:gd name="connsiteX17" fmla="*/ 309563 w 1488282"/>
                    <a:gd name="connsiteY17" fmla="*/ 1971675 h 2544762"/>
                    <a:gd name="connsiteX18" fmla="*/ 254794 w 1488282"/>
                    <a:gd name="connsiteY18" fmla="*/ 2064545 h 2544762"/>
                    <a:gd name="connsiteX19" fmla="*/ 270669 w 1488282"/>
                    <a:gd name="connsiteY19" fmla="*/ 2228056 h 2544762"/>
                    <a:gd name="connsiteX20" fmla="*/ 385763 w 1488282"/>
                    <a:gd name="connsiteY20" fmla="*/ 2422524 h 2544762"/>
                    <a:gd name="connsiteX21" fmla="*/ 565944 w 1488282"/>
                    <a:gd name="connsiteY21" fmla="*/ 2544762 h 2544762"/>
                    <a:gd name="connsiteX22" fmla="*/ 728662 w 1488282"/>
                    <a:gd name="connsiteY22" fmla="*/ 2409825 h 2544762"/>
                    <a:gd name="connsiteX23" fmla="*/ 733425 w 1488282"/>
                    <a:gd name="connsiteY23" fmla="*/ 2336007 h 2544762"/>
                    <a:gd name="connsiteX24" fmla="*/ 797720 w 1488282"/>
                    <a:gd name="connsiteY24" fmla="*/ 2300288 h 2544762"/>
                    <a:gd name="connsiteX25" fmla="*/ 800100 w 1488282"/>
                    <a:gd name="connsiteY25" fmla="*/ 2183607 h 2544762"/>
                    <a:gd name="connsiteX26" fmla="*/ 757237 w 1488282"/>
                    <a:gd name="connsiteY26" fmla="*/ 2169320 h 2544762"/>
                    <a:gd name="connsiteX27" fmla="*/ 678657 w 1488282"/>
                    <a:gd name="connsiteY27" fmla="*/ 2014538 h 2544762"/>
                    <a:gd name="connsiteX28" fmla="*/ 621507 w 1488282"/>
                    <a:gd name="connsiteY28" fmla="*/ 1704975 h 2544762"/>
                    <a:gd name="connsiteX29" fmla="*/ 533401 w 1488282"/>
                    <a:gd name="connsiteY29" fmla="*/ 1638301 h 2544762"/>
                    <a:gd name="connsiteX30" fmla="*/ 714375 w 1488282"/>
                    <a:gd name="connsiteY30" fmla="*/ 1628775 h 2544762"/>
                    <a:gd name="connsiteX31" fmla="*/ 804863 w 1488282"/>
                    <a:gd name="connsiteY31" fmla="*/ 1540669 h 2544762"/>
                    <a:gd name="connsiteX32" fmla="*/ 1021557 w 1488282"/>
                    <a:gd name="connsiteY32" fmla="*/ 1543050 h 2544762"/>
                    <a:gd name="connsiteX33" fmla="*/ 1073944 w 1488282"/>
                    <a:gd name="connsiteY33" fmla="*/ 1590676 h 2544762"/>
                    <a:gd name="connsiteX34" fmla="*/ 1064419 w 1488282"/>
                    <a:gd name="connsiteY34" fmla="*/ 1628776 h 2544762"/>
                    <a:gd name="connsiteX35" fmla="*/ 1143000 w 1488282"/>
                    <a:gd name="connsiteY35" fmla="*/ 1600201 h 2544762"/>
                    <a:gd name="connsiteX36" fmla="*/ 1190626 w 1488282"/>
                    <a:gd name="connsiteY36" fmla="*/ 1678782 h 2544762"/>
                    <a:gd name="connsiteX37" fmla="*/ 1221582 w 1488282"/>
                    <a:gd name="connsiteY37" fmla="*/ 1743074 h 2544762"/>
                    <a:gd name="connsiteX38" fmla="*/ 1276351 w 1488282"/>
                    <a:gd name="connsiteY38" fmla="*/ 1724026 h 2544762"/>
                    <a:gd name="connsiteX39" fmla="*/ 1328738 w 1488282"/>
                    <a:gd name="connsiteY39" fmla="*/ 1723231 h 2544762"/>
                    <a:gd name="connsiteX40" fmla="*/ 1293019 w 1488282"/>
                    <a:gd name="connsiteY40" fmla="*/ 1531144 h 2544762"/>
                    <a:gd name="connsiteX41" fmla="*/ 1345407 w 1488282"/>
                    <a:gd name="connsiteY41" fmla="*/ 1443038 h 2544762"/>
                    <a:gd name="connsiteX42" fmla="*/ 1316832 w 1488282"/>
                    <a:gd name="connsiteY42" fmla="*/ 1388270 h 2544762"/>
                    <a:gd name="connsiteX43" fmla="*/ 1371600 w 1488282"/>
                    <a:gd name="connsiteY43" fmla="*/ 1381125 h 2544762"/>
                    <a:gd name="connsiteX44" fmla="*/ 1423988 w 1488282"/>
                    <a:gd name="connsiteY44" fmla="*/ 1302545 h 2544762"/>
                    <a:gd name="connsiteX45" fmla="*/ 1414463 w 1488282"/>
                    <a:gd name="connsiteY45" fmla="*/ 1254920 h 2544762"/>
                    <a:gd name="connsiteX46" fmla="*/ 1450976 w 1488282"/>
                    <a:gd name="connsiteY46" fmla="*/ 1246187 h 2544762"/>
                    <a:gd name="connsiteX47" fmla="*/ 1488282 w 1488282"/>
                    <a:gd name="connsiteY47" fmla="*/ 1190625 h 2544762"/>
                    <a:gd name="connsiteX48" fmla="*/ 1433513 w 1488282"/>
                    <a:gd name="connsiteY48" fmla="*/ 1007269 h 2544762"/>
                    <a:gd name="connsiteX49" fmla="*/ 1388270 w 1488282"/>
                    <a:gd name="connsiteY49" fmla="*/ 878682 h 2544762"/>
                    <a:gd name="connsiteX50" fmla="*/ 1421607 w 1488282"/>
                    <a:gd name="connsiteY50" fmla="*/ 804863 h 2544762"/>
                    <a:gd name="connsiteX51" fmla="*/ 1371601 w 1488282"/>
                    <a:gd name="connsiteY51" fmla="*/ 664370 h 2544762"/>
                    <a:gd name="connsiteX52" fmla="*/ 1312069 w 1488282"/>
                    <a:gd name="connsiteY52" fmla="*/ 604838 h 2544762"/>
                    <a:gd name="connsiteX53" fmla="*/ 1309688 w 1488282"/>
                    <a:gd name="connsiteY53" fmla="*/ 523876 h 2544762"/>
                    <a:gd name="connsiteX54" fmla="*/ 1290639 w 1488282"/>
                    <a:gd name="connsiteY54" fmla="*/ 445295 h 2544762"/>
                    <a:gd name="connsiteX55" fmla="*/ 1311275 w 1488282"/>
                    <a:gd name="connsiteY55" fmla="*/ 324644 h 2544762"/>
                    <a:gd name="connsiteX56" fmla="*/ 1159669 w 1488282"/>
                    <a:gd name="connsiteY56" fmla="*/ 0 h 2544762"/>
                    <a:gd name="connsiteX57" fmla="*/ 1073944 w 1488282"/>
                    <a:gd name="connsiteY57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495300 w 1488282"/>
                    <a:gd name="connsiteY6" fmla="*/ 304801 h 2544762"/>
                    <a:gd name="connsiteX7" fmla="*/ 0 w 1488282"/>
                    <a:gd name="connsiteY7" fmla="*/ 185739 h 2544762"/>
                    <a:gd name="connsiteX8" fmla="*/ 483395 w 1488282"/>
                    <a:gd name="connsiteY8" fmla="*/ 1045369 h 2544762"/>
                    <a:gd name="connsiteX9" fmla="*/ 435769 w 1488282"/>
                    <a:gd name="connsiteY9" fmla="*/ 1023938 h 2544762"/>
                    <a:gd name="connsiteX10" fmla="*/ 407194 w 1488282"/>
                    <a:gd name="connsiteY10" fmla="*/ 1090613 h 2544762"/>
                    <a:gd name="connsiteX11" fmla="*/ 218281 w 1488282"/>
                    <a:gd name="connsiteY11" fmla="*/ 1068387 h 2544762"/>
                    <a:gd name="connsiteX12" fmla="*/ 176213 w 1488282"/>
                    <a:gd name="connsiteY12" fmla="*/ 1083470 h 2544762"/>
                    <a:gd name="connsiteX13" fmla="*/ 185738 w 1488282"/>
                    <a:gd name="connsiteY13" fmla="*/ 1140620 h 2544762"/>
                    <a:gd name="connsiteX14" fmla="*/ 147638 w 1488282"/>
                    <a:gd name="connsiteY14" fmla="*/ 1188244 h 2544762"/>
                    <a:gd name="connsiteX15" fmla="*/ 147638 w 1488282"/>
                    <a:gd name="connsiteY15" fmla="*/ 1328738 h 2544762"/>
                    <a:gd name="connsiteX16" fmla="*/ 173832 w 1488282"/>
                    <a:gd name="connsiteY16" fmla="*/ 1432718 h 2544762"/>
                    <a:gd name="connsiteX17" fmla="*/ 304800 w 1488282"/>
                    <a:gd name="connsiteY17" fmla="*/ 1795464 h 2544762"/>
                    <a:gd name="connsiteX18" fmla="*/ 309563 w 1488282"/>
                    <a:gd name="connsiteY18" fmla="*/ 1971675 h 2544762"/>
                    <a:gd name="connsiteX19" fmla="*/ 254794 w 1488282"/>
                    <a:gd name="connsiteY19" fmla="*/ 2064545 h 2544762"/>
                    <a:gd name="connsiteX20" fmla="*/ 270669 w 1488282"/>
                    <a:gd name="connsiteY20" fmla="*/ 2228056 h 2544762"/>
                    <a:gd name="connsiteX21" fmla="*/ 385763 w 1488282"/>
                    <a:gd name="connsiteY21" fmla="*/ 2422524 h 2544762"/>
                    <a:gd name="connsiteX22" fmla="*/ 565944 w 1488282"/>
                    <a:gd name="connsiteY22" fmla="*/ 2544762 h 2544762"/>
                    <a:gd name="connsiteX23" fmla="*/ 728662 w 1488282"/>
                    <a:gd name="connsiteY23" fmla="*/ 2409825 h 2544762"/>
                    <a:gd name="connsiteX24" fmla="*/ 733425 w 1488282"/>
                    <a:gd name="connsiteY24" fmla="*/ 2336007 h 2544762"/>
                    <a:gd name="connsiteX25" fmla="*/ 797720 w 1488282"/>
                    <a:gd name="connsiteY25" fmla="*/ 2300288 h 2544762"/>
                    <a:gd name="connsiteX26" fmla="*/ 800100 w 1488282"/>
                    <a:gd name="connsiteY26" fmla="*/ 2183607 h 2544762"/>
                    <a:gd name="connsiteX27" fmla="*/ 757237 w 1488282"/>
                    <a:gd name="connsiteY27" fmla="*/ 2169320 h 2544762"/>
                    <a:gd name="connsiteX28" fmla="*/ 678657 w 1488282"/>
                    <a:gd name="connsiteY28" fmla="*/ 2014538 h 2544762"/>
                    <a:gd name="connsiteX29" fmla="*/ 621507 w 1488282"/>
                    <a:gd name="connsiteY29" fmla="*/ 1704975 h 2544762"/>
                    <a:gd name="connsiteX30" fmla="*/ 533401 w 1488282"/>
                    <a:gd name="connsiteY30" fmla="*/ 1638301 h 2544762"/>
                    <a:gd name="connsiteX31" fmla="*/ 714375 w 1488282"/>
                    <a:gd name="connsiteY31" fmla="*/ 1628775 h 2544762"/>
                    <a:gd name="connsiteX32" fmla="*/ 804863 w 1488282"/>
                    <a:gd name="connsiteY32" fmla="*/ 1540669 h 2544762"/>
                    <a:gd name="connsiteX33" fmla="*/ 1021557 w 1488282"/>
                    <a:gd name="connsiteY33" fmla="*/ 1543050 h 2544762"/>
                    <a:gd name="connsiteX34" fmla="*/ 1073944 w 1488282"/>
                    <a:gd name="connsiteY34" fmla="*/ 1590676 h 2544762"/>
                    <a:gd name="connsiteX35" fmla="*/ 1064419 w 1488282"/>
                    <a:gd name="connsiteY35" fmla="*/ 1628776 h 2544762"/>
                    <a:gd name="connsiteX36" fmla="*/ 1143000 w 1488282"/>
                    <a:gd name="connsiteY36" fmla="*/ 1600201 h 2544762"/>
                    <a:gd name="connsiteX37" fmla="*/ 1190626 w 1488282"/>
                    <a:gd name="connsiteY37" fmla="*/ 1678782 h 2544762"/>
                    <a:gd name="connsiteX38" fmla="*/ 1221582 w 1488282"/>
                    <a:gd name="connsiteY38" fmla="*/ 1743074 h 2544762"/>
                    <a:gd name="connsiteX39" fmla="*/ 1276351 w 1488282"/>
                    <a:gd name="connsiteY39" fmla="*/ 1724026 h 2544762"/>
                    <a:gd name="connsiteX40" fmla="*/ 1328738 w 1488282"/>
                    <a:gd name="connsiteY40" fmla="*/ 1723231 h 2544762"/>
                    <a:gd name="connsiteX41" fmla="*/ 1293019 w 1488282"/>
                    <a:gd name="connsiteY41" fmla="*/ 1531144 h 2544762"/>
                    <a:gd name="connsiteX42" fmla="*/ 1345407 w 1488282"/>
                    <a:gd name="connsiteY42" fmla="*/ 1443038 h 2544762"/>
                    <a:gd name="connsiteX43" fmla="*/ 1316832 w 1488282"/>
                    <a:gd name="connsiteY43" fmla="*/ 1388270 h 2544762"/>
                    <a:gd name="connsiteX44" fmla="*/ 1371600 w 1488282"/>
                    <a:gd name="connsiteY44" fmla="*/ 1381125 h 2544762"/>
                    <a:gd name="connsiteX45" fmla="*/ 1423988 w 1488282"/>
                    <a:gd name="connsiteY45" fmla="*/ 1302545 h 2544762"/>
                    <a:gd name="connsiteX46" fmla="*/ 1414463 w 1488282"/>
                    <a:gd name="connsiteY46" fmla="*/ 1254920 h 2544762"/>
                    <a:gd name="connsiteX47" fmla="*/ 1450976 w 1488282"/>
                    <a:gd name="connsiteY47" fmla="*/ 1246187 h 2544762"/>
                    <a:gd name="connsiteX48" fmla="*/ 1488282 w 1488282"/>
                    <a:gd name="connsiteY48" fmla="*/ 1190625 h 2544762"/>
                    <a:gd name="connsiteX49" fmla="*/ 1433513 w 1488282"/>
                    <a:gd name="connsiteY49" fmla="*/ 1007269 h 2544762"/>
                    <a:gd name="connsiteX50" fmla="*/ 1388270 w 1488282"/>
                    <a:gd name="connsiteY50" fmla="*/ 878682 h 2544762"/>
                    <a:gd name="connsiteX51" fmla="*/ 1421607 w 1488282"/>
                    <a:gd name="connsiteY51" fmla="*/ 804863 h 2544762"/>
                    <a:gd name="connsiteX52" fmla="*/ 1371601 w 1488282"/>
                    <a:gd name="connsiteY52" fmla="*/ 664370 h 2544762"/>
                    <a:gd name="connsiteX53" fmla="*/ 1312069 w 1488282"/>
                    <a:gd name="connsiteY53" fmla="*/ 604838 h 2544762"/>
                    <a:gd name="connsiteX54" fmla="*/ 1309688 w 1488282"/>
                    <a:gd name="connsiteY54" fmla="*/ 523876 h 2544762"/>
                    <a:gd name="connsiteX55" fmla="*/ 1290639 w 1488282"/>
                    <a:gd name="connsiteY55" fmla="*/ 445295 h 2544762"/>
                    <a:gd name="connsiteX56" fmla="*/ 1311275 w 1488282"/>
                    <a:gd name="connsiteY56" fmla="*/ 324644 h 2544762"/>
                    <a:gd name="connsiteX57" fmla="*/ 1159669 w 1488282"/>
                    <a:gd name="connsiteY57" fmla="*/ 0 h 2544762"/>
                    <a:gd name="connsiteX58" fmla="*/ 1073944 w 1488282"/>
                    <a:gd name="connsiteY58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0 w 1488282"/>
                    <a:gd name="connsiteY7" fmla="*/ 185739 h 2544762"/>
                    <a:gd name="connsiteX8" fmla="*/ 483395 w 1488282"/>
                    <a:gd name="connsiteY8" fmla="*/ 1045369 h 2544762"/>
                    <a:gd name="connsiteX9" fmla="*/ 435769 w 1488282"/>
                    <a:gd name="connsiteY9" fmla="*/ 1023938 h 2544762"/>
                    <a:gd name="connsiteX10" fmla="*/ 407194 w 1488282"/>
                    <a:gd name="connsiteY10" fmla="*/ 1090613 h 2544762"/>
                    <a:gd name="connsiteX11" fmla="*/ 218281 w 1488282"/>
                    <a:gd name="connsiteY11" fmla="*/ 1068387 h 2544762"/>
                    <a:gd name="connsiteX12" fmla="*/ 176213 w 1488282"/>
                    <a:gd name="connsiteY12" fmla="*/ 1083470 h 2544762"/>
                    <a:gd name="connsiteX13" fmla="*/ 185738 w 1488282"/>
                    <a:gd name="connsiteY13" fmla="*/ 1140620 h 2544762"/>
                    <a:gd name="connsiteX14" fmla="*/ 147638 w 1488282"/>
                    <a:gd name="connsiteY14" fmla="*/ 1188244 h 2544762"/>
                    <a:gd name="connsiteX15" fmla="*/ 147638 w 1488282"/>
                    <a:gd name="connsiteY15" fmla="*/ 1328738 h 2544762"/>
                    <a:gd name="connsiteX16" fmla="*/ 173832 w 1488282"/>
                    <a:gd name="connsiteY16" fmla="*/ 1432718 h 2544762"/>
                    <a:gd name="connsiteX17" fmla="*/ 304800 w 1488282"/>
                    <a:gd name="connsiteY17" fmla="*/ 1795464 h 2544762"/>
                    <a:gd name="connsiteX18" fmla="*/ 309563 w 1488282"/>
                    <a:gd name="connsiteY18" fmla="*/ 1971675 h 2544762"/>
                    <a:gd name="connsiteX19" fmla="*/ 254794 w 1488282"/>
                    <a:gd name="connsiteY19" fmla="*/ 2064545 h 2544762"/>
                    <a:gd name="connsiteX20" fmla="*/ 270669 w 1488282"/>
                    <a:gd name="connsiteY20" fmla="*/ 2228056 h 2544762"/>
                    <a:gd name="connsiteX21" fmla="*/ 385763 w 1488282"/>
                    <a:gd name="connsiteY21" fmla="*/ 2422524 h 2544762"/>
                    <a:gd name="connsiteX22" fmla="*/ 565944 w 1488282"/>
                    <a:gd name="connsiteY22" fmla="*/ 2544762 h 2544762"/>
                    <a:gd name="connsiteX23" fmla="*/ 728662 w 1488282"/>
                    <a:gd name="connsiteY23" fmla="*/ 2409825 h 2544762"/>
                    <a:gd name="connsiteX24" fmla="*/ 733425 w 1488282"/>
                    <a:gd name="connsiteY24" fmla="*/ 2336007 h 2544762"/>
                    <a:gd name="connsiteX25" fmla="*/ 797720 w 1488282"/>
                    <a:gd name="connsiteY25" fmla="*/ 2300288 h 2544762"/>
                    <a:gd name="connsiteX26" fmla="*/ 800100 w 1488282"/>
                    <a:gd name="connsiteY26" fmla="*/ 2183607 h 2544762"/>
                    <a:gd name="connsiteX27" fmla="*/ 757237 w 1488282"/>
                    <a:gd name="connsiteY27" fmla="*/ 2169320 h 2544762"/>
                    <a:gd name="connsiteX28" fmla="*/ 678657 w 1488282"/>
                    <a:gd name="connsiteY28" fmla="*/ 2014538 h 2544762"/>
                    <a:gd name="connsiteX29" fmla="*/ 621507 w 1488282"/>
                    <a:gd name="connsiteY29" fmla="*/ 1704975 h 2544762"/>
                    <a:gd name="connsiteX30" fmla="*/ 533401 w 1488282"/>
                    <a:gd name="connsiteY30" fmla="*/ 1638301 h 2544762"/>
                    <a:gd name="connsiteX31" fmla="*/ 714375 w 1488282"/>
                    <a:gd name="connsiteY31" fmla="*/ 1628775 h 2544762"/>
                    <a:gd name="connsiteX32" fmla="*/ 804863 w 1488282"/>
                    <a:gd name="connsiteY32" fmla="*/ 1540669 h 2544762"/>
                    <a:gd name="connsiteX33" fmla="*/ 1021557 w 1488282"/>
                    <a:gd name="connsiteY33" fmla="*/ 1543050 h 2544762"/>
                    <a:gd name="connsiteX34" fmla="*/ 1073944 w 1488282"/>
                    <a:gd name="connsiteY34" fmla="*/ 1590676 h 2544762"/>
                    <a:gd name="connsiteX35" fmla="*/ 1064419 w 1488282"/>
                    <a:gd name="connsiteY35" fmla="*/ 1628776 h 2544762"/>
                    <a:gd name="connsiteX36" fmla="*/ 1143000 w 1488282"/>
                    <a:gd name="connsiteY36" fmla="*/ 1600201 h 2544762"/>
                    <a:gd name="connsiteX37" fmla="*/ 1190626 w 1488282"/>
                    <a:gd name="connsiteY37" fmla="*/ 1678782 h 2544762"/>
                    <a:gd name="connsiteX38" fmla="*/ 1221582 w 1488282"/>
                    <a:gd name="connsiteY38" fmla="*/ 1743074 h 2544762"/>
                    <a:gd name="connsiteX39" fmla="*/ 1276351 w 1488282"/>
                    <a:gd name="connsiteY39" fmla="*/ 1724026 h 2544762"/>
                    <a:gd name="connsiteX40" fmla="*/ 1328738 w 1488282"/>
                    <a:gd name="connsiteY40" fmla="*/ 1723231 h 2544762"/>
                    <a:gd name="connsiteX41" fmla="*/ 1293019 w 1488282"/>
                    <a:gd name="connsiteY41" fmla="*/ 1531144 h 2544762"/>
                    <a:gd name="connsiteX42" fmla="*/ 1345407 w 1488282"/>
                    <a:gd name="connsiteY42" fmla="*/ 1443038 h 2544762"/>
                    <a:gd name="connsiteX43" fmla="*/ 1316832 w 1488282"/>
                    <a:gd name="connsiteY43" fmla="*/ 1388270 h 2544762"/>
                    <a:gd name="connsiteX44" fmla="*/ 1371600 w 1488282"/>
                    <a:gd name="connsiteY44" fmla="*/ 1381125 h 2544762"/>
                    <a:gd name="connsiteX45" fmla="*/ 1423988 w 1488282"/>
                    <a:gd name="connsiteY45" fmla="*/ 1302545 h 2544762"/>
                    <a:gd name="connsiteX46" fmla="*/ 1414463 w 1488282"/>
                    <a:gd name="connsiteY46" fmla="*/ 1254920 h 2544762"/>
                    <a:gd name="connsiteX47" fmla="*/ 1450976 w 1488282"/>
                    <a:gd name="connsiteY47" fmla="*/ 1246187 h 2544762"/>
                    <a:gd name="connsiteX48" fmla="*/ 1488282 w 1488282"/>
                    <a:gd name="connsiteY48" fmla="*/ 1190625 h 2544762"/>
                    <a:gd name="connsiteX49" fmla="*/ 1433513 w 1488282"/>
                    <a:gd name="connsiteY49" fmla="*/ 1007269 h 2544762"/>
                    <a:gd name="connsiteX50" fmla="*/ 1388270 w 1488282"/>
                    <a:gd name="connsiteY50" fmla="*/ 878682 h 2544762"/>
                    <a:gd name="connsiteX51" fmla="*/ 1421607 w 1488282"/>
                    <a:gd name="connsiteY51" fmla="*/ 804863 h 2544762"/>
                    <a:gd name="connsiteX52" fmla="*/ 1371601 w 1488282"/>
                    <a:gd name="connsiteY52" fmla="*/ 664370 h 2544762"/>
                    <a:gd name="connsiteX53" fmla="*/ 1312069 w 1488282"/>
                    <a:gd name="connsiteY53" fmla="*/ 604838 h 2544762"/>
                    <a:gd name="connsiteX54" fmla="*/ 1309688 w 1488282"/>
                    <a:gd name="connsiteY54" fmla="*/ 523876 h 2544762"/>
                    <a:gd name="connsiteX55" fmla="*/ 1290639 w 1488282"/>
                    <a:gd name="connsiteY55" fmla="*/ 445295 h 2544762"/>
                    <a:gd name="connsiteX56" fmla="*/ 1311275 w 1488282"/>
                    <a:gd name="connsiteY56" fmla="*/ 324644 h 2544762"/>
                    <a:gd name="connsiteX57" fmla="*/ 1159669 w 1488282"/>
                    <a:gd name="connsiteY57" fmla="*/ 0 h 2544762"/>
                    <a:gd name="connsiteX58" fmla="*/ 1073944 w 1488282"/>
                    <a:gd name="connsiteY58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457200 w 1488282"/>
                    <a:gd name="connsiteY7" fmla="*/ 295276 h 2544762"/>
                    <a:gd name="connsiteX8" fmla="*/ 0 w 1488282"/>
                    <a:gd name="connsiteY8" fmla="*/ 185739 h 2544762"/>
                    <a:gd name="connsiteX9" fmla="*/ 483395 w 1488282"/>
                    <a:gd name="connsiteY9" fmla="*/ 1045369 h 2544762"/>
                    <a:gd name="connsiteX10" fmla="*/ 435769 w 1488282"/>
                    <a:gd name="connsiteY10" fmla="*/ 1023938 h 2544762"/>
                    <a:gd name="connsiteX11" fmla="*/ 407194 w 1488282"/>
                    <a:gd name="connsiteY11" fmla="*/ 1090613 h 2544762"/>
                    <a:gd name="connsiteX12" fmla="*/ 218281 w 1488282"/>
                    <a:gd name="connsiteY12" fmla="*/ 1068387 h 2544762"/>
                    <a:gd name="connsiteX13" fmla="*/ 176213 w 1488282"/>
                    <a:gd name="connsiteY13" fmla="*/ 1083470 h 2544762"/>
                    <a:gd name="connsiteX14" fmla="*/ 185738 w 1488282"/>
                    <a:gd name="connsiteY14" fmla="*/ 1140620 h 2544762"/>
                    <a:gd name="connsiteX15" fmla="*/ 147638 w 1488282"/>
                    <a:gd name="connsiteY15" fmla="*/ 1188244 h 2544762"/>
                    <a:gd name="connsiteX16" fmla="*/ 147638 w 1488282"/>
                    <a:gd name="connsiteY16" fmla="*/ 1328738 h 2544762"/>
                    <a:gd name="connsiteX17" fmla="*/ 173832 w 1488282"/>
                    <a:gd name="connsiteY17" fmla="*/ 1432718 h 2544762"/>
                    <a:gd name="connsiteX18" fmla="*/ 304800 w 1488282"/>
                    <a:gd name="connsiteY18" fmla="*/ 1795464 h 2544762"/>
                    <a:gd name="connsiteX19" fmla="*/ 309563 w 1488282"/>
                    <a:gd name="connsiteY19" fmla="*/ 1971675 h 2544762"/>
                    <a:gd name="connsiteX20" fmla="*/ 254794 w 1488282"/>
                    <a:gd name="connsiteY20" fmla="*/ 2064545 h 2544762"/>
                    <a:gd name="connsiteX21" fmla="*/ 270669 w 1488282"/>
                    <a:gd name="connsiteY21" fmla="*/ 2228056 h 2544762"/>
                    <a:gd name="connsiteX22" fmla="*/ 385763 w 1488282"/>
                    <a:gd name="connsiteY22" fmla="*/ 2422524 h 2544762"/>
                    <a:gd name="connsiteX23" fmla="*/ 565944 w 1488282"/>
                    <a:gd name="connsiteY23" fmla="*/ 2544762 h 2544762"/>
                    <a:gd name="connsiteX24" fmla="*/ 728662 w 1488282"/>
                    <a:gd name="connsiteY24" fmla="*/ 2409825 h 2544762"/>
                    <a:gd name="connsiteX25" fmla="*/ 733425 w 1488282"/>
                    <a:gd name="connsiteY25" fmla="*/ 2336007 h 2544762"/>
                    <a:gd name="connsiteX26" fmla="*/ 797720 w 1488282"/>
                    <a:gd name="connsiteY26" fmla="*/ 2300288 h 2544762"/>
                    <a:gd name="connsiteX27" fmla="*/ 800100 w 1488282"/>
                    <a:gd name="connsiteY27" fmla="*/ 2183607 h 2544762"/>
                    <a:gd name="connsiteX28" fmla="*/ 757237 w 1488282"/>
                    <a:gd name="connsiteY28" fmla="*/ 2169320 h 2544762"/>
                    <a:gd name="connsiteX29" fmla="*/ 678657 w 1488282"/>
                    <a:gd name="connsiteY29" fmla="*/ 2014538 h 2544762"/>
                    <a:gd name="connsiteX30" fmla="*/ 621507 w 1488282"/>
                    <a:gd name="connsiteY30" fmla="*/ 1704975 h 2544762"/>
                    <a:gd name="connsiteX31" fmla="*/ 533401 w 1488282"/>
                    <a:gd name="connsiteY31" fmla="*/ 1638301 h 2544762"/>
                    <a:gd name="connsiteX32" fmla="*/ 714375 w 1488282"/>
                    <a:gd name="connsiteY32" fmla="*/ 1628775 h 2544762"/>
                    <a:gd name="connsiteX33" fmla="*/ 804863 w 1488282"/>
                    <a:gd name="connsiteY33" fmla="*/ 1540669 h 2544762"/>
                    <a:gd name="connsiteX34" fmla="*/ 1021557 w 1488282"/>
                    <a:gd name="connsiteY34" fmla="*/ 1543050 h 2544762"/>
                    <a:gd name="connsiteX35" fmla="*/ 1073944 w 1488282"/>
                    <a:gd name="connsiteY35" fmla="*/ 1590676 h 2544762"/>
                    <a:gd name="connsiteX36" fmla="*/ 1064419 w 1488282"/>
                    <a:gd name="connsiteY36" fmla="*/ 1628776 h 2544762"/>
                    <a:gd name="connsiteX37" fmla="*/ 1143000 w 1488282"/>
                    <a:gd name="connsiteY37" fmla="*/ 1600201 h 2544762"/>
                    <a:gd name="connsiteX38" fmla="*/ 1190626 w 1488282"/>
                    <a:gd name="connsiteY38" fmla="*/ 1678782 h 2544762"/>
                    <a:gd name="connsiteX39" fmla="*/ 1221582 w 1488282"/>
                    <a:gd name="connsiteY39" fmla="*/ 1743074 h 2544762"/>
                    <a:gd name="connsiteX40" fmla="*/ 1276351 w 1488282"/>
                    <a:gd name="connsiteY40" fmla="*/ 1724026 h 2544762"/>
                    <a:gd name="connsiteX41" fmla="*/ 1328738 w 1488282"/>
                    <a:gd name="connsiteY41" fmla="*/ 1723231 h 2544762"/>
                    <a:gd name="connsiteX42" fmla="*/ 1293019 w 1488282"/>
                    <a:gd name="connsiteY42" fmla="*/ 1531144 h 2544762"/>
                    <a:gd name="connsiteX43" fmla="*/ 1345407 w 1488282"/>
                    <a:gd name="connsiteY43" fmla="*/ 1443038 h 2544762"/>
                    <a:gd name="connsiteX44" fmla="*/ 1316832 w 1488282"/>
                    <a:gd name="connsiteY44" fmla="*/ 1388270 h 2544762"/>
                    <a:gd name="connsiteX45" fmla="*/ 1371600 w 1488282"/>
                    <a:gd name="connsiteY45" fmla="*/ 1381125 h 2544762"/>
                    <a:gd name="connsiteX46" fmla="*/ 1423988 w 1488282"/>
                    <a:gd name="connsiteY46" fmla="*/ 1302545 h 2544762"/>
                    <a:gd name="connsiteX47" fmla="*/ 1414463 w 1488282"/>
                    <a:gd name="connsiteY47" fmla="*/ 1254920 h 2544762"/>
                    <a:gd name="connsiteX48" fmla="*/ 1450976 w 1488282"/>
                    <a:gd name="connsiteY48" fmla="*/ 1246187 h 2544762"/>
                    <a:gd name="connsiteX49" fmla="*/ 1488282 w 1488282"/>
                    <a:gd name="connsiteY49" fmla="*/ 1190625 h 2544762"/>
                    <a:gd name="connsiteX50" fmla="*/ 1433513 w 1488282"/>
                    <a:gd name="connsiteY50" fmla="*/ 1007269 h 2544762"/>
                    <a:gd name="connsiteX51" fmla="*/ 1388270 w 1488282"/>
                    <a:gd name="connsiteY51" fmla="*/ 878682 h 2544762"/>
                    <a:gd name="connsiteX52" fmla="*/ 1421607 w 1488282"/>
                    <a:gd name="connsiteY52" fmla="*/ 804863 h 2544762"/>
                    <a:gd name="connsiteX53" fmla="*/ 1371601 w 1488282"/>
                    <a:gd name="connsiteY53" fmla="*/ 664370 h 2544762"/>
                    <a:gd name="connsiteX54" fmla="*/ 1312069 w 1488282"/>
                    <a:gd name="connsiteY54" fmla="*/ 604838 h 2544762"/>
                    <a:gd name="connsiteX55" fmla="*/ 1309688 w 1488282"/>
                    <a:gd name="connsiteY55" fmla="*/ 523876 h 2544762"/>
                    <a:gd name="connsiteX56" fmla="*/ 1290639 w 1488282"/>
                    <a:gd name="connsiteY56" fmla="*/ 445295 h 2544762"/>
                    <a:gd name="connsiteX57" fmla="*/ 1311275 w 1488282"/>
                    <a:gd name="connsiteY57" fmla="*/ 324644 h 2544762"/>
                    <a:gd name="connsiteX58" fmla="*/ 1159669 w 1488282"/>
                    <a:gd name="connsiteY58" fmla="*/ 0 h 2544762"/>
                    <a:gd name="connsiteX59" fmla="*/ 1073944 w 1488282"/>
                    <a:gd name="connsiteY59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0 w 1488282"/>
                    <a:gd name="connsiteY8" fmla="*/ 185739 h 2544762"/>
                    <a:gd name="connsiteX9" fmla="*/ 483395 w 1488282"/>
                    <a:gd name="connsiteY9" fmla="*/ 1045369 h 2544762"/>
                    <a:gd name="connsiteX10" fmla="*/ 435769 w 1488282"/>
                    <a:gd name="connsiteY10" fmla="*/ 1023938 h 2544762"/>
                    <a:gd name="connsiteX11" fmla="*/ 407194 w 1488282"/>
                    <a:gd name="connsiteY11" fmla="*/ 1090613 h 2544762"/>
                    <a:gd name="connsiteX12" fmla="*/ 218281 w 1488282"/>
                    <a:gd name="connsiteY12" fmla="*/ 1068387 h 2544762"/>
                    <a:gd name="connsiteX13" fmla="*/ 176213 w 1488282"/>
                    <a:gd name="connsiteY13" fmla="*/ 1083470 h 2544762"/>
                    <a:gd name="connsiteX14" fmla="*/ 185738 w 1488282"/>
                    <a:gd name="connsiteY14" fmla="*/ 1140620 h 2544762"/>
                    <a:gd name="connsiteX15" fmla="*/ 147638 w 1488282"/>
                    <a:gd name="connsiteY15" fmla="*/ 1188244 h 2544762"/>
                    <a:gd name="connsiteX16" fmla="*/ 147638 w 1488282"/>
                    <a:gd name="connsiteY16" fmla="*/ 1328738 h 2544762"/>
                    <a:gd name="connsiteX17" fmla="*/ 173832 w 1488282"/>
                    <a:gd name="connsiteY17" fmla="*/ 1432718 h 2544762"/>
                    <a:gd name="connsiteX18" fmla="*/ 304800 w 1488282"/>
                    <a:gd name="connsiteY18" fmla="*/ 1795464 h 2544762"/>
                    <a:gd name="connsiteX19" fmla="*/ 309563 w 1488282"/>
                    <a:gd name="connsiteY19" fmla="*/ 1971675 h 2544762"/>
                    <a:gd name="connsiteX20" fmla="*/ 254794 w 1488282"/>
                    <a:gd name="connsiteY20" fmla="*/ 2064545 h 2544762"/>
                    <a:gd name="connsiteX21" fmla="*/ 270669 w 1488282"/>
                    <a:gd name="connsiteY21" fmla="*/ 2228056 h 2544762"/>
                    <a:gd name="connsiteX22" fmla="*/ 385763 w 1488282"/>
                    <a:gd name="connsiteY22" fmla="*/ 2422524 h 2544762"/>
                    <a:gd name="connsiteX23" fmla="*/ 565944 w 1488282"/>
                    <a:gd name="connsiteY23" fmla="*/ 2544762 h 2544762"/>
                    <a:gd name="connsiteX24" fmla="*/ 728662 w 1488282"/>
                    <a:gd name="connsiteY24" fmla="*/ 2409825 h 2544762"/>
                    <a:gd name="connsiteX25" fmla="*/ 733425 w 1488282"/>
                    <a:gd name="connsiteY25" fmla="*/ 2336007 h 2544762"/>
                    <a:gd name="connsiteX26" fmla="*/ 797720 w 1488282"/>
                    <a:gd name="connsiteY26" fmla="*/ 2300288 h 2544762"/>
                    <a:gd name="connsiteX27" fmla="*/ 800100 w 1488282"/>
                    <a:gd name="connsiteY27" fmla="*/ 2183607 h 2544762"/>
                    <a:gd name="connsiteX28" fmla="*/ 757237 w 1488282"/>
                    <a:gd name="connsiteY28" fmla="*/ 2169320 h 2544762"/>
                    <a:gd name="connsiteX29" fmla="*/ 678657 w 1488282"/>
                    <a:gd name="connsiteY29" fmla="*/ 2014538 h 2544762"/>
                    <a:gd name="connsiteX30" fmla="*/ 621507 w 1488282"/>
                    <a:gd name="connsiteY30" fmla="*/ 1704975 h 2544762"/>
                    <a:gd name="connsiteX31" fmla="*/ 533401 w 1488282"/>
                    <a:gd name="connsiteY31" fmla="*/ 1638301 h 2544762"/>
                    <a:gd name="connsiteX32" fmla="*/ 714375 w 1488282"/>
                    <a:gd name="connsiteY32" fmla="*/ 1628775 h 2544762"/>
                    <a:gd name="connsiteX33" fmla="*/ 804863 w 1488282"/>
                    <a:gd name="connsiteY33" fmla="*/ 1540669 h 2544762"/>
                    <a:gd name="connsiteX34" fmla="*/ 1021557 w 1488282"/>
                    <a:gd name="connsiteY34" fmla="*/ 1543050 h 2544762"/>
                    <a:gd name="connsiteX35" fmla="*/ 1073944 w 1488282"/>
                    <a:gd name="connsiteY35" fmla="*/ 1590676 h 2544762"/>
                    <a:gd name="connsiteX36" fmla="*/ 1064419 w 1488282"/>
                    <a:gd name="connsiteY36" fmla="*/ 1628776 h 2544762"/>
                    <a:gd name="connsiteX37" fmla="*/ 1143000 w 1488282"/>
                    <a:gd name="connsiteY37" fmla="*/ 1600201 h 2544762"/>
                    <a:gd name="connsiteX38" fmla="*/ 1190626 w 1488282"/>
                    <a:gd name="connsiteY38" fmla="*/ 1678782 h 2544762"/>
                    <a:gd name="connsiteX39" fmla="*/ 1221582 w 1488282"/>
                    <a:gd name="connsiteY39" fmla="*/ 1743074 h 2544762"/>
                    <a:gd name="connsiteX40" fmla="*/ 1276351 w 1488282"/>
                    <a:gd name="connsiteY40" fmla="*/ 1724026 h 2544762"/>
                    <a:gd name="connsiteX41" fmla="*/ 1328738 w 1488282"/>
                    <a:gd name="connsiteY41" fmla="*/ 1723231 h 2544762"/>
                    <a:gd name="connsiteX42" fmla="*/ 1293019 w 1488282"/>
                    <a:gd name="connsiteY42" fmla="*/ 1531144 h 2544762"/>
                    <a:gd name="connsiteX43" fmla="*/ 1345407 w 1488282"/>
                    <a:gd name="connsiteY43" fmla="*/ 1443038 h 2544762"/>
                    <a:gd name="connsiteX44" fmla="*/ 1316832 w 1488282"/>
                    <a:gd name="connsiteY44" fmla="*/ 1388270 h 2544762"/>
                    <a:gd name="connsiteX45" fmla="*/ 1371600 w 1488282"/>
                    <a:gd name="connsiteY45" fmla="*/ 1381125 h 2544762"/>
                    <a:gd name="connsiteX46" fmla="*/ 1423988 w 1488282"/>
                    <a:gd name="connsiteY46" fmla="*/ 1302545 h 2544762"/>
                    <a:gd name="connsiteX47" fmla="*/ 1414463 w 1488282"/>
                    <a:gd name="connsiteY47" fmla="*/ 1254920 h 2544762"/>
                    <a:gd name="connsiteX48" fmla="*/ 1450976 w 1488282"/>
                    <a:gd name="connsiteY48" fmla="*/ 1246187 h 2544762"/>
                    <a:gd name="connsiteX49" fmla="*/ 1488282 w 1488282"/>
                    <a:gd name="connsiteY49" fmla="*/ 1190625 h 2544762"/>
                    <a:gd name="connsiteX50" fmla="*/ 1433513 w 1488282"/>
                    <a:gd name="connsiteY50" fmla="*/ 1007269 h 2544762"/>
                    <a:gd name="connsiteX51" fmla="*/ 1388270 w 1488282"/>
                    <a:gd name="connsiteY51" fmla="*/ 878682 h 2544762"/>
                    <a:gd name="connsiteX52" fmla="*/ 1421607 w 1488282"/>
                    <a:gd name="connsiteY52" fmla="*/ 804863 h 2544762"/>
                    <a:gd name="connsiteX53" fmla="*/ 1371601 w 1488282"/>
                    <a:gd name="connsiteY53" fmla="*/ 664370 h 2544762"/>
                    <a:gd name="connsiteX54" fmla="*/ 1312069 w 1488282"/>
                    <a:gd name="connsiteY54" fmla="*/ 604838 h 2544762"/>
                    <a:gd name="connsiteX55" fmla="*/ 1309688 w 1488282"/>
                    <a:gd name="connsiteY55" fmla="*/ 523876 h 2544762"/>
                    <a:gd name="connsiteX56" fmla="*/ 1290639 w 1488282"/>
                    <a:gd name="connsiteY56" fmla="*/ 445295 h 2544762"/>
                    <a:gd name="connsiteX57" fmla="*/ 1311275 w 1488282"/>
                    <a:gd name="connsiteY57" fmla="*/ 324644 h 2544762"/>
                    <a:gd name="connsiteX58" fmla="*/ 1159669 w 1488282"/>
                    <a:gd name="connsiteY58" fmla="*/ 0 h 2544762"/>
                    <a:gd name="connsiteX59" fmla="*/ 1073944 w 1488282"/>
                    <a:gd name="connsiteY59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354807 w 1488282"/>
                    <a:gd name="connsiteY8" fmla="*/ 311944 h 2544762"/>
                    <a:gd name="connsiteX9" fmla="*/ 0 w 1488282"/>
                    <a:gd name="connsiteY9" fmla="*/ 185739 h 2544762"/>
                    <a:gd name="connsiteX10" fmla="*/ 483395 w 1488282"/>
                    <a:gd name="connsiteY10" fmla="*/ 1045369 h 2544762"/>
                    <a:gd name="connsiteX11" fmla="*/ 435769 w 1488282"/>
                    <a:gd name="connsiteY11" fmla="*/ 1023938 h 2544762"/>
                    <a:gd name="connsiteX12" fmla="*/ 407194 w 1488282"/>
                    <a:gd name="connsiteY12" fmla="*/ 1090613 h 2544762"/>
                    <a:gd name="connsiteX13" fmla="*/ 218281 w 1488282"/>
                    <a:gd name="connsiteY13" fmla="*/ 1068387 h 2544762"/>
                    <a:gd name="connsiteX14" fmla="*/ 176213 w 1488282"/>
                    <a:gd name="connsiteY14" fmla="*/ 1083470 h 2544762"/>
                    <a:gd name="connsiteX15" fmla="*/ 185738 w 1488282"/>
                    <a:gd name="connsiteY15" fmla="*/ 1140620 h 2544762"/>
                    <a:gd name="connsiteX16" fmla="*/ 147638 w 1488282"/>
                    <a:gd name="connsiteY16" fmla="*/ 1188244 h 2544762"/>
                    <a:gd name="connsiteX17" fmla="*/ 147638 w 1488282"/>
                    <a:gd name="connsiteY17" fmla="*/ 1328738 h 2544762"/>
                    <a:gd name="connsiteX18" fmla="*/ 173832 w 1488282"/>
                    <a:gd name="connsiteY18" fmla="*/ 1432718 h 2544762"/>
                    <a:gd name="connsiteX19" fmla="*/ 304800 w 1488282"/>
                    <a:gd name="connsiteY19" fmla="*/ 1795464 h 2544762"/>
                    <a:gd name="connsiteX20" fmla="*/ 309563 w 1488282"/>
                    <a:gd name="connsiteY20" fmla="*/ 1971675 h 2544762"/>
                    <a:gd name="connsiteX21" fmla="*/ 254794 w 1488282"/>
                    <a:gd name="connsiteY21" fmla="*/ 2064545 h 2544762"/>
                    <a:gd name="connsiteX22" fmla="*/ 270669 w 1488282"/>
                    <a:gd name="connsiteY22" fmla="*/ 2228056 h 2544762"/>
                    <a:gd name="connsiteX23" fmla="*/ 385763 w 1488282"/>
                    <a:gd name="connsiteY23" fmla="*/ 2422524 h 2544762"/>
                    <a:gd name="connsiteX24" fmla="*/ 565944 w 1488282"/>
                    <a:gd name="connsiteY24" fmla="*/ 2544762 h 2544762"/>
                    <a:gd name="connsiteX25" fmla="*/ 728662 w 1488282"/>
                    <a:gd name="connsiteY25" fmla="*/ 2409825 h 2544762"/>
                    <a:gd name="connsiteX26" fmla="*/ 733425 w 1488282"/>
                    <a:gd name="connsiteY26" fmla="*/ 2336007 h 2544762"/>
                    <a:gd name="connsiteX27" fmla="*/ 797720 w 1488282"/>
                    <a:gd name="connsiteY27" fmla="*/ 2300288 h 2544762"/>
                    <a:gd name="connsiteX28" fmla="*/ 800100 w 1488282"/>
                    <a:gd name="connsiteY28" fmla="*/ 2183607 h 2544762"/>
                    <a:gd name="connsiteX29" fmla="*/ 757237 w 1488282"/>
                    <a:gd name="connsiteY29" fmla="*/ 2169320 h 2544762"/>
                    <a:gd name="connsiteX30" fmla="*/ 678657 w 1488282"/>
                    <a:gd name="connsiteY30" fmla="*/ 2014538 h 2544762"/>
                    <a:gd name="connsiteX31" fmla="*/ 621507 w 1488282"/>
                    <a:gd name="connsiteY31" fmla="*/ 1704975 h 2544762"/>
                    <a:gd name="connsiteX32" fmla="*/ 533401 w 1488282"/>
                    <a:gd name="connsiteY32" fmla="*/ 1638301 h 2544762"/>
                    <a:gd name="connsiteX33" fmla="*/ 714375 w 1488282"/>
                    <a:gd name="connsiteY33" fmla="*/ 1628775 h 2544762"/>
                    <a:gd name="connsiteX34" fmla="*/ 804863 w 1488282"/>
                    <a:gd name="connsiteY34" fmla="*/ 1540669 h 2544762"/>
                    <a:gd name="connsiteX35" fmla="*/ 1021557 w 1488282"/>
                    <a:gd name="connsiteY35" fmla="*/ 1543050 h 2544762"/>
                    <a:gd name="connsiteX36" fmla="*/ 1073944 w 1488282"/>
                    <a:gd name="connsiteY36" fmla="*/ 1590676 h 2544762"/>
                    <a:gd name="connsiteX37" fmla="*/ 1064419 w 1488282"/>
                    <a:gd name="connsiteY37" fmla="*/ 1628776 h 2544762"/>
                    <a:gd name="connsiteX38" fmla="*/ 1143000 w 1488282"/>
                    <a:gd name="connsiteY38" fmla="*/ 1600201 h 2544762"/>
                    <a:gd name="connsiteX39" fmla="*/ 1190626 w 1488282"/>
                    <a:gd name="connsiteY39" fmla="*/ 1678782 h 2544762"/>
                    <a:gd name="connsiteX40" fmla="*/ 1221582 w 1488282"/>
                    <a:gd name="connsiteY40" fmla="*/ 1743074 h 2544762"/>
                    <a:gd name="connsiteX41" fmla="*/ 1276351 w 1488282"/>
                    <a:gd name="connsiteY41" fmla="*/ 1724026 h 2544762"/>
                    <a:gd name="connsiteX42" fmla="*/ 1328738 w 1488282"/>
                    <a:gd name="connsiteY42" fmla="*/ 1723231 h 2544762"/>
                    <a:gd name="connsiteX43" fmla="*/ 1293019 w 1488282"/>
                    <a:gd name="connsiteY43" fmla="*/ 1531144 h 2544762"/>
                    <a:gd name="connsiteX44" fmla="*/ 1345407 w 1488282"/>
                    <a:gd name="connsiteY44" fmla="*/ 1443038 h 2544762"/>
                    <a:gd name="connsiteX45" fmla="*/ 1316832 w 1488282"/>
                    <a:gd name="connsiteY45" fmla="*/ 1388270 h 2544762"/>
                    <a:gd name="connsiteX46" fmla="*/ 1371600 w 1488282"/>
                    <a:gd name="connsiteY46" fmla="*/ 1381125 h 2544762"/>
                    <a:gd name="connsiteX47" fmla="*/ 1423988 w 1488282"/>
                    <a:gd name="connsiteY47" fmla="*/ 1302545 h 2544762"/>
                    <a:gd name="connsiteX48" fmla="*/ 1414463 w 1488282"/>
                    <a:gd name="connsiteY48" fmla="*/ 1254920 h 2544762"/>
                    <a:gd name="connsiteX49" fmla="*/ 1450976 w 1488282"/>
                    <a:gd name="connsiteY49" fmla="*/ 1246187 h 2544762"/>
                    <a:gd name="connsiteX50" fmla="*/ 1488282 w 1488282"/>
                    <a:gd name="connsiteY50" fmla="*/ 1190625 h 2544762"/>
                    <a:gd name="connsiteX51" fmla="*/ 1433513 w 1488282"/>
                    <a:gd name="connsiteY51" fmla="*/ 1007269 h 2544762"/>
                    <a:gd name="connsiteX52" fmla="*/ 1388270 w 1488282"/>
                    <a:gd name="connsiteY52" fmla="*/ 878682 h 2544762"/>
                    <a:gd name="connsiteX53" fmla="*/ 1421607 w 1488282"/>
                    <a:gd name="connsiteY53" fmla="*/ 804863 h 2544762"/>
                    <a:gd name="connsiteX54" fmla="*/ 1371601 w 1488282"/>
                    <a:gd name="connsiteY54" fmla="*/ 664370 h 2544762"/>
                    <a:gd name="connsiteX55" fmla="*/ 1312069 w 1488282"/>
                    <a:gd name="connsiteY55" fmla="*/ 604838 h 2544762"/>
                    <a:gd name="connsiteX56" fmla="*/ 1309688 w 1488282"/>
                    <a:gd name="connsiteY56" fmla="*/ 523876 h 2544762"/>
                    <a:gd name="connsiteX57" fmla="*/ 1290639 w 1488282"/>
                    <a:gd name="connsiteY57" fmla="*/ 445295 h 2544762"/>
                    <a:gd name="connsiteX58" fmla="*/ 1311275 w 1488282"/>
                    <a:gd name="connsiteY58" fmla="*/ 324644 h 2544762"/>
                    <a:gd name="connsiteX59" fmla="*/ 1159669 w 1488282"/>
                    <a:gd name="connsiteY59" fmla="*/ 0 h 2544762"/>
                    <a:gd name="connsiteX60" fmla="*/ 1073944 w 1488282"/>
                    <a:gd name="connsiteY60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840582 w 1488282"/>
                    <a:gd name="connsiteY8" fmla="*/ 528638 h 2544762"/>
                    <a:gd name="connsiteX9" fmla="*/ 0 w 1488282"/>
                    <a:gd name="connsiteY9" fmla="*/ 185739 h 2544762"/>
                    <a:gd name="connsiteX10" fmla="*/ 483395 w 1488282"/>
                    <a:gd name="connsiteY10" fmla="*/ 1045369 h 2544762"/>
                    <a:gd name="connsiteX11" fmla="*/ 435769 w 1488282"/>
                    <a:gd name="connsiteY11" fmla="*/ 1023938 h 2544762"/>
                    <a:gd name="connsiteX12" fmla="*/ 407194 w 1488282"/>
                    <a:gd name="connsiteY12" fmla="*/ 1090613 h 2544762"/>
                    <a:gd name="connsiteX13" fmla="*/ 218281 w 1488282"/>
                    <a:gd name="connsiteY13" fmla="*/ 1068387 h 2544762"/>
                    <a:gd name="connsiteX14" fmla="*/ 176213 w 1488282"/>
                    <a:gd name="connsiteY14" fmla="*/ 1083470 h 2544762"/>
                    <a:gd name="connsiteX15" fmla="*/ 185738 w 1488282"/>
                    <a:gd name="connsiteY15" fmla="*/ 1140620 h 2544762"/>
                    <a:gd name="connsiteX16" fmla="*/ 147638 w 1488282"/>
                    <a:gd name="connsiteY16" fmla="*/ 1188244 h 2544762"/>
                    <a:gd name="connsiteX17" fmla="*/ 147638 w 1488282"/>
                    <a:gd name="connsiteY17" fmla="*/ 1328738 h 2544762"/>
                    <a:gd name="connsiteX18" fmla="*/ 173832 w 1488282"/>
                    <a:gd name="connsiteY18" fmla="*/ 1432718 h 2544762"/>
                    <a:gd name="connsiteX19" fmla="*/ 304800 w 1488282"/>
                    <a:gd name="connsiteY19" fmla="*/ 1795464 h 2544762"/>
                    <a:gd name="connsiteX20" fmla="*/ 309563 w 1488282"/>
                    <a:gd name="connsiteY20" fmla="*/ 1971675 h 2544762"/>
                    <a:gd name="connsiteX21" fmla="*/ 254794 w 1488282"/>
                    <a:gd name="connsiteY21" fmla="*/ 2064545 h 2544762"/>
                    <a:gd name="connsiteX22" fmla="*/ 270669 w 1488282"/>
                    <a:gd name="connsiteY22" fmla="*/ 2228056 h 2544762"/>
                    <a:gd name="connsiteX23" fmla="*/ 385763 w 1488282"/>
                    <a:gd name="connsiteY23" fmla="*/ 2422524 h 2544762"/>
                    <a:gd name="connsiteX24" fmla="*/ 565944 w 1488282"/>
                    <a:gd name="connsiteY24" fmla="*/ 2544762 h 2544762"/>
                    <a:gd name="connsiteX25" fmla="*/ 728662 w 1488282"/>
                    <a:gd name="connsiteY25" fmla="*/ 2409825 h 2544762"/>
                    <a:gd name="connsiteX26" fmla="*/ 733425 w 1488282"/>
                    <a:gd name="connsiteY26" fmla="*/ 2336007 h 2544762"/>
                    <a:gd name="connsiteX27" fmla="*/ 797720 w 1488282"/>
                    <a:gd name="connsiteY27" fmla="*/ 2300288 h 2544762"/>
                    <a:gd name="connsiteX28" fmla="*/ 800100 w 1488282"/>
                    <a:gd name="connsiteY28" fmla="*/ 2183607 h 2544762"/>
                    <a:gd name="connsiteX29" fmla="*/ 757237 w 1488282"/>
                    <a:gd name="connsiteY29" fmla="*/ 2169320 h 2544762"/>
                    <a:gd name="connsiteX30" fmla="*/ 678657 w 1488282"/>
                    <a:gd name="connsiteY30" fmla="*/ 2014538 h 2544762"/>
                    <a:gd name="connsiteX31" fmla="*/ 621507 w 1488282"/>
                    <a:gd name="connsiteY31" fmla="*/ 1704975 h 2544762"/>
                    <a:gd name="connsiteX32" fmla="*/ 533401 w 1488282"/>
                    <a:gd name="connsiteY32" fmla="*/ 1638301 h 2544762"/>
                    <a:gd name="connsiteX33" fmla="*/ 714375 w 1488282"/>
                    <a:gd name="connsiteY33" fmla="*/ 1628775 h 2544762"/>
                    <a:gd name="connsiteX34" fmla="*/ 804863 w 1488282"/>
                    <a:gd name="connsiteY34" fmla="*/ 1540669 h 2544762"/>
                    <a:gd name="connsiteX35" fmla="*/ 1021557 w 1488282"/>
                    <a:gd name="connsiteY35" fmla="*/ 1543050 h 2544762"/>
                    <a:gd name="connsiteX36" fmla="*/ 1073944 w 1488282"/>
                    <a:gd name="connsiteY36" fmla="*/ 1590676 h 2544762"/>
                    <a:gd name="connsiteX37" fmla="*/ 1064419 w 1488282"/>
                    <a:gd name="connsiteY37" fmla="*/ 1628776 h 2544762"/>
                    <a:gd name="connsiteX38" fmla="*/ 1143000 w 1488282"/>
                    <a:gd name="connsiteY38" fmla="*/ 1600201 h 2544762"/>
                    <a:gd name="connsiteX39" fmla="*/ 1190626 w 1488282"/>
                    <a:gd name="connsiteY39" fmla="*/ 1678782 h 2544762"/>
                    <a:gd name="connsiteX40" fmla="*/ 1221582 w 1488282"/>
                    <a:gd name="connsiteY40" fmla="*/ 1743074 h 2544762"/>
                    <a:gd name="connsiteX41" fmla="*/ 1276351 w 1488282"/>
                    <a:gd name="connsiteY41" fmla="*/ 1724026 h 2544762"/>
                    <a:gd name="connsiteX42" fmla="*/ 1328738 w 1488282"/>
                    <a:gd name="connsiteY42" fmla="*/ 1723231 h 2544762"/>
                    <a:gd name="connsiteX43" fmla="*/ 1293019 w 1488282"/>
                    <a:gd name="connsiteY43" fmla="*/ 1531144 h 2544762"/>
                    <a:gd name="connsiteX44" fmla="*/ 1345407 w 1488282"/>
                    <a:gd name="connsiteY44" fmla="*/ 1443038 h 2544762"/>
                    <a:gd name="connsiteX45" fmla="*/ 1316832 w 1488282"/>
                    <a:gd name="connsiteY45" fmla="*/ 1388270 h 2544762"/>
                    <a:gd name="connsiteX46" fmla="*/ 1371600 w 1488282"/>
                    <a:gd name="connsiteY46" fmla="*/ 1381125 h 2544762"/>
                    <a:gd name="connsiteX47" fmla="*/ 1423988 w 1488282"/>
                    <a:gd name="connsiteY47" fmla="*/ 1302545 h 2544762"/>
                    <a:gd name="connsiteX48" fmla="*/ 1414463 w 1488282"/>
                    <a:gd name="connsiteY48" fmla="*/ 1254920 h 2544762"/>
                    <a:gd name="connsiteX49" fmla="*/ 1450976 w 1488282"/>
                    <a:gd name="connsiteY49" fmla="*/ 1246187 h 2544762"/>
                    <a:gd name="connsiteX50" fmla="*/ 1488282 w 1488282"/>
                    <a:gd name="connsiteY50" fmla="*/ 1190625 h 2544762"/>
                    <a:gd name="connsiteX51" fmla="*/ 1433513 w 1488282"/>
                    <a:gd name="connsiteY51" fmla="*/ 1007269 h 2544762"/>
                    <a:gd name="connsiteX52" fmla="*/ 1388270 w 1488282"/>
                    <a:gd name="connsiteY52" fmla="*/ 878682 h 2544762"/>
                    <a:gd name="connsiteX53" fmla="*/ 1421607 w 1488282"/>
                    <a:gd name="connsiteY53" fmla="*/ 804863 h 2544762"/>
                    <a:gd name="connsiteX54" fmla="*/ 1371601 w 1488282"/>
                    <a:gd name="connsiteY54" fmla="*/ 664370 h 2544762"/>
                    <a:gd name="connsiteX55" fmla="*/ 1312069 w 1488282"/>
                    <a:gd name="connsiteY55" fmla="*/ 604838 h 2544762"/>
                    <a:gd name="connsiteX56" fmla="*/ 1309688 w 1488282"/>
                    <a:gd name="connsiteY56" fmla="*/ 523876 h 2544762"/>
                    <a:gd name="connsiteX57" fmla="*/ 1290639 w 1488282"/>
                    <a:gd name="connsiteY57" fmla="*/ 445295 h 2544762"/>
                    <a:gd name="connsiteX58" fmla="*/ 1311275 w 1488282"/>
                    <a:gd name="connsiteY58" fmla="*/ 324644 h 2544762"/>
                    <a:gd name="connsiteX59" fmla="*/ 1159669 w 1488282"/>
                    <a:gd name="connsiteY59" fmla="*/ 0 h 2544762"/>
                    <a:gd name="connsiteX60" fmla="*/ 1073944 w 1488282"/>
                    <a:gd name="connsiteY60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840582 w 1488282"/>
                    <a:gd name="connsiteY8" fmla="*/ 528638 h 2544762"/>
                    <a:gd name="connsiteX9" fmla="*/ 500063 w 1488282"/>
                    <a:gd name="connsiteY9" fmla="*/ 392907 h 2544762"/>
                    <a:gd name="connsiteX10" fmla="*/ 0 w 1488282"/>
                    <a:gd name="connsiteY10" fmla="*/ 185739 h 2544762"/>
                    <a:gd name="connsiteX11" fmla="*/ 483395 w 1488282"/>
                    <a:gd name="connsiteY11" fmla="*/ 1045369 h 2544762"/>
                    <a:gd name="connsiteX12" fmla="*/ 435769 w 1488282"/>
                    <a:gd name="connsiteY12" fmla="*/ 1023938 h 2544762"/>
                    <a:gd name="connsiteX13" fmla="*/ 407194 w 1488282"/>
                    <a:gd name="connsiteY13" fmla="*/ 1090613 h 2544762"/>
                    <a:gd name="connsiteX14" fmla="*/ 218281 w 1488282"/>
                    <a:gd name="connsiteY14" fmla="*/ 1068387 h 2544762"/>
                    <a:gd name="connsiteX15" fmla="*/ 176213 w 1488282"/>
                    <a:gd name="connsiteY15" fmla="*/ 1083470 h 2544762"/>
                    <a:gd name="connsiteX16" fmla="*/ 185738 w 1488282"/>
                    <a:gd name="connsiteY16" fmla="*/ 1140620 h 2544762"/>
                    <a:gd name="connsiteX17" fmla="*/ 147638 w 1488282"/>
                    <a:gd name="connsiteY17" fmla="*/ 1188244 h 2544762"/>
                    <a:gd name="connsiteX18" fmla="*/ 147638 w 1488282"/>
                    <a:gd name="connsiteY18" fmla="*/ 1328738 h 2544762"/>
                    <a:gd name="connsiteX19" fmla="*/ 173832 w 1488282"/>
                    <a:gd name="connsiteY19" fmla="*/ 1432718 h 2544762"/>
                    <a:gd name="connsiteX20" fmla="*/ 304800 w 1488282"/>
                    <a:gd name="connsiteY20" fmla="*/ 1795464 h 2544762"/>
                    <a:gd name="connsiteX21" fmla="*/ 309563 w 1488282"/>
                    <a:gd name="connsiteY21" fmla="*/ 1971675 h 2544762"/>
                    <a:gd name="connsiteX22" fmla="*/ 254794 w 1488282"/>
                    <a:gd name="connsiteY22" fmla="*/ 2064545 h 2544762"/>
                    <a:gd name="connsiteX23" fmla="*/ 270669 w 1488282"/>
                    <a:gd name="connsiteY23" fmla="*/ 2228056 h 2544762"/>
                    <a:gd name="connsiteX24" fmla="*/ 385763 w 1488282"/>
                    <a:gd name="connsiteY24" fmla="*/ 2422524 h 2544762"/>
                    <a:gd name="connsiteX25" fmla="*/ 565944 w 1488282"/>
                    <a:gd name="connsiteY25" fmla="*/ 2544762 h 2544762"/>
                    <a:gd name="connsiteX26" fmla="*/ 728662 w 1488282"/>
                    <a:gd name="connsiteY26" fmla="*/ 2409825 h 2544762"/>
                    <a:gd name="connsiteX27" fmla="*/ 733425 w 1488282"/>
                    <a:gd name="connsiteY27" fmla="*/ 2336007 h 2544762"/>
                    <a:gd name="connsiteX28" fmla="*/ 797720 w 1488282"/>
                    <a:gd name="connsiteY28" fmla="*/ 2300288 h 2544762"/>
                    <a:gd name="connsiteX29" fmla="*/ 800100 w 1488282"/>
                    <a:gd name="connsiteY29" fmla="*/ 2183607 h 2544762"/>
                    <a:gd name="connsiteX30" fmla="*/ 757237 w 1488282"/>
                    <a:gd name="connsiteY30" fmla="*/ 2169320 h 2544762"/>
                    <a:gd name="connsiteX31" fmla="*/ 678657 w 1488282"/>
                    <a:gd name="connsiteY31" fmla="*/ 2014538 h 2544762"/>
                    <a:gd name="connsiteX32" fmla="*/ 621507 w 1488282"/>
                    <a:gd name="connsiteY32" fmla="*/ 1704975 h 2544762"/>
                    <a:gd name="connsiteX33" fmla="*/ 533401 w 1488282"/>
                    <a:gd name="connsiteY33" fmla="*/ 1638301 h 2544762"/>
                    <a:gd name="connsiteX34" fmla="*/ 714375 w 1488282"/>
                    <a:gd name="connsiteY34" fmla="*/ 1628775 h 2544762"/>
                    <a:gd name="connsiteX35" fmla="*/ 804863 w 1488282"/>
                    <a:gd name="connsiteY35" fmla="*/ 1540669 h 2544762"/>
                    <a:gd name="connsiteX36" fmla="*/ 1021557 w 1488282"/>
                    <a:gd name="connsiteY36" fmla="*/ 1543050 h 2544762"/>
                    <a:gd name="connsiteX37" fmla="*/ 1073944 w 1488282"/>
                    <a:gd name="connsiteY37" fmla="*/ 1590676 h 2544762"/>
                    <a:gd name="connsiteX38" fmla="*/ 1064419 w 1488282"/>
                    <a:gd name="connsiteY38" fmla="*/ 1628776 h 2544762"/>
                    <a:gd name="connsiteX39" fmla="*/ 1143000 w 1488282"/>
                    <a:gd name="connsiteY39" fmla="*/ 1600201 h 2544762"/>
                    <a:gd name="connsiteX40" fmla="*/ 1190626 w 1488282"/>
                    <a:gd name="connsiteY40" fmla="*/ 1678782 h 2544762"/>
                    <a:gd name="connsiteX41" fmla="*/ 1221582 w 1488282"/>
                    <a:gd name="connsiteY41" fmla="*/ 1743074 h 2544762"/>
                    <a:gd name="connsiteX42" fmla="*/ 1276351 w 1488282"/>
                    <a:gd name="connsiteY42" fmla="*/ 1724026 h 2544762"/>
                    <a:gd name="connsiteX43" fmla="*/ 1328738 w 1488282"/>
                    <a:gd name="connsiteY43" fmla="*/ 1723231 h 2544762"/>
                    <a:gd name="connsiteX44" fmla="*/ 1293019 w 1488282"/>
                    <a:gd name="connsiteY44" fmla="*/ 1531144 h 2544762"/>
                    <a:gd name="connsiteX45" fmla="*/ 1345407 w 1488282"/>
                    <a:gd name="connsiteY45" fmla="*/ 1443038 h 2544762"/>
                    <a:gd name="connsiteX46" fmla="*/ 1316832 w 1488282"/>
                    <a:gd name="connsiteY46" fmla="*/ 1388270 h 2544762"/>
                    <a:gd name="connsiteX47" fmla="*/ 1371600 w 1488282"/>
                    <a:gd name="connsiteY47" fmla="*/ 1381125 h 2544762"/>
                    <a:gd name="connsiteX48" fmla="*/ 1423988 w 1488282"/>
                    <a:gd name="connsiteY48" fmla="*/ 1302545 h 2544762"/>
                    <a:gd name="connsiteX49" fmla="*/ 1414463 w 1488282"/>
                    <a:gd name="connsiteY49" fmla="*/ 1254920 h 2544762"/>
                    <a:gd name="connsiteX50" fmla="*/ 1450976 w 1488282"/>
                    <a:gd name="connsiteY50" fmla="*/ 1246187 h 2544762"/>
                    <a:gd name="connsiteX51" fmla="*/ 1488282 w 1488282"/>
                    <a:gd name="connsiteY51" fmla="*/ 1190625 h 2544762"/>
                    <a:gd name="connsiteX52" fmla="*/ 1433513 w 1488282"/>
                    <a:gd name="connsiteY52" fmla="*/ 1007269 h 2544762"/>
                    <a:gd name="connsiteX53" fmla="*/ 1388270 w 1488282"/>
                    <a:gd name="connsiteY53" fmla="*/ 878682 h 2544762"/>
                    <a:gd name="connsiteX54" fmla="*/ 1421607 w 1488282"/>
                    <a:gd name="connsiteY54" fmla="*/ 804863 h 2544762"/>
                    <a:gd name="connsiteX55" fmla="*/ 1371601 w 1488282"/>
                    <a:gd name="connsiteY55" fmla="*/ 664370 h 2544762"/>
                    <a:gd name="connsiteX56" fmla="*/ 1312069 w 1488282"/>
                    <a:gd name="connsiteY56" fmla="*/ 604838 h 2544762"/>
                    <a:gd name="connsiteX57" fmla="*/ 1309688 w 1488282"/>
                    <a:gd name="connsiteY57" fmla="*/ 523876 h 2544762"/>
                    <a:gd name="connsiteX58" fmla="*/ 1290639 w 1488282"/>
                    <a:gd name="connsiteY58" fmla="*/ 445295 h 2544762"/>
                    <a:gd name="connsiteX59" fmla="*/ 1311275 w 1488282"/>
                    <a:gd name="connsiteY59" fmla="*/ 324644 h 2544762"/>
                    <a:gd name="connsiteX60" fmla="*/ 1159669 w 1488282"/>
                    <a:gd name="connsiteY60" fmla="*/ 0 h 2544762"/>
                    <a:gd name="connsiteX61" fmla="*/ 1073944 w 1488282"/>
                    <a:gd name="connsiteY61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840582 w 1488282"/>
                    <a:gd name="connsiteY8" fmla="*/ 528638 h 2544762"/>
                    <a:gd name="connsiteX9" fmla="*/ 819151 w 1488282"/>
                    <a:gd name="connsiteY9" fmla="*/ 590551 h 2544762"/>
                    <a:gd name="connsiteX10" fmla="*/ 0 w 1488282"/>
                    <a:gd name="connsiteY10" fmla="*/ 185739 h 2544762"/>
                    <a:gd name="connsiteX11" fmla="*/ 483395 w 1488282"/>
                    <a:gd name="connsiteY11" fmla="*/ 1045369 h 2544762"/>
                    <a:gd name="connsiteX12" fmla="*/ 435769 w 1488282"/>
                    <a:gd name="connsiteY12" fmla="*/ 1023938 h 2544762"/>
                    <a:gd name="connsiteX13" fmla="*/ 407194 w 1488282"/>
                    <a:gd name="connsiteY13" fmla="*/ 1090613 h 2544762"/>
                    <a:gd name="connsiteX14" fmla="*/ 218281 w 1488282"/>
                    <a:gd name="connsiteY14" fmla="*/ 1068387 h 2544762"/>
                    <a:gd name="connsiteX15" fmla="*/ 176213 w 1488282"/>
                    <a:gd name="connsiteY15" fmla="*/ 1083470 h 2544762"/>
                    <a:gd name="connsiteX16" fmla="*/ 185738 w 1488282"/>
                    <a:gd name="connsiteY16" fmla="*/ 1140620 h 2544762"/>
                    <a:gd name="connsiteX17" fmla="*/ 147638 w 1488282"/>
                    <a:gd name="connsiteY17" fmla="*/ 1188244 h 2544762"/>
                    <a:gd name="connsiteX18" fmla="*/ 147638 w 1488282"/>
                    <a:gd name="connsiteY18" fmla="*/ 1328738 h 2544762"/>
                    <a:gd name="connsiteX19" fmla="*/ 173832 w 1488282"/>
                    <a:gd name="connsiteY19" fmla="*/ 1432718 h 2544762"/>
                    <a:gd name="connsiteX20" fmla="*/ 304800 w 1488282"/>
                    <a:gd name="connsiteY20" fmla="*/ 1795464 h 2544762"/>
                    <a:gd name="connsiteX21" fmla="*/ 309563 w 1488282"/>
                    <a:gd name="connsiteY21" fmla="*/ 1971675 h 2544762"/>
                    <a:gd name="connsiteX22" fmla="*/ 254794 w 1488282"/>
                    <a:gd name="connsiteY22" fmla="*/ 2064545 h 2544762"/>
                    <a:gd name="connsiteX23" fmla="*/ 270669 w 1488282"/>
                    <a:gd name="connsiteY23" fmla="*/ 2228056 h 2544762"/>
                    <a:gd name="connsiteX24" fmla="*/ 385763 w 1488282"/>
                    <a:gd name="connsiteY24" fmla="*/ 2422524 h 2544762"/>
                    <a:gd name="connsiteX25" fmla="*/ 565944 w 1488282"/>
                    <a:gd name="connsiteY25" fmla="*/ 2544762 h 2544762"/>
                    <a:gd name="connsiteX26" fmla="*/ 728662 w 1488282"/>
                    <a:gd name="connsiteY26" fmla="*/ 2409825 h 2544762"/>
                    <a:gd name="connsiteX27" fmla="*/ 733425 w 1488282"/>
                    <a:gd name="connsiteY27" fmla="*/ 2336007 h 2544762"/>
                    <a:gd name="connsiteX28" fmla="*/ 797720 w 1488282"/>
                    <a:gd name="connsiteY28" fmla="*/ 2300288 h 2544762"/>
                    <a:gd name="connsiteX29" fmla="*/ 800100 w 1488282"/>
                    <a:gd name="connsiteY29" fmla="*/ 2183607 h 2544762"/>
                    <a:gd name="connsiteX30" fmla="*/ 757237 w 1488282"/>
                    <a:gd name="connsiteY30" fmla="*/ 2169320 h 2544762"/>
                    <a:gd name="connsiteX31" fmla="*/ 678657 w 1488282"/>
                    <a:gd name="connsiteY31" fmla="*/ 2014538 h 2544762"/>
                    <a:gd name="connsiteX32" fmla="*/ 621507 w 1488282"/>
                    <a:gd name="connsiteY32" fmla="*/ 1704975 h 2544762"/>
                    <a:gd name="connsiteX33" fmla="*/ 533401 w 1488282"/>
                    <a:gd name="connsiteY33" fmla="*/ 1638301 h 2544762"/>
                    <a:gd name="connsiteX34" fmla="*/ 714375 w 1488282"/>
                    <a:gd name="connsiteY34" fmla="*/ 1628775 h 2544762"/>
                    <a:gd name="connsiteX35" fmla="*/ 804863 w 1488282"/>
                    <a:gd name="connsiteY35" fmla="*/ 1540669 h 2544762"/>
                    <a:gd name="connsiteX36" fmla="*/ 1021557 w 1488282"/>
                    <a:gd name="connsiteY36" fmla="*/ 1543050 h 2544762"/>
                    <a:gd name="connsiteX37" fmla="*/ 1073944 w 1488282"/>
                    <a:gd name="connsiteY37" fmla="*/ 1590676 h 2544762"/>
                    <a:gd name="connsiteX38" fmla="*/ 1064419 w 1488282"/>
                    <a:gd name="connsiteY38" fmla="*/ 1628776 h 2544762"/>
                    <a:gd name="connsiteX39" fmla="*/ 1143000 w 1488282"/>
                    <a:gd name="connsiteY39" fmla="*/ 1600201 h 2544762"/>
                    <a:gd name="connsiteX40" fmla="*/ 1190626 w 1488282"/>
                    <a:gd name="connsiteY40" fmla="*/ 1678782 h 2544762"/>
                    <a:gd name="connsiteX41" fmla="*/ 1221582 w 1488282"/>
                    <a:gd name="connsiteY41" fmla="*/ 1743074 h 2544762"/>
                    <a:gd name="connsiteX42" fmla="*/ 1276351 w 1488282"/>
                    <a:gd name="connsiteY42" fmla="*/ 1724026 h 2544762"/>
                    <a:gd name="connsiteX43" fmla="*/ 1328738 w 1488282"/>
                    <a:gd name="connsiteY43" fmla="*/ 1723231 h 2544762"/>
                    <a:gd name="connsiteX44" fmla="*/ 1293019 w 1488282"/>
                    <a:gd name="connsiteY44" fmla="*/ 1531144 h 2544762"/>
                    <a:gd name="connsiteX45" fmla="*/ 1345407 w 1488282"/>
                    <a:gd name="connsiteY45" fmla="*/ 1443038 h 2544762"/>
                    <a:gd name="connsiteX46" fmla="*/ 1316832 w 1488282"/>
                    <a:gd name="connsiteY46" fmla="*/ 1388270 h 2544762"/>
                    <a:gd name="connsiteX47" fmla="*/ 1371600 w 1488282"/>
                    <a:gd name="connsiteY47" fmla="*/ 1381125 h 2544762"/>
                    <a:gd name="connsiteX48" fmla="*/ 1423988 w 1488282"/>
                    <a:gd name="connsiteY48" fmla="*/ 1302545 h 2544762"/>
                    <a:gd name="connsiteX49" fmla="*/ 1414463 w 1488282"/>
                    <a:gd name="connsiteY49" fmla="*/ 1254920 h 2544762"/>
                    <a:gd name="connsiteX50" fmla="*/ 1450976 w 1488282"/>
                    <a:gd name="connsiteY50" fmla="*/ 1246187 h 2544762"/>
                    <a:gd name="connsiteX51" fmla="*/ 1488282 w 1488282"/>
                    <a:gd name="connsiteY51" fmla="*/ 1190625 h 2544762"/>
                    <a:gd name="connsiteX52" fmla="*/ 1433513 w 1488282"/>
                    <a:gd name="connsiteY52" fmla="*/ 1007269 h 2544762"/>
                    <a:gd name="connsiteX53" fmla="*/ 1388270 w 1488282"/>
                    <a:gd name="connsiteY53" fmla="*/ 878682 h 2544762"/>
                    <a:gd name="connsiteX54" fmla="*/ 1421607 w 1488282"/>
                    <a:gd name="connsiteY54" fmla="*/ 804863 h 2544762"/>
                    <a:gd name="connsiteX55" fmla="*/ 1371601 w 1488282"/>
                    <a:gd name="connsiteY55" fmla="*/ 664370 h 2544762"/>
                    <a:gd name="connsiteX56" fmla="*/ 1312069 w 1488282"/>
                    <a:gd name="connsiteY56" fmla="*/ 604838 h 2544762"/>
                    <a:gd name="connsiteX57" fmla="*/ 1309688 w 1488282"/>
                    <a:gd name="connsiteY57" fmla="*/ 523876 h 2544762"/>
                    <a:gd name="connsiteX58" fmla="*/ 1290639 w 1488282"/>
                    <a:gd name="connsiteY58" fmla="*/ 445295 h 2544762"/>
                    <a:gd name="connsiteX59" fmla="*/ 1311275 w 1488282"/>
                    <a:gd name="connsiteY59" fmla="*/ 324644 h 2544762"/>
                    <a:gd name="connsiteX60" fmla="*/ 1159669 w 1488282"/>
                    <a:gd name="connsiteY60" fmla="*/ 0 h 2544762"/>
                    <a:gd name="connsiteX61" fmla="*/ 1073944 w 1488282"/>
                    <a:gd name="connsiteY61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840582 w 1488282"/>
                    <a:gd name="connsiteY8" fmla="*/ 528638 h 2544762"/>
                    <a:gd name="connsiteX9" fmla="*/ 819151 w 1488282"/>
                    <a:gd name="connsiteY9" fmla="*/ 590551 h 2544762"/>
                    <a:gd name="connsiteX10" fmla="*/ 442913 w 1488282"/>
                    <a:gd name="connsiteY10" fmla="*/ 404813 h 2544762"/>
                    <a:gd name="connsiteX11" fmla="*/ 0 w 1488282"/>
                    <a:gd name="connsiteY11" fmla="*/ 185739 h 2544762"/>
                    <a:gd name="connsiteX12" fmla="*/ 483395 w 1488282"/>
                    <a:gd name="connsiteY12" fmla="*/ 1045369 h 2544762"/>
                    <a:gd name="connsiteX13" fmla="*/ 435769 w 1488282"/>
                    <a:gd name="connsiteY13" fmla="*/ 1023938 h 2544762"/>
                    <a:gd name="connsiteX14" fmla="*/ 407194 w 1488282"/>
                    <a:gd name="connsiteY14" fmla="*/ 1090613 h 2544762"/>
                    <a:gd name="connsiteX15" fmla="*/ 218281 w 1488282"/>
                    <a:gd name="connsiteY15" fmla="*/ 1068387 h 2544762"/>
                    <a:gd name="connsiteX16" fmla="*/ 176213 w 1488282"/>
                    <a:gd name="connsiteY16" fmla="*/ 1083470 h 2544762"/>
                    <a:gd name="connsiteX17" fmla="*/ 185738 w 1488282"/>
                    <a:gd name="connsiteY17" fmla="*/ 1140620 h 2544762"/>
                    <a:gd name="connsiteX18" fmla="*/ 147638 w 1488282"/>
                    <a:gd name="connsiteY18" fmla="*/ 1188244 h 2544762"/>
                    <a:gd name="connsiteX19" fmla="*/ 147638 w 1488282"/>
                    <a:gd name="connsiteY19" fmla="*/ 1328738 h 2544762"/>
                    <a:gd name="connsiteX20" fmla="*/ 173832 w 1488282"/>
                    <a:gd name="connsiteY20" fmla="*/ 1432718 h 2544762"/>
                    <a:gd name="connsiteX21" fmla="*/ 304800 w 1488282"/>
                    <a:gd name="connsiteY21" fmla="*/ 1795464 h 2544762"/>
                    <a:gd name="connsiteX22" fmla="*/ 309563 w 1488282"/>
                    <a:gd name="connsiteY22" fmla="*/ 1971675 h 2544762"/>
                    <a:gd name="connsiteX23" fmla="*/ 254794 w 1488282"/>
                    <a:gd name="connsiteY23" fmla="*/ 2064545 h 2544762"/>
                    <a:gd name="connsiteX24" fmla="*/ 270669 w 1488282"/>
                    <a:gd name="connsiteY24" fmla="*/ 2228056 h 2544762"/>
                    <a:gd name="connsiteX25" fmla="*/ 385763 w 1488282"/>
                    <a:gd name="connsiteY25" fmla="*/ 2422524 h 2544762"/>
                    <a:gd name="connsiteX26" fmla="*/ 565944 w 1488282"/>
                    <a:gd name="connsiteY26" fmla="*/ 2544762 h 2544762"/>
                    <a:gd name="connsiteX27" fmla="*/ 728662 w 1488282"/>
                    <a:gd name="connsiteY27" fmla="*/ 2409825 h 2544762"/>
                    <a:gd name="connsiteX28" fmla="*/ 733425 w 1488282"/>
                    <a:gd name="connsiteY28" fmla="*/ 2336007 h 2544762"/>
                    <a:gd name="connsiteX29" fmla="*/ 797720 w 1488282"/>
                    <a:gd name="connsiteY29" fmla="*/ 2300288 h 2544762"/>
                    <a:gd name="connsiteX30" fmla="*/ 800100 w 1488282"/>
                    <a:gd name="connsiteY30" fmla="*/ 2183607 h 2544762"/>
                    <a:gd name="connsiteX31" fmla="*/ 757237 w 1488282"/>
                    <a:gd name="connsiteY31" fmla="*/ 2169320 h 2544762"/>
                    <a:gd name="connsiteX32" fmla="*/ 678657 w 1488282"/>
                    <a:gd name="connsiteY32" fmla="*/ 2014538 h 2544762"/>
                    <a:gd name="connsiteX33" fmla="*/ 621507 w 1488282"/>
                    <a:gd name="connsiteY33" fmla="*/ 1704975 h 2544762"/>
                    <a:gd name="connsiteX34" fmla="*/ 533401 w 1488282"/>
                    <a:gd name="connsiteY34" fmla="*/ 1638301 h 2544762"/>
                    <a:gd name="connsiteX35" fmla="*/ 714375 w 1488282"/>
                    <a:gd name="connsiteY35" fmla="*/ 1628775 h 2544762"/>
                    <a:gd name="connsiteX36" fmla="*/ 804863 w 1488282"/>
                    <a:gd name="connsiteY36" fmla="*/ 1540669 h 2544762"/>
                    <a:gd name="connsiteX37" fmla="*/ 1021557 w 1488282"/>
                    <a:gd name="connsiteY37" fmla="*/ 1543050 h 2544762"/>
                    <a:gd name="connsiteX38" fmla="*/ 1073944 w 1488282"/>
                    <a:gd name="connsiteY38" fmla="*/ 1590676 h 2544762"/>
                    <a:gd name="connsiteX39" fmla="*/ 1064419 w 1488282"/>
                    <a:gd name="connsiteY39" fmla="*/ 1628776 h 2544762"/>
                    <a:gd name="connsiteX40" fmla="*/ 1143000 w 1488282"/>
                    <a:gd name="connsiteY40" fmla="*/ 1600201 h 2544762"/>
                    <a:gd name="connsiteX41" fmla="*/ 1190626 w 1488282"/>
                    <a:gd name="connsiteY41" fmla="*/ 1678782 h 2544762"/>
                    <a:gd name="connsiteX42" fmla="*/ 1221582 w 1488282"/>
                    <a:gd name="connsiteY42" fmla="*/ 1743074 h 2544762"/>
                    <a:gd name="connsiteX43" fmla="*/ 1276351 w 1488282"/>
                    <a:gd name="connsiteY43" fmla="*/ 1724026 h 2544762"/>
                    <a:gd name="connsiteX44" fmla="*/ 1328738 w 1488282"/>
                    <a:gd name="connsiteY44" fmla="*/ 1723231 h 2544762"/>
                    <a:gd name="connsiteX45" fmla="*/ 1293019 w 1488282"/>
                    <a:gd name="connsiteY45" fmla="*/ 1531144 h 2544762"/>
                    <a:gd name="connsiteX46" fmla="*/ 1345407 w 1488282"/>
                    <a:gd name="connsiteY46" fmla="*/ 1443038 h 2544762"/>
                    <a:gd name="connsiteX47" fmla="*/ 1316832 w 1488282"/>
                    <a:gd name="connsiteY47" fmla="*/ 1388270 h 2544762"/>
                    <a:gd name="connsiteX48" fmla="*/ 1371600 w 1488282"/>
                    <a:gd name="connsiteY48" fmla="*/ 1381125 h 2544762"/>
                    <a:gd name="connsiteX49" fmla="*/ 1423988 w 1488282"/>
                    <a:gd name="connsiteY49" fmla="*/ 1302545 h 2544762"/>
                    <a:gd name="connsiteX50" fmla="*/ 1414463 w 1488282"/>
                    <a:gd name="connsiteY50" fmla="*/ 1254920 h 2544762"/>
                    <a:gd name="connsiteX51" fmla="*/ 1450976 w 1488282"/>
                    <a:gd name="connsiteY51" fmla="*/ 1246187 h 2544762"/>
                    <a:gd name="connsiteX52" fmla="*/ 1488282 w 1488282"/>
                    <a:gd name="connsiteY52" fmla="*/ 1190625 h 2544762"/>
                    <a:gd name="connsiteX53" fmla="*/ 1433513 w 1488282"/>
                    <a:gd name="connsiteY53" fmla="*/ 1007269 h 2544762"/>
                    <a:gd name="connsiteX54" fmla="*/ 1388270 w 1488282"/>
                    <a:gd name="connsiteY54" fmla="*/ 878682 h 2544762"/>
                    <a:gd name="connsiteX55" fmla="*/ 1421607 w 1488282"/>
                    <a:gd name="connsiteY55" fmla="*/ 804863 h 2544762"/>
                    <a:gd name="connsiteX56" fmla="*/ 1371601 w 1488282"/>
                    <a:gd name="connsiteY56" fmla="*/ 664370 h 2544762"/>
                    <a:gd name="connsiteX57" fmla="*/ 1312069 w 1488282"/>
                    <a:gd name="connsiteY57" fmla="*/ 604838 h 2544762"/>
                    <a:gd name="connsiteX58" fmla="*/ 1309688 w 1488282"/>
                    <a:gd name="connsiteY58" fmla="*/ 523876 h 2544762"/>
                    <a:gd name="connsiteX59" fmla="*/ 1290639 w 1488282"/>
                    <a:gd name="connsiteY59" fmla="*/ 445295 h 2544762"/>
                    <a:gd name="connsiteX60" fmla="*/ 1311275 w 1488282"/>
                    <a:gd name="connsiteY60" fmla="*/ 324644 h 2544762"/>
                    <a:gd name="connsiteX61" fmla="*/ 1159669 w 1488282"/>
                    <a:gd name="connsiteY61" fmla="*/ 0 h 2544762"/>
                    <a:gd name="connsiteX62" fmla="*/ 1073944 w 1488282"/>
                    <a:gd name="connsiteY62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840582 w 1488282"/>
                    <a:gd name="connsiteY8" fmla="*/ 528638 h 2544762"/>
                    <a:gd name="connsiteX9" fmla="*/ 819151 w 1488282"/>
                    <a:gd name="connsiteY9" fmla="*/ 590551 h 2544762"/>
                    <a:gd name="connsiteX10" fmla="*/ 778669 w 1488282"/>
                    <a:gd name="connsiteY10" fmla="*/ 569119 h 2544762"/>
                    <a:gd name="connsiteX11" fmla="*/ 0 w 1488282"/>
                    <a:gd name="connsiteY11" fmla="*/ 185739 h 2544762"/>
                    <a:gd name="connsiteX12" fmla="*/ 483395 w 1488282"/>
                    <a:gd name="connsiteY12" fmla="*/ 1045369 h 2544762"/>
                    <a:gd name="connsiteX13" fmla="*/ 435769 w 1488282"/>
                    <a:gd name="connsiteY13" fmla="*/ 1023938 h 2544762"/>
                    <a:gd name="connsiteX14" fmla="*/ 407194 w 1488282"/>
                    <a:gd name="connsiteY14" fmla="*/ 1090613 h 2544762"/>
                    <a:gd name="connsiteX15" fmla="*/ 218281 w 1488282"/>
                    <a:gd name="connsiteY15" fmla="*/ 1068387 h 2544762"/>
                    <a:gd name="connsiteX16" fmla="*/ 176213 w 1488282"/>
                    <a:gd name="connsiteY16" fmla="*/ 1083470 h 2544762"/>
                    <a:gd name="connsiteX17" fmla="*/ 185738 w 1488282"/>
                    <a:gd name="connsiteY17" fmla="*/ 1140620 h 2544762"/>
                    <a:gd name="connsiteX18" fmla="*/ 147638 w 1488282"/>
                    <a:gd name="connsiteY18" fmla="*/ 1188244 h 2544762"/>
                    <a:gd name="connsiteX19" fmla="*/ 147638 w 1488282"/>
                    <a:gd name="connsiteY19" fmla="*/ 1328738 h 2544762"/>
                    <a:gd name="connsiteX20" fmla="*/ 173832 w 1488282"/>
                    <a:gd name="connsiteY20" fmla="*/ 1432718 h 2544762"/>
                    <a:gd name="connsiteX21" fmla="*/ 304800 w 1488282"/>
                    <a:gd name="connsiteY21" fmla="*/ 1795464 h 2544762"/>
                    <a:gd name="connsiteX22" fmla="*/ 309563 w 1488282"/>
                    <a:gd name="connsiteY22" fmla="*/ 1971675 h 2544762"/>
                    <a:gd name="connsiteX23" fmla="*/ 254794 w 1488282"/>
                    <a:gd name="connsiteY23" fmla="*/ 2064545 h 2544762"/>
                    <a:gd name="connsiteX24" fmla="*/ 270669 w 1488282"/>
                    <a:gd name="connsiteY24" fmla="*/ 2228056 h 2544762"/>
                    <a:gd name="connsiteX25" fmla="*/ 385763 w 1488282"/>
                    <a:gd name="connsiteY25" fmla="*/ 2422524 h 2544762"/>
                    <a:gd name="connsiteX26" fmla="*/ 565944 w 1488282"/>
                    <a:gd name="connsiteY26" fmla="*/ 2544762 h 2544762"/>
                    <a:gd name="connsiteX27" fmla="*/ 728662 w 1488282"/>
                    <a:gd name="connsiteY27" fmla="*/ 2409825 h 2544762"/>
                    <a:gd name="connsiteX28" fmla="*/ 733425 w 1488282"/>
                    <a:gd name="connsiteY28" fmla="*/ 2336007 h 2544762"/>
                    <a:gd name="connsiteX29" fmla="*/ 797720 w 1488282"/>
                    <a:gd name="connsiteY29" fmla="*/ 2300288 h 2544762"/>
                    <a:gd name="connsiteX30" fmla="*/ 800100 w 1488282"/>
                    <a:gd name="connsiteY30" fmla="*/ 2183607 h 2544762"/>
                    <a:gd name="connsiteX31" fmla="*/ 757237 w 1488282"/>
                    <a:gd name="connsiteY31" fmla="*/ 2169320 h 2544762"/>
                    <a:gd name="connsiteX32" fmla="*/ 678657 w 1488282"/>
                    <a:gd name="connsiteY32" fmla="*/ 2014538 h 2544762"/>
                    <a:gd name="connsiteX33" fmla="*/ 621507 w 1488282"/>
                    <a:gd name="connsiteY33" fmla="*/ 1704975 h 2544762"/>
                    <a:gd name="connsiteX34" fmla="*/ 533401 w 1488282"/>
                    <a:gd name="connsiteY34" fmla="*/ 1638301 h 2544762"/>
                    <a:gd name="connsiteX35" fmla="*/ 714375 w 1488282"/>
                    <a:gd name="connsiteY35" fmla="*/ 1628775 h 2544762"/>
                    <a:gd name="connsiteX36" fmla="*/ 804863 w 1488282"/>
                    <a:gd name="connsiteY36" fmla="*/ 1540669 h 2544762"/>
                    <a:gd name="connsiteX37" fmla="*/ 1021557 w 1488282"/>
                    <a:gd name="connsiteY37" fmla="*/ 1543050 h 2544762"/>
                    <a:gd name="connsiteX38" fmla="*/ 1073944 w 1488282"/>
                    <a:gd name="connsiteY38" fmla="*/ 1590676 h 2544762"/>
                    <a:gd name="connsiteX39" fmla="*/ 1064419 w 1488282"/>
                    <a:gd name="connsiteY39" fmla="*/ 1628776 h 2544762"/>
                    <a:gd name="connsiteX40" fmla="*/ 1143000 w 1488282"/>
                    <a:gd name="connsiteY40" fmla="*/ 1600201 h 2544762"/>
                    <a:gd name="connsiteX41" fmla="*/ 1190626 w 1488282"/>
                    <a:gd name="connsiteY41" fmla="*/ 1678782 h 2544762"/>
                    <a:gd name="connsiteX42" fmla="*/ 1221582 w 1488282"/>
                    <a:gd name="connsiteY42" fmla="*/ 1743074 h 2544762"/>
                    <a:gd name="connsiteX43" fmla="*/ 1276351 w 1488282"/>
                    <a:gd name="connsiteY43" fmla="*/ 1724026 h 2544762"/>
                    <a:gd name="connsiteX44" fmla="*/ 1328738 w 1488282"/>
                    <a:gd name="connsiteY44" fmla="*/ 1723231 h 2544762"/>
                    <a:gd name="connsiteX45" fmla="*/ 1293019 w 1488282"/>
                    <a:gd name="connsiteY45" fmla="*/ 1531144 h 2544762"/>
                    <a:gd name="connsiteX46" fmla="*/ 1345407 w 1488282"/>
                    <a:gd name="connsiteY46" fmla="*/ 1443038 h 2544762"/>
                    <a:gd name="connsiteX47" fmla="*/ 1316832 w 1488282"/>
                    <a:gd name="connsiteY47" fmla="*/ 1388270 h 2544762"/>
                    <a:gd name="connsiteX48" fmla="*/ 1371600 w 1488282"/>
                    <a:gd name="connsiteY48" fmla="*/ 1381125 h 2544762"/>
                    <a:gd name="connsiteX49" fmla="*/ 1423988 w 1488282"/>
                    <a:gd name="connsiteY49" fmla="*/ 1302545 h 2544762"/>
                    <a:gd name="connsiteX50" fmla="*/ 1414463 w 1488282"/>
                    <a:gd name="connsiteY50" fmla="*/ 1254920 h 2544762"/>
                    <a:gd name="connsiteX51" fmla="*/ 1450976 w 1488282"/>
                    <a:gd name="connsiteY51" fmla="*/ 1246187 h 2544762"/>
                    <a:gd name="connsiteX52" fmla="*/ 1488282 w 1488282"/>
                    <a:gd name="connsiteY52" fmla="*/ 1190625 h 2544762"/>
                    <a:gd name="connsiteX53" fmla="*/ 1433513 w 1488282"/>
                    <a:gd name="connsiteY53" fmla="*/ 1007269 h 2544762"/>
                    <a:gd name="connsiteX54" fmla="*/ 1388270 w 1488282"/>
                    <a:gd name="connsiteY54" fmla="*/ 878682 h 2544762"/>
                    <a:gd name="connsiteX55" fmla="*/ 1421607 w 1488282"/>
                    <a:gd name="connsiteY55" fmla="*/ 804863 h 2544762"/>
                    <a:gd name="connsiteX56" fmla="*/ 1371601 w 1488282"/>
                    <a:gd name="connsiteY56" fmla="*/ 664370 h 2544762"/>
                    <a:gd name="connsiteX57" fmla="*/ 1312069 w 1488282"/>
                    <a:gd name="connsiteY57" fmla="*/ 604838 h 2544762"/>
                    <a:gd name="connsiteX58" fmla="*/ 1309688 w 1488282"/>
                    <a:gd name="connsiteY58" fmla="*/ 523876 h 2544762"/>
                    <a:gd name="connsiteX59" fmla="*/ 1290639 w 1488282"/>
                    <a:gd name="connsiteY59" fmla="*/ 445295 h 2544762"/>
                    <a:gd name="connsiteX60" fmla="*/ 1311275 w 1488282"/>
                    <a:gd name="connsiteY60" fmla="*/ 324644 h 2544762"/>
                    <a:gd name="connsiteX61" fmla="*/ 1159669 w 1488282"/>
                    <a:gd name="connsiteY61" fmla="*/ 0 h 2544762"/>
                    <a:gd name="connsiteX62" fmla="*/ 1073944 w 1488282"/>
                    <a:gd name="connsiteY62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840582 w 1488282"/>
                    <a:gd name="connsiteY8" fmla="*/ 528638 h 2544762"/>
                    <a:gd name="connsiteX9" fmla="*/ 819151 w 1488282"/>
                    <a:gd name="connsiteY9" fmla="*/ 590551 h 2544762"/>
                    <a:gd name="connsiteX10" fmla="*/ 778669 w 1488282"/>
                    <a:gd name="connsiteY10" fmla="*/ 569119 h 2544762"/>
                    <a:gd name="connsiteX11" fmla="*/ 285750 w 1488282"/>
                    <a:gd name="connsiteY11" fmla="*/ 321469 h 2544762"/>
                    <a:gd name="connsiteX12" fmla="*/ 0 w 1488282"/>
                    <a:gd name="connsiteY12" fmla="*/ 185739 h 2544762"/>
                    <a:gd name="connsiteX13" fmla="*/ 483395 w 1488282"/>
                    <a:gd name="connsiteY13" fmla="*/ 1045369 h 2544762"/>
                    <a:gd name="connsiteX14" fmla="*/ 435769 w 1488282"/>
                    <a:gd name="connsiteY14" fmla="*/ 1023938 h 2544762"/>
                    <a:gd name="connsiteX15" fmla="*/ 407194 w 1488282"/>
                    <a:gd name="connsiteY15" fmla="*/ 1090613 h 2544762"/>
                    <a:gd name="connsiteX16" fmla="*/ 218281 w 1488282"/>
                    <a:gd name="connsiteY16" fmla="*/ 1068387 h 2544762"/>
                    <a:gd name="connsiteX17" fmla="*/ 176213 w 1488282"/>
                    <a:gd name="connsiteY17" fmla="*/ 1083470 h 2544762"/>
                    <a:gd name="connsiteX18" fmla="*/ 185738 w 1488282"/>
                    <a:gd name="connsiteY18" fmla="*/ 1140620 h 2544762"/>
                    <a:gd name="connsiteX19" fmla="*/ 147638 w 1488282"/>
                    <a:gd name="connsiteY19" fmla="*/ 1188244 h 2544762"/>
                    <a:gd name="connsiteX20" fmla="*/ 147638 w 1488282"/>
                    <a:gd name="connsiteY20" fmla="*/ 1328738 h 2544762"/>
                    <a:gd name="connsiteX21" fmla="*/ 173832 w 1488282"/>
                    <a:gd name="connsiteY21" fmla="*/ 1432718 h 2544762"/>
                    <a:gd name="connsiteX22" fmla="*/ 304800 w 1488282"/>
                    <a:gd name="connsiteY22" fmla="*/ 1795464 h 2544762"/>
                    <a:gd name="connsiteX23" fmla="*/ 309563 w 1488282"/>
                    <a:gd name="connsiteY23" fmla="*/ 1971675 h 2544762"/>
                    <a:gd name="connsiteX24" fmla="*/ 254794 w 1488282"/>
                    <a:gd name="connsiteY24" fmla="*/ 2064545 h 2544762"/>
                    <a:gd name="connsiteX25" fmla="*/ 270669 w 1488282"/>
                    <a:gd name="connsiteY25" fmla="*/ 2228056 h 2544762"/>
                    <a:gd name="connsiteX26" fmla="*/ 385763 w 1488282"/>
                    <a:gd name="connsiteY26" fmla="*/ 2422524 h 2544762"/>
                    <a:gd name="connsiteX27" fmla="*/ 565944 w 1488282"/>
                    <a:gd name="connsiteY27" fmla="*/ 2544762 h 2544762"/>
                    <a:gd name="connsiteX28" fmla="*/ 728662 w 1488282"/>
                    <a:gd name="connsiteY28" fmla="*/ 2409825 h 2544762"/>
                    <a:gd name="connsiteX29" fmla="*/ 733425 w 1488282"/>
                    <a:gd name="connsiteY29" fmla="*/ 2336007 h 2544762"/>
                    <a:gd name="connsiteX30" fmla="*/ 797720 w 1488282"/>
                    <a:gd name="connsiteY30" fmla="*/ 2300288 h 2544762"/>
                    <a:gd name="connsiteX31" fmla="*/ 800100 w 1488282"/>
                    <a:gd name="connsiteY31" fmla="*/ 2183607 h 2544762"/>
                    <a:gd name="connsiteX32" fmla="*/ 757237 w 1488282"/>
                    <a:gd name="connsiteY32" fmla="*/ 2169320 h 2544762"/>
                    <a:gd name="connsiteX33" fmla="*/ 678657 w 1488282"/>
                    <a:gd name="connsiteY33" fmla="*/ 2014538 h 2544762"/>
                    <a:gd name="connsiteX34" fmla="*/ 621507 w 1488282"/>
                    <a:gd name="connsiteY34" fmla="*/ 1704975 h 2544762"/>
                    <a:gd name="connsiteX35" fmla="*/ 533401 w 1488282"/>
                    <a:gd name="connsiteY35" fmla="*/ 1638301 h 2544762"/>
                    <a:gd name="connsiteX36" fmla="*/ 714375 w 1488282"/>
                    <a:gd name="connsiteY36" fmla="*/ 1628775 h 2544762"/>
                    <a:gd name="connsiteX37" fmla="*/ 804863 w 1488282"/>
                    <a:gd name="connsiteY37" fmla="*/ 1540669 h 2544762"/>
                    <a:gd name="connsiteX38" fmla="*/ 1021557 w 1488282"/>
                    <a:gd name="connsiteY38" fmla="*/ 1543050 h 2544762"/>
                    <a:gd name="connsiteX39" fmla="*/ 1073944 w 1488282"/>
                    <a:gd name="connsiteY39" fmla="*/ 1590676 h 2544762"/>
                    <a:gd name="connsiteX40" fmla="*/ 1064419 w 1488282"/>
                    <a:gd name="connsiteY40" fmla="*/ 1628776 h 2544762"/>
                    <a:gd name="connsiteX41" fmla="*/ 1143000 w 1488282"/>
                    <a:gd name="connsiteY41" fmla="*/ 1600201 h 2544762"/>
                    <a:gd name="connsiteX42" fmla="*/ 1190626 w 1488282"/>
                    <a:gd name="connsiteY42" fmla="*/ 1678782 h 2544762"/>
                    <a:gd name="connsiteX43" fmla="*/ 1221582 w 1488282"/>
                    <a:gd name="connsiteY43" fmla="*/ 1743074 h 2544762"/>
                    <a:gd name="connsiteX44" fmla="*/ 1276351 w 1488282"/>
                    <a:gd name="connsiteY44" fmla="*/ 1724026 h 2544762"/>
                    <a:gd name="connsiteX45" fmla="*/ 1328738 w 1488282"/>
                    <a:gd name="connsiteY45" fmla="*/ 1723231 h 2544762"/>
                    <a:gd name="connsiteX46" fmla="*/ 1293019 w 1488282"/>
                    <a:gd name="connsiteY46" fmla="*/ 1531144 h 2544762"/>
                    <a:gd name="connsiteX47" fmla="*/ 1345407 w 1488282"/>
                    <a:gd name="connsiteY47" fmla="*/ 1443038 h 2544762"/>
                    <a:gd name="connsiteX48" fmla="*/ 1316832 w 1488282"/>
                    <a:gd name="connsiteY48" fmla="*/ 1388270 h 2544762"/>
                    <a:gd name="connsiteX49" fmla="*/ 1371600 w 1488282"/>
                    <a:gd name="connsiteY49" fmla="*/ 1381125 h 2544762"/>
                    <a:gd name="connsiteX50" fmla="*/ 1423988 w 1488282"/>
                    <a:gd name="connsiteY50" fmla="*/ 1302545 h 2544762"/>
                    <a:gd name="connsiteX51" fmla="*/ 1414463 w 1488282"/>
                    <a:gd name="connsiteY51" fmla="*/ 1254920 h 2544762"/>
                    <a:gd name="connsiteX52" fmla="*/ 1450976 w 1488282"/>
                    <a:gd name="connsiteY52" fmla="*/ 1246187 h 2544762"/>
                    <a:gd name="connsiteX53" fmla="*/ 1488282 w 1488282"/>
                    <a:gd name="connsiteY53" fmla="*/ 1190625 h 2544762"/>
                    <a:gd name="connsiteX54" fmla="*/ 1433513 w 1488282"/>
                    <a:gd name="connsiteY54" fmla="*/ 1007269 h 2544762"/>
                    <a:gd name="connsiteX55" fmla="*/ 1388270 w 1488282"/>
                    <a:gd name="connsiteY55" fmla="*/ 878682 h 2544762"/>
                    <a:gd name="connsiteX56" fmla="*/ 1421607 w 1488282"/>
                    <a:gd name="connsiteY56" fmla="*/ 804863 h 2544762"/>
                    <a:gd name="connsiteX57" fmla="*/ 1371601 w 1488282"/>
                    <a:gd name="connsiteY57" fmla="*/ 664370 h 2544762"/>
                    <a:gd name="connsiteX58" fmla="*/ 1312069 w 1488282"/>
                    <a:gd name="connsiteY58" fmla="*/ 604838 h 2544762"/>
                    <a:gd name="connsiteX59" fmla="*/ 1309688 w 1488282"/>
                    <a:gd name="connsiteY59" fmla="*/ 523876 h 2544762"/>
                    <a:gd name="connsiteX60" fmla="*/ 1290639 w 1488282"/>
                    <a:gd name="connsiteY60" fmla="*/ 445295 h 2544762"/>
                    <a:gd name="connsiteX61" fmla="*/ 1311275 w 1488282"/>
                    <a:gd name="connsiteY61" fmla="*/ 324644 h 2544762"/>
                    <a:gd name="connsiteX62" fmla="*/ 1159669 w 1488282"/>
                    <a:gd name="connsiteY62" fmla="*/ 0 h 2544762"/>
                    <a:gd name="connsiteX63" fmla="*/ 1073944 w 1488282"/>
                    <a:gd name="connsiteY63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840582 w 1488282"/>
                    <a:gd name="connsiteY8" fmla="*/ 528638 h 2544762"/>
                    <a:gd name="connsiteX9" fmla="*/ 819151 w 1488282"/>
                    <a:gd name="connsiteY9" fmla="*/ 590551 h 2544762"/>
                    <a:gd name="connsiteX10" fmla="*/ 778669 w 1488282"/>
                    <a:gd name="connsiteY10" fmla="*/ 569119 h 2544762"/>
                    <a:gd name="connsiteX11" fmla="*/ 697706 w 1488282"/>
                    <a:gd name="connsiteY11" fmla="*/ 654844 h 2544762"/>
                    <a:gd name="connsiteX12" fmla="*/ 0 w 1488282"/>
                    <a:gd name="connsiteY12" fmla="*/ 185739 h 2544762"/>
                    <a:gd name="connsiteX13" fmla="*/ 483395 w 1488282"/>
                    <a:gd name="connsiteY13" fmla="*/ 1045369 h 2544762"/>
                    <a:gd name="connsiteX14" fmla="*/ 435769 w 1488282"/>
                    <a:gd name="connsiteY14" fmla="*/ 1023938 h 2544762"/>
                    <a:gd name="connsiteX15" fmla="*/ 407194 w 1488282"/>
                    <a:gd name="connsiteY15" fmla="*/ 1090613 h 2544762"/>
                    <a:gd name="connsiteX16" fmla="*/ 218281 w 1488282"/>
                    <a:gd name="connsiteY16" fmla="*/ 1068387 h 2544762"/>
                    <a:gd name="connsiteX17" fmla="*/ 176213 w 1488282"/>
                    <a:gd name="connsiteY17" fmla="*/ 1083470 h 2544762"/>
                    <a:gd name="connsiteX18" fmla="*/ 185738 w 1488282"/>
                    <a:gd name="connsiteY18" fmla="*/ 1140620 h 2544762"/>
                    <a:gd name="connsiteX19" fmla="*/ 147638 w 1488282"/>
                    <a:gd name="connsiteY19" fmla="*/ 1188244 h 2544762"/>
                    <a:gd name="connsiteX20" fmla="*/ 147638 w 1488282"/>
                    <a:gd name="connsiteY20" fmla="*/ 1328738 h 2544762"/>
                    <a:gd name="connsiteX21" fmla="*/ 173832 w 1488282"/>
                    <a:gd name="connsiteY21" fmla="*/ 1432718 h 2544762"/>
                    <a:gd name="connsiteX22" fmla="*/ 304800 w 1488282"/>
                    <a:gd name="connsiteY22" fmla="*/ 1795464 h 2544762"/>
                    <a:gd name="connsiteX23" fmla="*/ 309563 w 1488282"/>
                    <a:gd name="connsiteY23" fmla="*/ 1971675 h 2544762"/>
                    <a:gd name="connsiteX24" fmla="*/ 254794 w 1488282"/>
                    <a:gd name="connsiteY24" fmla="*/ 2064545 h 2544762"/>
                    <a:gd name="connsiteX25" fmla="*/ 270669 w 1488282"/>
                    <a:gd name="connsiteY25" fmla="*/ 2228056 h 2544762"/>
                    <a:gd name="connsiteX26" fmla="*/ 385763 w 1488282"/>
                    <a:gd name="connsiteY26" fmla="*/ 2422524 h 2544762"/>
                    <a:gd name="connsiteX27" fmla="*/ 565944 w 1488282"/>
                    <a:gd name="connsiteY27" fmla="*/ 2544762 h 2544762"/>
                    <a:gd name="connsiteX28" fmla="*/ 728662 w 1488282"/>
                    <a:gd name="connsiteY28" fmla="*/ 2409825 h 2544762"/>
                    <a:gd name="connsiteX29" fmla="*/ 733425 w 1488282"/>
                    <a:gd name="connsiteY29" fmla="*/ 2336007 h 2544762"/>
                    <a:gd name="connsiteX30" fmla="*/ 797720 w 1488282"/>
                    <a:gd name="connsiteY30" fmla="*/ 2300288 h 2544762"/>
                    <a:gd name="connsiteX31" fmla="*/ 800100 w 1488282"/>
                    <a:gd name="connsiteY31" fmla="*/ 2183607 h 2544762"/>
                    <a:gd name="connsiteX32" fmla="*/ 757237 w 1488282"/>
                    <a:gd name="connsiteY32" fmla="*/ 2169320 h 2544762"/>
                    <a:gd name="connsiteX33" fmla="*/ 678657 w 1488282"/>
                    <a:gd name="connsiteY33" fmla="*/ 2014538 h 2544762"/>
                    <a:gd name="connsiteX34" fmla="*/ 621507 w 1488282"/>
                    <a:gd name="connsiteY34" fmla="*/ 1704975 h 2544762"/>
                    <a:gd name="connsiteX35" fmla="*/ 533401 w 1488282"/>
                    <a:gd name="connsiteY35" fmla="*/ 1638301 h 2544762"/>
                    <a:gd name="connsiteX36" fmla="*/ 714375 w 1488282"/>
                    <a:gd name="connsiteY36" fmla="*/ 1628775 h 2544762"/>
                    <a:gd name="connsiteX37" fmla="*/ 804863 w 1488282"/>
                    <a:gd name="connsiteY37" fmla="*/ 1540669 h 2544762"/>
                    <a:gd name="connsiteX38" fmla="*/ 1021557 w 1488282"/>
                    <a:gd name="connsiteY38" fmla="*/ 1543050 h 2544762"/>
                    <a:gd name="connsiteX39" fmla="*/ 1073944 w 1488282"/>
                    <a:gd name="connsiteY39" fmla="*/ 1590676 h 2544762"/>
                    <a:gd name="connsiteX40" fmla="*/ 1064419 w 1488282"/>
                    <a:gd name="connsiteY40" fmla="*/ 1628776 h 2544762"/>
                    <a:gd name="connsiteX41" fmla="*/ 1143000 w 1488282"/>
                    <a:gd name="connsiteY41" fmla="*/ 1600201 h 2544762"/>
                    <a:gd name="connsiteX42" fmla="*/ 1190626 w 1488282"/>
                    <a:gd name="connsiteY42" fmla="*/ 1678782 h 2544762"/>
                    <a:gd name="connsiteX43" fmla="*/ 1221582 w 1488282"/>
                    <a:gd name="connsiteY43" fmla="*/ 1743074 h 2544762"/>
                    <a:gd name="connsiteX44" fmla="*/ 1276351 w 1488282"/>
                    <a:gd name="connsiteY44" fmla="*/ 1724026 h 2544762"/>
                    <a:gd name="connsiteX45" fmla="*/ 1328738 w 1488282"/>
                    <a:gd name="connsiteY45" fmla="*/ 1723231 h 2544762"/>
                    <a:gd name="connsiteX46" fmla="*/ 1293019 w 1488282"/>
                    <a:gd name="connsiteY46" fmla="*/ 1531144 h 2544762"/>
                    <a:gd name="connsiteX47" fmla="*/ 1345407 w 1488282"/>
                    <a:gd name="connsiteY47" fmla="*/ 1443038 h 2544762"/>
                    <a:gd name="connsiteX48" fmla="*/ 1316832 w 1488282"/>
                    <a:gd name="connsiteY48" fmla="*/ 1388270 h 2544762"/>
                    <a:gd name="connsiteX49" fmla="*/ 1371600 w 1488282"/>
                    <a:gd name="connsiteY49" fmla="*/ 1381125 h 2544762"/>
                    <a:gd name="connsiteX50" fmla="*/ 1423988 w 1488282"/>
                    <a:gd name="connsiteY50" fmla="*/ 1302545 h 2544762"/>
                    <a:gd name="connsiteX51" fmla="*/ 1414463 w 1488282"/>
                    <a:gd name="connsiteY51" fmla="*/ 1254920 h 2544762"/>
                    <a:gd name="connsiteX52" fmla="*/ 1450976 w 1488282"/>
                    <a:gd name="connsiteY52" fmla="*/ 1246187 h 2544762"/>
                    <a:gd name="connsiteX53" fmla="*/ 1488282 w 1488282"/>
                    <a:gd name="connsiteY53" fmla="*/ 1190625 h 2544762"/>
                    <a:gd name="connsiteX54" fmla="*/ 1433513 w 1488282"/>
                    <a:gd name="connsiteY54" fmla="*/ 1007269 h 2544762"/>
                    <a:gd name="connsiteX55" fmla="*/ 1388270 w 1488282"/>
                    <a:gd name="connsiteY55" fmla="*/ 878682 h 2544762"/>
                    <a:gd name="connsiteX56" fmla="*/ 1421607 w 1488282"/>
                    <a:gd name="connsiteY56" fmla="*/ 804863 h 2544762"/>
                    <a:gd name="connsiteX57" fmla="*/ 1371601 w 1488282"/>
                    <a:gd name="connsiteY57" fmla="*/ 664370 h 2544762"/>
                    <a:gd name="connsiteX58" fmla="*/ 1312069 w 1488282"/>
                    <a:gd name="connsiteY58" fmla="*/ 604838 h 2544762"/>
                    <a:gd name="connsiteX59" fmla="*/ 1309688 w 1488282"/>
                    <a:gd name="connsiteY59" fmla="*/ 523876 h 2544762"/>
                    <a:gd name="connsiteX60" fmla="*/ 1290639 w 1488282"/>
                    <a:gd name="connsiteY60" fmla="*/ 445295 h 2544762"/>
                    <a:gd name="connsiteX61" fmla="*/ 1311275 w 1488282"/>
                    <a:gd name="connsiteY61" fmla="*/ 324644 h 2544762"/>
                    <a:gd name="connsiteX62" fmla="*/ 1159669 w 1488282"/>
                    <a:gd name="connsiteY62" fmla="*/ 0 h 2544762"/>
                    <a:gd name="connsiteX63" fmla="*/ 1073944 w 1488282"/>
                    <a:gd name="connsiteY63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840582 w 1488282"/>
                    <a:gd name="connsiteY8" fmla="*/ 528638 h 2544762"/>
                    <a:gd name="connsiteX9" fmla="*/ 819151 w 1488282"/>
                    <a:gd name="connsiteY9" fmla="*/ 590551 h 2544762"/>
                    <a:gd name="connsiteX10" fmla="*/ 778669 w 1488282"/>
                    <a:gd name="connsiteY10" fmla="*/ 569119 h 2544762"/>
                    <a:gd name="connsiteX11" fmla="*/ 697706 w 1488282"/>
                    <a:gd name="connsiteY11" fmla="*/ 654844 h 2544762"/>
                    <a:gd name="connsiteX12" fmla="*/ 266700 w 1488282"/>
                    <a:gd name="connsiteY12" fmla="*/ 364332 h 2544762"/>
                    <a:gd name="connsiteX13" fmla="*/ 0 w 1488282"/>
                    <a:gd name="connsiteY13" fmla="*/ 185739 h 2544762"/>
                    <a:gd name="connsiteX14" fmla="*/ 483395 w 1488282"/>
                    <a:gd name="connsiteY14" fmla="*/ 1045369 h 2544762"/>
                    <a:gd name="connsiteX15" fmla="*/ 435769 w 1488282"/>
                    <a:gd name="connsiteY15" fmla="*/ 1023938 h 2544762"/>
                    <a:gd name="connsiteX16" fmla="*/ 407194 w 1488282"/>
                    <a:gd name="connsiteY16" fmla="*/ 1090613 h 2544762"/>
                    <a:gd name="connsiteX17" fmla="*/ 218281 w 1488282"/>
                    <a:gd name="connsiteY17" fmla="*/ 1068387 h 2544762"/>
                    <a:gd name="connsiteX18" fmla="*/ 176213 w 1488282"/>
                    <a:gd name="connsiteY18" fmla="*/ 1083470 h 2544762"/>
                    <a:gd name="connsiteX19" fmla="*/ 185738 w 1488282"/>
                    <a:gd name="connsiteY19" fmla="*/ 1140620 h 2544762"/>
                    <a:gd name="connsiteX20" fmla="*/ 147638 w 1488282"/>
                    <a:gd name="connsiteY20" fmla="*/ 1188244 h 2544762"/>
                    <a:gd name="connsiteX21" fmla="*/ 147638 w 1488282"/>
                    <a:gd name="connsiteY21" fmla="*/ 1328738 h 2544762"/>
                    <a:gd name="connsiteX22" fmla="*/ 173832 w 1488282"/>
                    <a:gd name="connsiteY22" fmla="*/ 1432718 h 2544762"/>
                    <a:gd name="connsiteX23" fmla="*/ 304800 w 1488282"/>
                    <a:gd name="connsiteY23" fmla="*/ 1795464 h 2544762"/>
                    <a:gd name="connsiteX24" fmla="*/ 309563 w 1488282"/>
                    <a:gd name="connsiteY24" fmla="*/ 1971675 h 2544762"/>
                    <a:gd name="connsiteX25" fmla="*/ 254794 w 1488282"/>
                    <a:gd name="connsiteY25" fmla="*/ 2064545 h 2544762"/>
                    <a:gd name="connsiteX26" fmla="*/ 270669 w 1488282"/>
                    <a:gd name="connsiteY26" fmla="*/ 2228056 h 2544762"/>
                    <a:gd name="connsiteX27" fmla="*/ 385763 w 1488282"/>
                    <a:gd name="connsiteY27" fmla="*/ 2422524 h 2544762"/>
                    <a:gd name="connsiteX28" fmla="*/ 565944 w 1488282"/>
                    <a:gd name="connsiteY28" fmla="*/ 2544762 h 2544762"/>
                    <a:gd name="connsiteX29" fmla="*/ 728662 w 1488282"/>
                    <a:gd name="connsiteY29" fmla="*/ 2409825 h 2544762"/>
                    <a:gd name="connsiteX30" fmla="*/ 733425 w 1488282"/>
                    <a:gd name="connsiteY30" fmla="*/ 2336007 h 2544762"/>
                    <a:gd name="connsiteX31" fmla="*/ 797720 w 1488282"/>
                    <a:gd name="connsiteY31" fmla="*/ 2300288 h 2544762"/>
                    <a:gd name="connsiteX32" fmla="*/ 800100 w 1488282"/>
                    <a:gd name="connsiteY32" fmla="*/ 2183607 h 2544762"/>
                    <a:gd name="connsiteX33" fmla="*/ 757237 w 1488282"/>
                    <a:gd name="connsiteY33" fmla="*/ 2169320 h 2544762"/>
                    <a:gd name="connsiteX34" fmla="*/ 678657 w 1488282"/>
                    <a:gd name="connsiteY34" fmla="*/ 2014538 h 2544762"/>
                    <a:gd name="connsiteX35" fmla="*/ 621507 w 1488282"/>
                    <a:gd name="connsiteY35" fmla="*/ 1704975 h 2544762"/>
                    <a:gd name="connsiteX36" fmla="*/ 533401 w 1488282"/>
                    <a:gd name="connsiteY36" fmla="*/ 1638301 h 2544762"/>
                    <a:gd name="connsiteX37" fmla="*/ 714375 w 1488282"/>
                    <a:gd name="connsiteY37" fmla="*/ 1628775 h 2544762"/>
                    <a:gd name="connsiteX38" fmla="*/ 804863 w 1488282"/>
                    <a:gd name="connsiteY38" fmla="*/ 1540669 h 2544762"/>
                    <a:gd name="connsiteX39" fmla="*/ 1021557 w 1488282"/>
                    <a:gd name="connsiteY39" fmla="*/ 1543050 h 2544762"/>
                    <a:gd name="connsiteX40" fmla="*/ 1073944 w 1488282"/>
                    <a:gd name="connsiteY40" fmla="*/ 1590676 h 2544762"/>
                    <a:gd name="connsiteX41" fmla="*/ 1064419 w 1488282"/>
                    <a:gd name="connsiteY41" fmla="*/ 1628776 h 2544762"/>
                    <a:gd name="connsiteX42" fmla="*/ 1143000 w 1488282"/>
                    <a:gd name="connsiteY42" fmla="*/ 1600201 h 2544762"/>
                    <a:gd name="connsiteX43" fmla="*/ 1190626 w 1488282"/>
                    <a:gd name="connsiteY43" fmla="*/ 1678782 h 2544762"/>
                    <a:gd name="connsiteX44" fmla="*/ 1221582 w 1488282"/>
                    <a:gd name="connsiteY44" fmla="*/ 1743074 h 2544762"/>
                    <a:gd name="connsiteX45" fmla="*/ 1276351 w 1488282"/>
                    <a:gd name="connsiteY45" fmla="*/ 1724026 h 2544762"/>
                    <a:gd name="connsiteX46" fmla="*/ 1328738 w 1488282"/>
                    <a:gd name="connsiteY46" fmla="*/ 1723231 h 2544762"/>
                    <a:gd name="connsiteX47" fmla="*/ 1293019 w 1488282"/>
                    <a:gd name="connsiteY47" fmla="*/ 1531144 h 2544762"/>
                    <a:gd name="connsiteX48" fmla="*/ 1345407 w 1488282"/>
                    <a:gd name="connsiteY48" fmla="*/ 1443038 h 2544762"/>
                    <a:gd name="connsiteX49" fmla="*/ 1316832 w 1488282"/>
                    <a:gd name="connsiteY49" fmla="*/ 1388270 h 2544762"/>
                    <a:gd name="connsiteX50" fmla="*/ 1371600 w 1488282"/>
                    <a:gd name="connsiteY50" fmla="*/ 1381125 h 2544762"/>
                    <a:gd name="connsiteX51" fmla="*/ 1423988 w 1488282"/>
                    <a:gd name="connsiteY51" fmla="*/ 1302545 h 2544762"/>
                    <a:gd name="connsiteX52" fmla="*/ 1414463 w 1488282"/>
                    <a:gd name="connsiteY52" fmla="*/ 1254920 h 2544762"/>
                    <a:gd name="connsiteX53" fmla="*/ 1450976 w 1488282"/>
                    <a:gd name="connsiteY53" fmla="*/ 1246187 h 2544762"/>
                    <a:gd name="connsiteX54" fmla="*/ 1488282 w 1488282"/>
                    <a:gd name="connsiteY54" fmla="*/ 1190625 h 2544762"/>
                    <a:gd name="connsiteX55" fmla="*/ 1433513 w 1488282"/>
                    <a:gd name="connsiteY55" fmla="*/ 1007269 h 2544762"/>
                    <a:gd name="connsiteX56" fmla="*/ 1388270 w 1488282"/>
                    <a:gd name="connsiteY56" fmla="*/ 878682 h 2544762"/>
                    <a:gd name="connsiteX57" fmla="*/ 1421607 w 1488282"/>
                    <a:gd name="connsiteY57" fmla="*/ 804863 h 2544762"/>
                    <a:gd name="connsiteX58" fmla="*/ 1371601 w 1488282"/>
                    <a:gd name="connsiteY58" fmla="*/ 664370 h 2544762"/>
                    <a:gd name="connsiteX59" fmla="*/ 1312069 w 1488282"/>
                    <a:gd name="connsiteY59" fmla="*/ 604838 h 2544762"/>
                    <a:gd name="connsiteX60" fmla="*/ 1309688 w 1488282"/>
                    <a:gd name="connsiteY60" fmla="*/ 523876 h 2544762"/>
                    <a:gd name="connsiteX61" fmla="*/ 1290639 w 1488282"/>
                    <a:gd name="connsiteY61" fmla="*/ 445295 h 2544762"/>
                    <a:gd name="connsiteX62" fmla="*/ 1311275 w 1488282"/>
                    <a:gd name="connsiteY62" fmla="*/ 324644 h 2544762"/>
                    <a:gd name="connsiteX63" fmla="*/ 1159669 w 1488282"/>
                    <a:gd name="connsiteY63" fmla="*/ 0 h 2544762"/>
                    <a:gd name="connsiteX64" fmla="*/ 1073944 w 1488282"/>
                    <a:gd name="connsiteY64" fmla="*/ 153193 h 2544762"/>
                    <a:gd name="connsiteX0" fmla="*/ 1073944 w 1488282"/>
                    <a:gd name="connsiteY0" fmla="*/ 153193 h 2544762"/>
                    <a:gd name="connsiteX1" fmla="*/ 1054894 w 1488282"/>
                    <a:gd name="connsiteY1" fmla="*/ 221457 h 2544762"/>
                    <a:gd name="connsiteX2" fmla="*/ 1092994 w 1488282"/>
                    <a:gd name="connsiteY2" fmla="*/ 288132 h 2544762"/>
                    <a:gd name="connsiteX3" fmla="*/ 1064420 w 1488282"/>
                    <a:gd name="connsiteY3" fmla="*/ 352426 h 2544762"/>
                    <a:gd name="connsiteX4" fmla="*/ 976313 w 1488282"/>
                    <a:gd name="connsiteY4" fmla="*/ 373857 h 2544762"/>
                    <a:gd name="connsiteX5" fmla="*/ 942975 w 1488282"/>
                    <a:gd name="connsiteY5" fmla="*/ 407194 h 2544762"/>
                    <a:gd name="connsiteX6" fmla="*/ 978693 w 1488282"/>
                    <a:gd name="connsiteY6" fmla="*/ 431007 h 2544762"/>
                    <a:gd name="connsiteX7" fmla="*/ 864394 w 1488282"/>
                    <a:gd name="connsiteY7" fmla="*/ 502445 h 2544762"/>
                    <a:gd name="connsiteX8" fmla="*/ 840582 w 1488282"/>
                    <a:gd name="connsiteY8" fmla="*/ 528638 h 2544762"/>
                    <a:gd name="connsiteX9" fmla="*/ 819151 w 1488282"/>
                    <a:gd name="connsiteY9" fmla="*/ 590551 h 2544762"/>
                    <a:gd name="connsiteX10" fmla="*/ 778669 w 1488282"/>
                    <a:gd name="connsiteY10" fmla="*/ 569119 h 2544762"/>
                    <a:gd name="connsiteX11" fmla="*/ 697706 w 1488282"/>
                    <a:gd name="connsiteY11" fmla="*/ 654844 h 2544762"/>
                    <a:gd name="connsiteX12" fmla="*/ 683419 w 1488282"/>
                    <a:gd name="connsiteY12" fmla="*/ 728664 h 2544762"/>
                    <a:gd name="connsiteX13" fmla="*/ 0 w 1488282"/>
                    <a:gd name="connsiteY13" fmla="*/ 185739 h 2544762"/>
                    <a:gd name="connsiteX14" fmla="*/ 483395 w 1488282"/>
                    <a:gd name="connsiteY14" fmla="*/ 1045369 h 2544762"/>
                    <a:gd name="connsiteX15" fmla="*/ 435769 w 1488282"/>
                    <a:gd name="connsiteY15" fmla="*/ 1023938 h 2544762"/>
                    <a:gd name="connsiteX16" fmla="*/ 407194 w 1488282"/>
                    <a:gd name="connsiteY16" fmla="*/ 1090613 h 2544762"/>
                    <a:gd name="connsiteX17" fmla="*/ 218281 w 1488282"/>
                    <a:gd name="connsiteY17" fmla="*/ 1068387 h 2544762"/>
                    <a:gd name="connsiteX18" fmla="*/ 176213 w 1488282"/>
                    <a:gd name="connsiteY18" fmla="*/ 1083470 h 2544762"/>
                    <a:gd name="connsiteX19" fmla="*/ 185738 w 1488282"/>
                    <a:gd name="connsiteY19" fmla="*/ 1140620 h 2544762"/>
                    <a:gd name="connsiteX20" fmla="*/ 147638 w 1488282"/>
                    <a:gd name="connsiteY20" fmla="*/ 1188244 h 2544762"/>
                    <a:gd name="connsiteX21" fmla="*/ 147638 w 1488282"/>
                    <a:gd name="connsiteY21" fmla="*/ 1328738 h 2544762"/>
                    <a:gd name="connsiteX22" fmla="*/ 173832 w 1488282"/>
                    <a:gd name="connsiteY22" fmla="*/ 1432718 h 2544762"/>
                    <a:gd name="connsiteX23" fmla="*/ 304800 w 1488282"/>
                    <a:gd name="connsiteY23" fmla="*/ 1795464 h 2544762"/>
                    <a:gd name="connsiteX24" fmla="*/ 309563 w 1488282"/>
                    <a:gd name="connsiteY24" fmla="*/ 1971675 h 2544762"/>
                    <a:gd name="connsiteX25" fmla="*/ 254794 w 1488282"/>
                    <a:gd name="connsiteY25" fmla="*/ 2064545 h 2544762"/>
                    <a:gd name="connsiteX26" fmla="*/ 270669 w 1488282"/>
                    <a:gd name="connsiteY26" fmla="*/ 2228056 h 2544762"/>
                    <a:gd name="connsiteX27" fmla="*/ 385763 w 1488282"/>
                    <a:gd name="connsiteY27" fmla="*/ 2422524 h 2544762"/>
                    <a:gd name="connsiteX28" fmla="*/ 565944 w 1488282"/>
                    <a:gd name="connsiteY28" fmla="*/ 2544762 h 2544762"/>
                    <a:gd name="connsiteX29" fmla="*/ 728662 w 1488282"/>
                    <a:gd name="connsiteY29" fmla="*/ 2409825 h 2544762"/>
                    <a:gd name="connsiteX30" fmla="*/ 733425 w 1488282"/>
                    <a:gd name="connsiteY30" fmla="*/ 2336007 h 2544762"/>
                    <a:gd name="connsiteX31" fmla="*/ 797720 w 1488282"/>
                    <a:gd name="connsiteY31" fmla="*/ 2300288 h 2544762"/>
                    <a:gd name="connsiteX32" fmla="*/ 800100 w 1488282"/>
                    <a:gd name="connsiteY32" fmla="*/ 2183607 h 2544762"/>
                    <a:gd name="connsiteX33" fmla="*/ 757237 w 1488282"/>
                    <a:gd name="connsiteY33" fmla="*/ 2169320 h 2544762"/>
                    <a:gd name="connsiteX34" fmla="*/ 678657 w 1488282"/>
                    <a:gd name="connsiteY34" fmla="*/ 2014538 h 2544762"/>
                    <a:gd name="connsiteX35" fmla="*/ 621507 w 1488282"/>
                    <a:gd name="connsiteY35" fmla="*/ 1704975 h 2544762"/>
                    <a:gd name="connsiteX36" fmla="*/ 533401 w 1488282"/>
                    <a:gd name="connsiteY36" fmla="*/ 1638301 h 2544762"/>
                    <a:gd name="connsiteX37" fmla="*/ 714375 w 1488282"/>
                    <a:gd name="connsiteY37" fmla="*/ 1628775 h 2544762"/>
                    <a:gd name="connsiteX38" fmla="*/ 804863 w 1488282"/>
                    <a:gd name="connsiteY38" fmla="*/ 1540669 h 2544762"/>
                    <a:gd name="connsiteX39" fmla="*/ 1021557 w 1488282"/>
                    <a:gd name="connsiteY39" fmla="*/ 1543050 h 2544762"/>
                    <a:gd name="connsiteX40" fmla="*/ 1073944 w 1488282"/>
                    <a:gd name="connsiteY40" fmla="*/ 1590676 h 2544762"/>
                    <a:gd name="connsiteX41" fmla="*/ 1064419 w 1488282"/>
                    <a:gd name="connsiteY41" fmla="*/ 1628776 h 2544762"/>
                    <a:gd name="connsiteX42" fmla="*/ 1143000 w 1488282"/>
                    <a:gd name="connsiteY42" fmla="*/ 1600201 h 2544762"/>
                    <a:gd name="connsiteX43" fmla="*/ 1190626 w 1488282"/>
                    <a:gd name="connsiteY43" fmla="*/ 1678782 h 2544762"/>
                    <a:gd name="connsiteX44" fmla="*/ 1221582 w 1488282"/>
                    <a:gd name="connsiteY44" fmla="*/ 1743074 h 2544762"/>
                    <a:gd name="connsiteX45" fmla="*/ 1276351 w 1488282"/>
                    <a:gd name="connsiteY45" fmla="*/ 1724026 h 2544762"/>
                    <a:gd name="connsiteX46" fmla="*/ 1328738 w 1488282"/>
                    <a:gd name="connsiteY46" fmla="*/ 1723231 h 2544762"/>
                    <a:gd name="connsiteX47" fmla="*/ 1293019 w 1488282"/>
                    <a:gd name="connsiteY47" fmla="*/ 1531144 h 2544762"/>
                    <a:gd name="connsiteX48" fmla="*/ 1345407 w 1488282"/>
                    <a:gd name="connsiteY48" fmla="*/ 1443038 h 2544762"/>
                    <a:gd name="connsiteX49" fmla="*/ 1316832 w 1488282"/>
                    <a:gd name="connsiteY49" fmla="*/ 1388270 h 2544762"/>
                    <a:gd name="connsiteX50" fmla="*/ 1371600 w 1488282"/>
                    <a:gd name="connsiteY50" fmla="*/ 1381125 h 2544762"/>
                    <a:gd name="connsiteX51" fmla="*/ 1423988 w 1488282"/>
                    <a:gd name="connsiteY51" fmla="*/ 1302545 h 2544762"/>
                    <a:gd name="connsiteX52" fmla="*/ 1414463 w 1488282"/>
                    <a:gd name="connsiteY52" fmla="*/ 1254920 h 2544762"/>
                    <a:gd name="connsiteX53" fmla="*/ 1450976 w 1488282"/>
                    <a:gd name="connsiteY53" fmla="*/ 1246187 h 2544762"/>
                    <a:gd name="connsiteX54" fmla="*/ 1488282 w 1488282"/>
                    <a:gd name="connsiteY54" fmla="*/ 1190625 h 2544762"/>
                    <a:gd name="connsiteX55" fmla="*/ 1433513 w 1488282"/>
                    <a:gd name="connsiteY55" fmla="*/ 1007269 h 2544762"/>
                    <a:gd name="connsiteX56" fmla="*/ 1388270 w 1488282"/>
                    <a:gd name="connsiteY56" fmla="*/ 878682 h 2544762"/>
                    <a:gd name="connsiteX57" fmla="*/ 1421607 w 1488282"/>
                    <a:gd name="connsiteY57" fmla="*/ 804863 h 2544762"/>
                    <a:gd name="connsiteX58" fmla="*/ 1371601 w 1488282"/>
                    <a:gd name="connsiteY58" fmla="*/ 664370 h 2544762"/>
                    <a:gd name="connsiteX59" fmla="*/ 1312069 w 1488282"/>
                    <a:gd name="connsiteY59" fmla="*/ 604838 h 2544762"/>
                    <a:gd name="connsiteX60" fmla="*/ 1309688 w 1488282"/>
                    <a:gd name="connsiteY60" fmla="*/ 523876 h 2544762"/>
                    <a:gd name="connsiteX61" fmla="*/ 1290639 w 1488282"/>
                    <a:gd name="connsiteY61" fmla="*/ 445295 h 2544762"/>
                    <a:gd name="connsiteX62" fmla="*/ 1311275 w 1488282"/>
                    <a:gd name="connsiteY62" fmla="*/ 324644 h 2544762"/>
                    <a:gd name="connsiteX63" fmla="*/ 1159669 w 1488282"/>
                    <a:gd name="connsiteY63" fmla="*/ 0 h 2544762"/>
                    <a:gd name="connsiteX64" fmla="*/ 1073944 w 1488282"/>
                    <a:gd name="connsiteY64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407194 w 1340644"/>
                    <a:gd name="connsiteY13" fmla="*/ 995364 h 2544762"/>
                    <a:gd name="connsiteX14" fmla="*/ 335757 w 1340644"/>
                    <a:gd name="connsiteY14" fmla="*/ 1045369 h 2544762"/>
                    <a:gd name="connsiteX15" fmla="*/ 288131 w 1340644"/>
                    <a:gd name="connsiteY15" fmla="*/ 1023938 h 2544762"/>
                    <a:gd name="connsiteX16" fmla="*/ 259556 w 1340644"/>
                    <a:gd name="connsiteY16" fmla="*/ 1090613 h 2544762"/>
                    <a:gd name="connsiteX17" fmla="*/ 70643 w 1340644"/>
                    <a:gd name="connsiteY17" fmla="*/ 1068387 h 2544762"/>
                    <a:gd name="connsiteX18" fmla="*/ 28575 w 1340644"/>
                    <a:gd name="connsiteY18" fmla="*/ 1083470 h 2544762"/>
                    <a:gd name="connsiteX19" fmla="*/ 38100 w 1340644"/>
                    <a:gd name="connsiteY19" fmla="*/ 1140620 h 2544762"/>
                    <a:gd name="connsiteX20" fmla="*/ 0 w 1340644"/>
                    <a:gd name="connsiteY20" fmla="*/ 1188244 h 2544762"/>
                    <a:gd name="connsiteX21" fmla="*/ 0 w 1340644"/>
                    <a:gd name="connsiteY21" fmla="*/ 1328738 h 2544762"/>
                    <a:gd name="connsiteX22" fmla="*/ 26194 w 1340644"/>
                    <a:gd name="connsiteY22" fmla="*/ 1432718 h 2544762"/>
                    <a:gd name="connsiteX23" fmla="*/ 157162 w 1340644"/>
                    <a:gd name="connsiteY23" fmla="*/ 1795464 h 2544762"/>
                    <a:gd name="connsiteX24" fmla="*/ 161925 w 1340644"/>
                    <a:gd name="connsiteY24" fmla="*/ 1971675 h 2544762"/>
                    <a:gd name="connsiteX25" fmla="*/ 107156 w 1340644"/>
                    <a:gd name="connsiteY25" fmla="*/ 2064545 h 2544762"/>
                    <a:gd name="connsiteX26" fmla="*/ 123031 w 1340644"/>
                    <a:gd name="connsiteY26" fmla="*/ 2228056 h 2544762"/>
                    <a:gd name="connsiteX27" fmla="*/ 238125 w 1340644"/>
                    <a:gd name="connsiteY27" fmla="*/ 2422524 h 2544762"/>
                    <a:gd name="connsiteX28" fmla="*/ 418306 w 1340644"/>
                    <a:gd name="connsiteY28" fmla="*/ 2544762 h 2544762"/>
                    <a:gd name="connsiteX29" fmla="*/ 581024 w 1340644"/>
                    <a:gd name="connsiteY29" fmla="*/ 2409825 h 2544762"/>
                    <a:gd name="connsiteX30" fmla="*/ 585787 w 1340644"/>
                    <a:gd name="connsiteY30" fmla="*/ 2336007 h 2544762"/>
                    <a:gd name="connsiteX31" fmla="*/ 650082 w 1340644"/>
                    <a:gd name="connsiteY31" fmla="*/ 2300288 h 2544762"/>
                    <a:gd name="connsiteX32" fmla="*/ 652462 w 1340644"/>
                    <a:gd name="connsiteY32" fmla="*/ 2183607 h 2544762"/>
                    <a:gd name="connsiteX33" fmla="*/ 609599 w 1340644"/>
                    <a:gd name="connsiteY33" fmla="*/ 2169320 h 2544762"/>
                    <a:gd name="connsiteX34" fmla="*/ 531019 w 1340644"/>
                    <a:gd name="connsiteY34" fmla="*/ 2014538 h 2544762"/>
                    <a:gd name="connsiteX35" fmla="*/ 473869 w 1340644"/>
                    <a:gd name="connsiteY35" fmla="*/ 1704975 h 2544762"/>
                    <a:gd name="connsiteX36" fmla="*/ 385763 w 1340644"/>
                    <a:gd name="connsiteY36" fmla="*/ 1638301 h 2544762"/>
                    <a:gd name="connsiteX37" fmla="*/ 566737 w 1340644"/>
                    <a:gd name="connsiteY37" fmla="*/ 1628775 h 2544762"/>
                    <a:gd name="connsiteX38" fmla="*/ 657225 w 1340644"/>
                    <a:gd name="connsiteY38" fmla="*/ 1540669 h 2544762"/>
                    <a:gd name="connsiteX39" fmla="*/ 873919 w 1340644"/>
                    <a:gd name="connsiteY39" fmla="*/ 1543050 h 2544762"/>
                    <a:gd name="connsiteX40" fmla="*/ 926306 w 1340644"/>
                    <a:gd name="connsiteY40" fmla="*/ 1590676 h 2544762"/>
                    <a:gd name="connsiteX41" fmla="*/ 916781 w 1340644"/>
                    <a:gd name="connsiteY41" fmla="*/ 1628776 h 2544762"/>
                    <a:gd name="connsiteX42" fmla="*/ 995362 w 1340644"/>
                    <a:gd name="connsiteY42" fmla="*/ 1600201 h 2544762"/>
                    <a:gd name="connsiteX43" fmla="*/ 1042988 w 1340644"/>
                    <a:gd name="connsiteY43" fmla="*/ 1678782 h 2544762"/>
                    <a:gd name="connsiteX44" fmla="*/ 1073944 w 1340644"/>
                    <a:gd name="connsiteY44" fmla="*/ 1743074 h 2544762"/>
                    <a:gd name="connsiteX45" fmla="*/ 1128713 w 1340644"/>
                    <a:gd name="connsiteY45" fmla="*/ 1724026 h 2544762"/>
                    <a:gd name="connsiteX46" fmla="*/ 1181100 w 1340644"/>
                    <a:gd name="connsiteY46" fmla="*/ 1723231 h 2544762"/>
                    <a:gd name="connsiteX47" fmla="*/ 1145381 w 1340644"/>
                    <a:gd name="connsiteY47" fmla="*/ 1531144 h 2544762"/>
                    <a:gd name="connsiteX48" fmla="*/ 1197769 w 1340644"/>
                    <a:gd name="connsiteY48" fmla="*/ 1443038 h 2544762"/>
                    <a:gd name="connsiteX49" fmla="*/ 1169194 w 1340644"/>
                    <a:gd name="connsiteY49" fmla="*/ 1388270 h 2544762"/>
                    <a:gd name="connsiteX50" fmla="*/ 1223962 w 1340644"/>
                    <a:gd name="connsiteY50" fmla="*/ 1381125 h 2544762"/>
                    <a:gd name="connsiteX51" fmla="*/ 1276350 w 1340644"/>
                    <a:gd name="connsiteY51" fmla="*/ 1302545 h 2544762"/>
                    <a:gd name="connsiteX52" fmla="*/ 1266825 w 1340644"/>
                    <a:gd name="connsiteY52" fmla="*/ 1254920 h 2544762"/>
                    <a:gd name="connsiteX53" fmla="*/ 1303338 w 1340644"/>
                    <a:gd name="connsiteY53" fmla="*/ 1246187 h 2544762"/>
                    <a:gd name="connsiteX54" fmla="*/ 1340644 w 1340644"/>
                    <a:gd name="connsiteY54" fmla="*/ 1190625 h 2544762"/>
                    <a:gd name="connsiteX55" fmla="*/ 1285875 w 1340644"/>
                    <a:gd name="connsiteY55" fmla="*/ 1007269 h 2544762"/>
                    <a:gd name="connsiteX56" fmla="*/ 1240632 w 1340644"/>
                    <a:gd name="connsiteY56" fmla="*/ 878682 h 2544762"/>
                    <a:gd name="connsiteX57" fmla="*/ 1273969 w 1340644"/>
                    <a:gd name="connsiteY57" fmla="*/ 804863 h 2544762"/>
                    <a:gd name="connsiteX58" fmla="*/ 1223963 w 1340644"/>
                    <a:gd name="connsiteY58" fmla="*/ 664370 h 2544762"/>
                    <a:gd name="connsiteX59" fmla="*/ 1164431 w 1340644"/>
                    <a:gd name="connsiteY59" fmla="*/ 604838 h 2544762"/>
                    <a:gd name="connsiteX60" fmla="*/ 1162050 w 1340644"/>
                    <a:gd name="connsiteY60" fmla="*/ 523876 h 2544762"/>
                    <a:gd name="connsiteX61" fmla="*/ 1143001 w 1340644"/>
                    <a:gd name="connsiteY61" fmla="*/ 445295 h 2544762"/>
                    <a:gd name="connsiteX62" fmla="*/ 1163637 w 1340644"/>
                    <a:gd name="connsiteY62" fmla="*/ 324644 h 2544762"/>
                    <a:gd name="connsiteX63" fmla="*/ 1012031 w 1340644"/>
                    <a:gd name="connsiteY63" fmla="*/ 0 h 2544762"/>
                    <a:gd name="connsiteX64" fmla="*/ 926306 w 1340644"/>
                    <a:gd name="connsiteY64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426244 w 1340644"/>
                    <a:gd name="connsiteY13" fmla="*/ 947738 h 2544762"/>
                    <a:gd name="connsiteX14" fmla="*/ 407194 w 1340644"/>
                    <a:gd name="connsiteY14" fmla="*/ 995364 h 2544762"/>
                    <a:gd name="connsiteX15" fmla="*/ 335757 w 1340644"/>
                    <a:gd name="connsiteY15" fmla="*/ 1045369 h 2544762"/>
                    <a:gd name="connsiteX16" fmla="*/ 288131 w 1340644"/>
                    <a:gd name="connsiteY16" fmla="*/ 1023938 h 2544762"/>
                    <a:gd name="connsiteX17" fmla="*/ 259556 w 1340644"/>
                    <a:gd name="connsiteY17" fmla="*/ 1090613 h 2544762"/>
                    <a:gd name="connsiteX18" fmla="*/ 70643 w 1340644"/>
                    <a:gd name="connsiteY18" fmla="*/ 1068387 h 2544762"/>
                    <a:gd name="connsiteX19" fmla="*/ 28575 w 1340644"/>
                    <a:gd name="connsiteY19" fmla="*/ 1083470 h 2544762"/>
                    <a:gd name="connsiteX20" fmla="*/ 38100 w 1340644"/>
                    <a:gd name="connsiteY20" fmla="*/ 1140620 h 2544762"/>
                    <a:gd name="connsiteX21" fmla="*/ 0 w 1340644"/>
                    <a:gd name="connsiteY21" fmla="*/ 1188244 h 2544762"/>
                    <a:gd name="connsiteX22" fmla="*/ 0 w 1340644"/>
                    <a:gd name="connsiteY22" fmla="*/ 1328738 h 2544762"/>
                    <a:gd name="connsiteX23" fmla="*/ 26194 w 1340644"/>
                    <a:gd name="connsiteY23" fmla="*/ 1432718 h 2544762"/>
                    <a:gd name="connsiteX24" fmla="*/ 157162 w 1340644"/>
                    <a:gd name="connsiteY24" fmla="*/ 1795464 h 2544762"/>
                    <a:gd name="connsiteX25" fmla="*/ 161925 w 1340644"/>
                    <a:gd name="connsiteY25" fmla="*/ 1971675 h 2544762"/>
                    <a:gd name="connsiteX26" fmla="*/ 107156 w 1340644"/>
                    <a:gd name="connsiteY26" fmla="*/ 2064545 h 2544762"/>
                    <a:gd name="connsiteX27" fmla="*/ 123031 w 1340644"/>
                    <a:gd name="connsiteY27" fmla="*/ 2228056 h 2544762"/>
                    <a:gd name="connsiteX28" fmla="*/ 238125 w 1340644"/>
                    <a:gd name="connsiteY28" fmla="*/ 2422524 h 2544762"/>
                    <a:gd name="connsiteX29" fmla="*/ 418306 w 1340644"/>
                    <a:gd name="connsiteY29" fmla="*/ 2544762 h 2544762"/>
                    <a:gd name="connsiteX30" fmla="*/ 581024 w 1340644"/>
                    <a:gd name="connsiteY30" fmla="*/ 2409825 h 2544762"/>
                    <a:gd name="connsiteX31" fmla="*/ 585787 w 1340644"/>
                    <a:gd name="connsiteY31" fmla="*/ 2336007 h 2544762"/>
                    <a:gd name="connsiteX32" fmla="*/ 650082 w 1340644"/>
                    <a:gd name="connsiteY32" fmla="*/ 2300288 h 2544762"/>
                    <a:gd name="connsiteX33" fmla="*/ 652462 w 1340644"/>
                    <a:gd name="connsiteY33" fmla="*/ 2183607 h 2544762"/>
                    <a:gd name="connsiteX34" fmla="*/ 609599 w 1340644"/>
                    <a:gd name="connsiteY34" fmla="*/ 2169320 h 2544762"/>
                    <a:gd name="connsiteX35" fmla="*/ 531019 w 1340644"/>
                    <a:gd name="connsiteY35" fmla="*/ 2014538 h 2544762"/>
                    <a:gd name="connsiteX36" fmla="*/ 473869 w 1340644"/>
                    <a:gd name="connsiteY36" fmla="*/ 1704975 h 2544762"/>
                    <a:gd name="connsiteX37" fmla="*/ 385763 w 1340644"/>
                    <a:gd name="connsiteY37" fmla="*/ 1638301 h 2544762"/>
                    <a:gd name="connsiteX38" fmla="*/ 566737 w 1340644"/>
                    <a:gd name="connsiteY38" fmla="*/ 1628775 h 2544762"/>
                    <a:gd name="connsiteX39" fmla="*/ 657225 w 1340644"/>
                    <a:gd name="connsiteY39" fmla="*/ 1540669 h 2544762"/>
                    <a:gd name="connsiteX40" fmla="*/ 873919 w 1340644"/>
                    <a:gd name="connsiteY40" fmla="*/ 1543050 h 2544762"/>
                    <a:gd name="connsiteX41" fmla="*/ 926306 w 1340644"/>
                    <a:gd name="connsiteY41" fmla="*/ 1590676 h 2544762"/>
                    <a:gd name="connsiteX42" fmla="*/ 916781 w 1340644"/>
                    <a:gd name="connsiteY42" fmla="*/ 1628776 h 2544762"/>
                    <a:gd name="connsiteX43" fmla="*/ 995362 w 1340644"/>
                    <a:gd name="connsiteY43" fmla="*/ 1600201 h 2544762"/>
                    <a:gd name="connsiteX44" fmla="*/ 1042988 w 1340644"/>
                    <a:gd name="connsiteY44" fmla="*/ 1678782 h 2544762"/>
                    <a:gd name="connsiteX45" fmla="*/ 1073944 w 1340644"/>
                    <a:gd name="connsiteY45" fmla="*/ 1743074 h 2544762"/>
                    <a:gd name="connsiteX46" fmla="*/ 1128713 w 1340644"/>
                    <a:gd name="connsiteY46" fmla="*/ 1724026 h 2544762"/>
                    <a:gd name="connsiteX47" fmla="*/ 1181100 w 1340644"/>
                    <a:gd name="connsiteY47" fmla="*/ 1723231 h 2544762"/>
                    <a:gd name="connsiteX48" fmla="*/ 1145381 w 1340644"/>
                    <a:gd name="connsiteY48" fmla="*/ 1531144 h 2544762"/>
                    <a:gd name="connsiteX49" fmla="*/ 1197769 w 1340644"/>
                    <a:gd name="connsiteY49" fmla="*/ 1443038 h 2544762"/>
                    <a:gd name="connsiteX50" fmla="*/ 1169194 w 1340644"/>
                    <a:gd name="connsiteY50" fmla="*/ 1388270 h 2544762"/>
                    <a:gd name="connsiteX51" fmla="*/ 1223962 w 1340644"/>
                    <a:gd name="connsiteY51" fmla="*/ 1381125 h 2544762"/>
                    <a:gd name="connsiteX52" fmla="*/ 1276350 w 1340644"/>
                    <a:gd name="connsiteY52" fmla="*/ 1302545 h 2544762"/>
                    <a:gd name="connsiteX53" fmla="*/ 1266825 w 1340644"/>
                    <a:gd name="connsiteY53" fmla="*/ 1254920 h 2544762"/>
                    <a:gd name="connsiteX54" fmla="*/ 1303338 w 1340644"/>
                    <a:gd name="connsiteY54" fmla="*/ 1246187 h 2544762"/>
                    <a:gd name="connsiteX55" fmla="*/ 1340644 w 1340644"/>
                    <a:gd name="connsiteY55" fmla="*/ 1190625 h 2544762"/>
                    <a:gd name="connsiteX56" fmla="*/ 1285875 w 1340644"/>
                    <a:gd name="connsiteY56" fmla="*/ 1007269 h 2544762"/>
                    <a:gd name="connsiteX57" fmla="*/ 1240632 w 1340644"/>
                    <a:gd name="connsiteY57" fmla="*/ 878682 h 2544762"/>
                    <a:gd name="connsiteX58" fmla="*/ 1273969 w 1340644"/>
                    <a:gd name="connsiteY58" fmla="*/ 804863 h 2544762"/>
                    <a:gd name="connsiteX59" fmla="*/ 1223963 w 1340644"/>
                    <a:gd name="connsiteY59" fmla="*/ 664370 h 2544762"/>
                    <a:gd name="connsiteX60" fmla="*/ 1164431 w 1340644"/>
                    <a:gd name="connsiteY60" fmla="*/ 604838 h 2544762"/>
                    <a:gd name="connsiteX61" fmla="*/ 1162050 w 1340644"/>
                    <a:gd name="connsiteY61" fmla="*/ 523876 h 2544762"/>
                    <a:gd name="connsiteX62" fmla="*/ 1143001 w 1340644"/>
                    <a:gd name="connsiteY62" fmla="*/ 445295 h 2544762"/>
                    <a:gd name="connsiteX63" fmla="*/ 1163637 w 1340644"/>
                    <a:gd name="connsiteY63" fmla="*/ 324644 h 2544762"/>
                    <a:gd name="connsiteX64" fmla="*/ 1012031 w 1340644"/>
                    <a:gd name="connsiteY64" fmla="*/ 0 h 2544762"/>
                    <a:gd name="connsiteX65" fmla="*/ 926306 w 1340644"/>
                    <a:gd name="connsiteY65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359569 w 1340644"/>
                    <a:gd name="connsiteY13" fmla="*/ 957263 h 2544762"/>
                    <a:gd name="connsiteX14" fmla="*/ 407194 w 1340644"/>
                    <a:gd name="connsiteY14" fmla="*/ 995364 h 2544762"/>
                    <a:gd name="connsiteX15" fmla="*/ 335757 w 1340644"/>
                    <a:gd name="connsiteY15" fmla="*/ 1045369 h 2544762"/>
                    <a:gd name="connsiteX16" fmla="*/ 288131 w 1340644"/>
                    <a:gd name="connsiteY16" fmla="*/ 1023938 h 2544762"/>
                    <a:gd name="connsiteX17" fmla="*/ 259556 w 1340644"/>
                    <a:gd name="connsiteY17" fmla="*/ 1090613 h 2544762"/>
                    <a:gd name="connsiteX18" fmla="*/ 70643 w 1340644"/>
                    <a:gd name="connsiteY18" fmla="*/ 1068387 h 2544762"/>
                    <a:gd name="connsiteX19" fmla="*/ 28575 w 1340644"/>
                    <a:gd name="connsiteY19" fmla="*/ 1083470 h 2544762"/>
                    <a:gd name="connsiteX20" fmla="*/ 38100 w 1340644"/>
                    <a:gd name="connsiteY20" fmla="*/ 1140620 h 2544762"/>
                    <a:gd name="connsiteX21" fmla="*/ 0 w 1340644"/>
                    <a:gd name="connsiteY21" fmla="*/ 1188244 h 2544762"/>
                    <a:gd name="connsiteX22" fmla="*/ 0 w 1340644"/>
                    <a:gd name="connsiteY22" fmla="*/ 1328738 h 2544762"/>
                    <a:gd name="connsiteX23" fmla="*/ 26194 w 1340644"/>
                    <a:gd name="connsiteY23" fmla="*/ 1432718 h 2544762"/>
                    <a:gd name="connsiteX24" fmla="*/ 157162 w 1340644"/>
                    <a:gd name="connsiteY24" fmla="*/ 1795464 h 2544762"/>
                    <a:gd name="connsiteX25" fmla="*/ 161925 w 1340644"/>
                    <a:gd name="connsiteY25" fmla="*/ 1971675 h 2544762"/>
                    <a:gd name="connsiteX26" fmla="*/ 107156 w 1340644"/>
                    <a:gd name="connsiteY26" fmla="*/ 2064545 h 2544762"/>
                    <a:gd name="connsiteX27" fmla="*/ 123031 w 1340644"/>
                    <a:gd name="connsiteY27" fmla="*/ 2228056 h 2544762"/>
                    <a:gd name="connsiteX28" fmla="*/ 238125 w 1340644"/>
                    <a:gd name="connsiteY28" fmla="*/ 2422524 h 2544762"/>
                    <a:gd name="connsiteX29" fmla="*/ 418306 w 1340644"/>
                    <a:gd name="connsiteY29" fmla="*/ 2544762 h 2544762"/>
                    <a:gd name="connsiteX30" fmla="*/ 581024 w 1340644"/>
                    <a:gd name="connsiteY30" fmla="*/ 2409825 h 2544762"/>
                    <a:gd name="connsiteX31" fmla="*/ 585787 w 1340644"/>
                    <a:gd name="connsiteY31" fmla="*/ 2336007 h 2544762"/>
                    <a:gd name="connsiteX32" fmla="*/ 650082 w 1340644"/>
                    <a:gd name="connsiteY32" fmla="*/ 2300288 h 2544762"/>
                    <a:gd name="connsiteX33" fmla="*/ 652462 w 1340644"/>
                    <a:gd name="connsiteY33" fmla="*/ 2183607 h 2544762"/>
                    <a:gd name="connsiteX34" fmla="*/ 609599 w 1340644"/>
                    <a:gd name="connsiteY34" fmla="*/ 2169320 h 2544762"/>
                    <a:gd name="connsiteX35" fmla="*/ 531019 w 1340644"/>
                    <a:gd name="connsiteY35" fmla="*/ 2014538 h 2544762"/>
                    <a:gd name="connsiteX36" fmla="*/ 473869 w 1340644"/>
                    <a:gd name="connsiteY36" fmla="*/ 1704975 h 2544762"/>
                    <a:gd name="connsiteX37" fmla="*/ 385763 w 1340644"/>
                    <a:gd name="connsiteY37" fmla="*/ 1638301 h 2544762"/>
                    <a:gd name="connsiteX38" fmla="*/ 566737 w 1340644"/>
                    <a:gd name="connsiteY38" fmla="*/ 1628775 h 2544762"/>
                    <a:gd name="connsiteX39" fmla="*/ 657225 w 1340644"/>
                    <a:gd name="connsiteY39" fmla="*/ 1540669 h 2544762"/>
                    <a:gd name="connsiteX40" fmla="*/ 873919 w 1340644"/>
                    <a:gd name="connsiteY40" fmla="*/ 1543050 h 2544762"/>
                    <a:gd name="connsiteX41" fmla="*/ 926306 w 1340644"/>
                    <a:gd name="connsiteY41" fmla="*/ 1590676 h 2544762"/>
                    <a:gd name="connsiteX42" fmla="*/ 916781 w 1340644"/>
                    <a:gd name="connsiteY42" fmla="*/ 1628776 h 2544762"/>
                    <a:gd name="connsiteX43" fmla="*/ 995362 w 1340644"/>
                    <a:gd name="connsiteY43" fmla="*/ 1600201 h 2544762"/>
                    <a:gd name="connsiteX44" fmla="*/ 1042988 w 1340644"/>
                    <a:gd name="connsiteY44" fmla="*/ 1678782 h 2544762"/>
                    <a:gd name="connsiteX45" fmla="*/ 1073944 w 1340644"/>
                    <a:gd name="connsiteY45" fmla="*/ 1743074 h 2544762"/>
                    <a:gd name="connsiteX46" fmla="*/ 1128713 w 1340644"/>
                    <a:gd name="connsiteY46" fmla="*/ 1724026 h 2544762"/>
                    <a:gd name="connsiteX47" fmla="*/ 1181100 w 1340644"/>
                    <a:gd name="connsiteY47" fmla="*/ 1723231 h 2544762"/>
                    <a:gd name="connsiteX48" fmla="*/ 1145381 w 1340644"/>
                    <a:gd name="connsiteY48" fmla="*/ 1531144 h 2544762"/>
                    <a:gd name="connsiteX49" fmla="*/ 1197769 w 1340644"/>
                    <a:gd name="connsiteY49" fmla="*/ 1443038 h 2544762"/>
                    <a:gd name="connsiteX50" fmla="*/ 1169194 w 1340644"/>
                    <a:gd name="connsiteY50" fmla="*/ 1388270 h 2544762"/>
                    <a:gd name="connsiteX51" fmla="*/ 1223962 w 1340644"/>
                    <a:gd name="connsiteY51" fmla="*/ 1381125 h 2544762"/>
                    <a:gd name="connsiteX52" fmla="*/ 1276350 w 1340644"/>
                    <a:gd name="connsiteY52" fmla="*/ 1302545 h 2544762"/>
                    <a:gd name="connsiteX53" fmla="*/ 1266825 w 1340644"/>
                    <a:gd name="connsiteY53" fmla="*/ 1254920 h 2544762"/>
                    <a:gd name="connsiteX54" fmla="*/ 1303338 w 1340644"/>
                    <a:gd name="connsiteY54" fmla="*/ 1246187 h 2544762"/>
                    <a:gd name="connsiteX55" fmla="*/ 1340644 w 1340644"/>
                    <a:gd name="connsiteY55" fmla="*/ 1190625 h 2544762"/>
                    <a:gd name="connsiteX56" fmla="*/ 1285875 w 1340644"/>
                    <a:gd name="connsiteY56" fmla="*/ 1007269 h 2544762"/>
                    <a:gd name="connsiteX57" fmla="*/ 1240632 w 1340644"/>
                    <a:gd name="connsiteY57" fmla="*/ 878682 h 2544762"/>
                    <a:gd name="connsiteX58" fmla="*/ 1273969 w 1340644"/>
                    <a:gd name="connsiteY58" fmla="*/ 804863 h 2544762"/>
                    <a:gd name="connsiteX59" fmla="*/ 1223963 w 1340644"/>
                    <a:gd name="connsiteY59" fmla="*/ 664370 h 2544762"/>
                    <a:gd name="connsiteX60" fmla="*/ 1164431 w 1340644"/>
                    <a:gd name="connsiteY60" fmla="*/ 604838 h 2544762"/>
                    <a:gd name="connsiteX61" fmla="*/ 1162050 w 1340644"/>
                    <a:gd name="connsiteY61" fmla="*/ 523876 h 2544762"/>
                    <a:gd name="connsiteX62" fmla="*/ 1143001 w 1340644"/>
                    <a:gd name="connsiteY62" fmla="*/ 445295 h 2544762"/>
                    <a:gd name="connsiteX63" fmla="*/ 1163637 w 1340644"/>
                    <a:gd name="connsiteY63" fmla="*/ 324644 h 2544762"/>
                    <a:gd name="connsiteX64" fmla="*/ 1012031 w 1340644"/>
                    <a:gd name="connsiteY64" fmla="*/ 0 h 2544762"/>
                    <a:gd name="connsiteX65" fmla="*/ 926306 w 1340644"/>
                    <a:gd name="connsiteY65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450056 w 1340644"/>
                    <a:gd name="connsiteY13" fmla="*/ 842963 h 2544762"/>
                    <a:gd name="connsiteX14" fmla="*/ 359569 w 1340644"/>
                    <a:gd name="connsiteY14" fmla="*/ 957263 h 2544762"/>
                    <a:gd name="connsiteX15" fmla="*/ 407194 w 1340644"/>
                    <a:gd name="connsiteY15" fmla="*/ 995364 h 2544762"/>
                    <a:gd name="connsiteX16" fmla="*/ 335757 w 1340644"/>
                    <a:gd name="connsiteY16" fmla="*/ 1045369 h 2544762"/>
                    <a:gd name="connsiteX17" fmla="*/ 288131 w 1340644"/>
                    <a:gd name="connsiteY17" fmla="*/ 1023938 h 2544762"/>
                    <a:gd name="connsiteX18" fmla="*/ 259556 w 1340644"/>
                    <a:gd name="connsiteY18" fmla="*/ 1090613 h 2544762"/>
                    <a:gd name="connsiteX19" fmla="*/ 70643 w 1340644"/>
                    <a:gd name="connsiteY19" fmla="*/ 1068387 h 2544762"/>
                    <a:gd name="connsiteX20" fmla="*/ 28575 w 1340644"/>
                    <a:gd name="connsiteY20" fmla="*/ 1083470 h 2544762"/>
                    <a:gd name="connsiteX21" fmla="*/ 38100 w 1340644"/>
                    <a:gd name="connsiteY21" fmla="*/ 1140620 h 2544762"/>
                    <a:gd name="connsiteX22" fmla="*/ 0 w 1340644"/>
                    <a:gd name="connsiteY22" fmla="*/ 1188244 h 2544762"/>
                    <a:gd name="connsiteX23" fmla="*/ 0 w 1340644"/>
                    <a:gd name="connsiteY23" fmla="*/ 1328738 h 2544762"/>
                    <a:gd name="connsiteX24" fmla="*/ 26194 w 1340644"/>
                    <a:gd name="connsiteY24" fmla="*/ 1432718 h 2544762"/>
                    <a:gd name="connsiteX25" fmla="*/ 157162 w 1340644"/>
                    <a:gd name="connsiteY25" fmla="*/ 1795464 h 2544762"/>
                    <a:gd name="connsiteX26" fmla="*/ 161925 w 1340644"/>
                    <a:gd name="connsiteY26" fmla="*/ 1971675 h 2544762"/>
                    <a:gd name="connsiteX27" fmla="*/ 107156 w 1340644"/>
                    <a:gd name="connsiteY27" fmla="*/ 2064545 h 2544762"/>
                    <a:gd name="connsiteX28" fmla="*/ 123031 w 1340644"/>
                    <a:gd name="connsiteY28" fmla="*/ 2228056 h 2544762"/>
                    <a:gd name="connsiteX29" fmla="*/ 238125 w 1340644"/>
                    <a:gd name="connsiteY29" fmla="*/ 2422524 h 2544762"/>
                    <a:gd name="connsiteX30" fmla="*/ 418306 w 1340644"/>
                    <a:gd name="connsiteY30" fmla="*/ 2544762 h 2544762"/>
                    <a:gd name="connsiteX31" fmla="*/ 581024 w 1340644"/>
                    <a:gd name="connsiteY31" fmla="*/ 2409825 h 2544762"/>
                    <a:gd name="connsiteX32" fmla="*/ 585787 w 1340644"/>
                    <a:gd name="connsiteY32" fmla="*/ 2336007 h 2544762"/>
                    <a:gd name="connsiteX33" fmla="*/ 650082 w 1340644"/>
                    <a:gd name="connsiteY33" fmla="*/ 2300288 h 2544762"/>
                    <a:gd name="connsiteX34" fmla="*/ 652462 w 1340644"/>
                    <a:gd name="connsiteY34" fmla="*/ 2183607 h 2544762"/>
                    <a:gd name="connsiteX35" fmla="*/ 609599 w 1340644"/>
                    <a:gd name="connsiteY35" fmla="*/ 2169320 h 2544762"/>
                    <a:gd name="connsiteX36" fmla="*/ 531019 w 1340644"/>
                    <a:gd name="connsiteY36" fmla="*/ 2014538 h 2544762"/>
                    <a:gd name="connsiteX37" fmla="*/ 473869 w 1340644"/>
                    <a:gd name="connsiteY37" fmla="*/ 1704975 h 2544762"/>
                    <a:gd name="connsiteX38" fmla="*/ 385763 w 1340644"/>
                    <a:gd name="connsiteY38" fmla="*/ 1638301 h 2544762"/>
                    <a:gd name="connsiteX39" fmla="*/ 566737 w 1340644"/>
                    <a:gd name="connsiteY39" fmla="*/ 1628775 h 2544762"/>
                    <a:gd name="connsiteX40" fmla="*/ 657225 w 1340644"/>
                    <a:gd name="connsiteY40" fmla="*/ 1540669 h 2544762"/>
                    <a:gd name="connsiteX41" fmla="*/ 873919 w 1340644"/>
                    <a:gd name="connsiteY41" fmla="*/ 1543050 h 2544762"/>
                    <a:gd name="connsiteX42" fmla="*/ 926306 w 1340644"/>
                    <a:gd name="connsiteY42" fmla="*/ 1590676 h 2544762"/>
                    <a:gd name="connsiteX43" fmla="*/ 916781 w 1340644"/>
                    <a:gd name="connsiteY43" fmla="*/ 1628776 h 2544762"/>
                    <a:gd name="connsiteX44" fmla="*/ 995362 w 1340644"/>
                    <a:gd name="connsiteY44" fmla="*/ 1600201 h 2544762"/>
                    <a:gd name="connsiteX45" fmla="*/ 1042988 w 1340644"/>
                    <a:gd name="connsiteY45" fmla="*/ 1678782 h 2544762"/>
                    <a:gd name="connsiteX46" fmla="*/ 1073944 w 1340644"/>
                    <a:gd name="connsiteY46" fmla="*/ 1743074 h 2544762"/>
                    <a:gd name="connsiteX47" fmla="*/ 1128713 w 1340644"/>
                    <a:gd name="connsiteY47" fmla="*/ 1724026 h 2544762"/>
                    <a:gd name="connsiteX48" fmla="*/ 1181100 w 1340644"/>
                    <a:gd name="connsiteY48" fmla="*/ 1723231 h 2544762"/>
                    <a:gd name="connsiteX49" fmla="*/ 1145381 w 1340644"/>
                    <a:gd name="connsiteY49" fmla="*/ 1531144 h 2544762"/>
                    <a:gd name="connsiteX50" fmla="*/ 1197769 w 1340644"/>
                    <a:gd name="connsiteY50" fmla="*/ 1443038 h 2544762"/>
                    <a:gd name="connsiteX51" fmla="*/ 1169194 w 1340644"/>
                    <a:gd name="connsiteY51" fmla="*/ 1388270 h 2544762"/>
                    <a:gd name="connsiteX52" fmla="*/ 1223962 w 1340644"/>
                    <a:gd name="connsiteY52" fmla="*/ 1381125 h 2544762"/>
                    <a:gd name="connsiteX53" fmla="*/ 1276350 w 1340644"/>
                    <a:gd name="connsiteY53" fmla="*/ 1302545 h 2544762"/>
                    <a:gd name="connsiteX54" fmla="*/ 1266825 w 1340644"/>
                    <a:gd name="connsiteY54" fmla="*/ 1254920 h 2544762"/>
                    <a:gd name="connsiteX55" fmla="*/ 1303338 w 1340644"/>
                    <a:gd name="connsiteY55" fmla="*/ 1246187 h 2544762"/>
                    <a:gd name="connsiteX56" fmla="*/ 1340644 w 1340644"/>
                    <a:gd name="connsiteY56" fmla="*/ 1190625 h 2544762"/>
                    <a:gd name="connsiteX57" fmla="*/ 1285875 w 1340644"/>
                    <a:gd name="connsiteY57" fmla="*/ 1007269 h 2544762"/>
                    <a:gd name="connsiteX58" fmla="*/ 1240632 w 1340644"/>
                    <a:gd name="connsiteY58" fmla="*/ 878682 h 2544762"/>
                    <a:gd name="connsiteX59" fmla="*/ 1273969 w 1340644"/>
                    <a:gd name="connsiteY59" fmla="*/ 804863 h 2544762"/>
                    <a:gd name="connsiteX60" fmla="*/ 1223963 w 1340644"/>
                    <a:gd name="connsiteY60" fmla="*/ 664370 h 2544762"/>
                    <a:gd name="connsiteX61" fmla="*/ 1164431 w 1340644"/>
                    <a:gd name="connsiteY61" fmla="*/ 604838 h 2544762"/>
                    <a:gd name="connsiteX62" fmla="*/ 1162050 w 1340644"/>
                    <a:gd name="connsiteY62" fmla="*/ 523876 h 2544762"/>
                    <a:gd name="connsiteX63" fmla="*/ 1143001 w 1340644"/>
                    <a:gd name="connsiteY63" fmla="*/ 445295 h 2544762"/>
                    <a:gd name="connsiteX64" fmla="*/ 1163637 w 1340644"/>
                    <a:gd name="connsiteY64" fmla="*/ 324644 h 2544762"/>
                    <a:gd name="connsiteX65" fmla="*/ 1012031 w 1340644"/>
                    <a:gd name="connsiteY65" fmla="*/ 0 h 2544762"/>
                    <a:gd name="connsiteX66" fmla="*/ 926306 w 1340644"/>
                    <a:gd name="connsiteY66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130968 w 1340644"/>
                    <a:gd name="connsiteY13" fmla="*/ 609600 h 2544762"/>
                    <a:gd name="connsiteX14" fmla="*/ 359569 w 1340644"/>
                    <a:gd name="connsiteY14" fmla="*/ 957263 h 2544762"/>
                    <a:gd name="connsiteX15" fmla="*/ 407194 w 1340644"/>
                    <a:gd name="connsiteY15" fmla="*/ 995364 h 2544762"/>
                    <a:gd name="connsiteX16" fmla="*/ 335757 w 1340644"/>
                    <a:gd name="connsiteY16" fmla="*/ 1045369 h 2544762"/>
                    <a:gd name="connsiteX17" fmla="*/ 288131 w 1340644"/>
                    <a:gd name="connsiteY17" fmla="*/ 1023938 h 2544762"/>
                    <a:gd name="connsiteX18" fmla="*/ 259556 w 1340644"/>
                    <a:gd name="connsiteY18" fmla="*/ 1090613 h 2544762"/>
                    <a:gd name="connsiteX19" fmla="*/ 70643 w 1340644"/>
                    <a:gd name="connsiteY19" fmla="*/ 1068387 h 2544762"/>
                    <a:gd name="connsiteX20" fmla="*/ 28575 w 1340644"/>
                    <a:gd name="connsiteY20" fmla="*/ 1083470 h 2544762"/>
                    <a:gd name="connsiteX21" fmla="*/ 38100 w 1340644"/>
                    <a:gd name="connsiteY21" fmla="*/ 1140620 h 2544762"/>
                    <a:gd name="connsiteX22" fmla="*/ 0 w 1340644"/>
                    <a:gd name="connsiteY22" fmla="*/ 1188244 h 2544762"/>
                    <a:gd name="connsiteX23" fmla="*/ 0 w 1340644"/>
                    <a:gd name="connsiteY23" fmla="*/ 1328738 h 2544762"/>
                    <a:gd name="connsiteX24" fmla="*/ 26194 w 1340644"/>
                    <a:gd name="connsiteY24" fmla="*/ 1432718 h 2544762"/>
                    <a:gd name="connsiteX25" fmla="*/ 157162 w 1340644"/>
                    <a:gd name="connsiteY25" fmla="*/ 1795464 h 2544762"/>
                    <a:gd name="connsiteX26" fmla="*/ 161925 w 1340644"/>
                    <a:gd name="connsiteY26" fmla="*/ 1971675 h 2544762"/>
                    <a:gd name="connsiteX27" fmla="*/ 107156 w 1340644"/>
                    <a:gd name="connsiteY27" fmla="*/ 2064545 h 2544762"/>
                    <a:gd name="connsiteX28" fmla="*/ 123031 w 1340644"/>
                    <a:gd name="connsiteY28" fmla="*/ 2228056 h 2544762"/>
                    <a:gd name="connsiteX29" fmla="*/ 238125 w 1340644"/>
                    <a:gd name="connsiteY29" fmla="*/ 2422524 h 2544762"/>
                    <a:gd name="connsiteX30" fmla="*/ 418306 w 1340644"/>
                    <a:gd name="connsiteY30" fmla="*/ 2544762 h 2544762"/>
                    <a:gd name="connsiteX31" fmla="*/ 581024 w 1340644"/>
                    <a:gd name="connsiteY31" fmla="*/ 2409825 h 2544762"/>
                    <a:gd name="connsiteX32" fmla="*/ 585787 w 1340644"/>
                    <a:gd name="connsiteY32" fmla="*/ 2336007 h 2544762"/>
                    <a:gd name="connsiteX33" fmla="*/ 650082 w 1340644"/>
                    <a:gd name="connsiteY33" fmla="*/ 2300288 h 2544762"/>
                    <a:gd name="connsiteX34" fmla="*/ 652462 w 1340644"/>
                    <a:gd name="connsiteY34" fmla="*/ 2183607 h 2544762"/>
                    <a:gd name="connsiteX35" fmla="*/ 609599 w 1340644"/>
                    <a:gd name="connsiteY35" fmla="*/ 2169320 h 2544762"/>
                    <a:gd name="connsiteX36" fmla="*/ 531019 w 1340644"/>
                    <a:gd name="connsiteY36" fmla="*/ 2014538 h 2544762"/>
                    <a:gd name="connsiteX37" fmla="*/ 473869 w 1340644"/>
                    <a:gd name="connsiteY37" fmla="*/ 1704975 h 2544762"/>
                    <a:gd name="connsiteX38" fmla="*/ 385763 w 1340644"/>
                    <a:gd name="connsiteY38" fmla="*/ 1638301 h 2544762"/>
                    <a:gd name="connsiteX39" fmla="*/ 566737 w 1340644"/>
                    <a:gd name="connsiteY39" fmla="*/ 1628775 h 2544762"/>
                    <a:gd name="connsiteX40" fmla="*/ 657225 w 1340644"/>
                    <a:gd name="connsiteY40" fmla="*/ 1540669 h 2544762"/>
                    <a:gd name="connsiteX41" fmla="*/ 873919 w 1340644"/>
                    <a:gd name="connsiteY41" fmla="*/ 1543050 h 2544762"/>
                    <a:gd name="connsiteX42" fmla="*/ 926306 w 1340644"/>
                    <a:gd name="connsiteY42" fmla="*/ 1590676 h 2544762"/>
                    <a:gd name="connsiteX43" fmla="*/ 916781 w 1340644"/>
                    <a:gd name="connsiteY43" fmla="*/ 1628776 h 2544762"/>
                    <a:gd name="connsiteX44" fmla="*/ 995362 w 1340644"/>
                    <a:gd name="connsiteY44" fmla="*/ 1600201 h 2544762"/>
                    <a:gd name="connsiteX45" fmla="*/ 1042988 w 1340644"/>
                    <a:gd name="connsiteY45" fmla="*/ 1678782 h 2544762"/>
                    <a:gd name="connsiteX46" fmla="*/ 1073944 w 1340644"/>
                    <a:gd name="connsiteY46" fmla="*/ 1743074 h 2544762"/>
                    <a:gd name="connsiteX47" fmla="*/ 1128713 w 1340644"/>
                    <a:gd name="connsiteY47" fmla="*/ 1724026 h 2544762"/>
                    <a:gd name="connsiteX48" fmla="*/ 1181100 w 1340644"/>
                    <a:gd name="connsiteY48" fmla="*/ 1723231 h 2544762"/>
                    <a:gd name="connsiteX49" fmla="*/ 1145381 w 1340644"/>
                    <a:gd name="connsiteY49" fmla="*/ 1531144 h 2544762"/>
                    <a:gd name="connsiteX50" fmla="*/ 1197769 w 1340644"/>
                    <a:gd name="connsiteY50" fmla="*/ 1443038 h 2544762"/>
                    <a:gd name="connsiteX51" fmla="*/ 1169194 w 1340644"/>
                    <a:gd name="connsiteY51" fmla="*/ 1388270 h 2544762"/>
                    <a:gd name="connsiteX52" fmla="*/ 1223962 w 1340644"/>
                    <a:gd name="connsiteY52" fmla="*/ 1381125 h 2544762"/>
                    <a:gd name="connsiteX53" fmla="*/ 1276350 w 1340644"/>
                    <a:gd name="connsiteY53" fmla="*/ 1302545 h 2544762"/>
                    <a:gd name="connsiteX54" fmla="*/ 1266825 w 1340644"/>
                    <a:gd name="connsiteY54" fmla="*/ 1254920 h 2544762"/>
                    <a:gd name="connsiteX55" fmla="*/ 1303338 w 1340644"/>
                    <a:gd name="connsiteY55" fmla="*/ 1246187 h 2544762"/>
                    <a:gd name="connsiteX56" fmla="*/ 1340644 w 1340644"/>
                    <a:gd name="connsiteY56" fmla="*/ 1190625 h 2544762"/>
                    <a:gd name="connsiteX57" fmla="*/ 1285875 w 1340644"/>
                    <a:gd name="connsiteY57" fmla="*/ 1007269 h 2544762"/>
                    <a:gd name="connsiteX58" fmla="*/ 1240632 w 1340644"/>
                    <a:gd name="connsiteY58" fmla="*/ 878682 h 2544762"/>
                    <a:gd name="connsiteX59" fmla="*/ 1273969 w 1340644"/>
                    <a:gd name="connsiteY59" fmla="*/ 804863 h 2544762"/>
                    <a:gd name="connsiteX60" fmla="*/ 1223963 w 1340644"/>
                    <a:gd name="connsiteY60" fmla="*/ 664370 h 2544762"/>
                    <a:gd name="connsiteX61" fmla="*/ 1164431 w 1340644"/>
                    <a:gd name="connsiteY61" fmla="*/ 604838 h 2544762"/>
                    <a:gd name="connsiteX62" fmla="*/ 1162050 w 1340644"/>
                    <a:gd name="connsiteY62" fmla="*/ 523876 h 2544762"/>
                    <a:gd name="connsiteX63" fmla="*/ 1143001 w 1340644"/>
                    <a:gd name="connsiteY63" fmla="*/ 445295 h 2544762"/>
                    <a:gd name="connsiteX64" fmla="*/ 1163637 w 1340644"/>
                    <a:gd name="connsiteY64" fmla="*/ 324644 h 2544762"/>
                    <a:gd name="connsiteX65" fmla="*/ 1012031 w 1340644"/>
                    <a:gd name="connsiteY65" fmla="*/ 0 h 2544762"/>
                    <a:gd name="connsiteX66" fmla="*/ 926306 w 1340644"/>
                    <a:gd name="connsiteY66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469106 w 1340644"/>
                    <a:gd name="connsiteY13" fmla="*/ 814388 h 2544762"/>
                    <a:gd name="connsiteX14" fmla="*/ 359569 w 1340644"/>
                    <a:gd name="connsiteY14" fmla="*/ 957263 h 2544762"/>
                    <a:gd name="connsiteX15" fmla="*/ 407194 w 1340644"/>
                    <a:gd name="connsiteY15" fmla="*/ 995364 h 2544762"/>
                    <a:gd name="connsiteX16" fmla="*/ 335757 w 1340644"/>
                    <a:gd name="connsiteY16" fmla="*/ 1045369 h 2544762"/>
                    <a:gd name="connsiteX17" fmla="*/ 288131 w 1340644"/>
                    <a:gd name="connsiteY17" fmla="*/ 1023938 h 2544762"/>
                    <a:gd name="connsiteX18" fmla="*/ 259556 w 1340644"/>
                    <a:gd name="connsiteY18" fmla="*/ 1090613 h 2544762"/>
                    <a:gd name="connsiteX19" fmla="*/ 70643 w 1340644"/>
                    <a:gd name="connsiteY19" fmla="*/ 1068387 h 2544762"/>
                    <a:gd name="connsiteX20" fmla="*/ 28575 w 1340644"/>
                    <a:gd name="connsiteY20" fmla="*/ 1083470 h 2544762"/>
                    <a:gd name="connsiteX21" fmla="*/ 38100 w 1340644"/>
                    <a:gd name="connsiteY21" fmla="*/ 1140620 h 2544762"/>
                    <a:gd name="connsiteX22" fmla="*/ 0 w 1340644"/>
                    <a:gd name="connsiteY22" fmla="*/ 1188244 h 2544762"/>
                    <a:gd name="connsiteX23" fmla="*/ 0 w 1340644"/>
                    <a:gd name="connsiteY23" fmla="*/ 1328738 h 2544762"/>
                    <a:gd name="connsiteX24" fmla="*/ 26194 w 1340644"/>
                    <a:gd name="connsiteY24" fmla="*/ 1432718 h 2544762"/>
                    <a:gd name="connsiteX25" fmla="*/ 157162 w 1340644"/>
                    <a:gd name="connsiteY25" fmla="*/ 1795464 h 2544762"/>
                    <a:gd name="connsiteX26" fmla="*/ 161925 w 1340644"/>
                    <a:gd name="connsiteY26" fmla="*/ 1971675 h 2544762"/>
                    <a:gd name="connsiteX27" fmla="*/ 107156 w 1340644"/>
                    <a:gd name="connsiteY27" fmla="*/ 2064545 h 2544762"/>
                    <a:gd name="connsiteX28" fmla="*/ 123031 w 1340644"/>
                    <a:gd name="connsiteY28" fmla="*/ 2228056 h 2544762"/>
                    <a:gd name="connsiteX29" fmla="*/ 238125 w 1340644"/>
                    <a:gd name="connsiteY29" fmla="*/ 2422524 h 2544762"/>
                    <a:gd name="connsiteX30" fmla="*/ 418306 w 1340644"/>
                    <a:gd name="connsiteY30" fmla="*/ 2544762 h 2544762"/>
                    <a:gd name="connsiteX31" fmla="*/ 581024 w 1340644"/>
                    <a:gd name="connsiteY31" fmla="*/ 2409825 h 2544762"/>
                    <a:gd name="connsiteX32" fmla="*/ 585787 w 1340644"/>
                    <a:gd name="connsiteY32" fmla="*/ 2336007 h 2544762"/>
                    <a:gd name="connsiteX33" fmla="*/ 650082 w 1340644"/>
                    <a:gd name="connsiteY33" fmla="*/ 2300288 h 2544762"/>
                    <a:gd name="connsiteX34" fmla="*/ 652462 w 1340644"/>
                    <a:gd name="connsiteY34" fmla="*/ 2183607 h 2544762"/>
                    <a:gd name="connsiteX35" fmla="*/ 609599 w 1340644"/>
                    <a:gd name="connsiteY35" fmla="*/ 2169320 h 2544762"/>
                    <a:gd name="connsiteX36" fmla="*/ 531019 w 1340644"/>
                    <a:gd name="connsiteY36" fmla="*/ 2014538 h 2544762"/>
                    <a:gd name="connsiteX37" fmla="*/ 473869 w 1340644"/>
                    <a:gd name="connsiteY37" fmla="*/ 1704975 h 2544762"/>
                    <a:gd name="connsiteX38" fmla="*/ 385763 w 1340644"/>
                    <a:gd name="connsiteY38" fmla="*/ 1638301 h 2544762"/>
                    <a:gd name="connsiteX39" fmla="*/ 566737 w 1340644"/>
                    <a:gd name="connsiteY39" fmla="*/ 1628775 h 2544762"/>
                    <a:gd name="connsiteX40" fmla="*/ 657225 w 1340644"/>
                    <a:gd name="connsiteY40" fmla="*/ 1540669 h 2544762"/>
                    <a:gd name="connsiteX41" fmla="*/ 873919 w 1340644"/>
                    <a:gd name="connsiteY41" fmla="*/ 1543050 h 2544762"/>
                    <a:gd name="connsiteX42" fmla="*/ 926306 w 1340644"/>
                    <a:gd name="connsiteY42" fmla="*/ 1590676 h 2544762"/>
                    <a:gd name="connsiteX43" fmla="*/ 916781 w 1340644"/>
                    <a:gd name="connsiteY43" fmla="*/ 1628776 h 2544762"/>
                    <a:gd name="connsiteX44" fmla="*/ 995362 w 1340644"/>
                    <a:gd name="connsiteY44" fmla="*/ 1600201 h 2544762"/>
                    <a:gd name="connsiteX45" fmla="*/ 1042988 w 1340644"/>
                    <a:gd name="connsiteY45" fmla="*/ 1678782 h 2544762"/>
                    <a:gd name="connsiteX46" fmla="*/ 1073944 w 1340644"/>
                    <a:gd name="connsiteY46" fmla="*/ 1743074 h 2544762"/>
                    <a:gd name="connsiteX47" fmla="*/ 1128713 w 1340644"/>
                    <a:gd name="connsiteY47" fmla="*/ 1724026 h 2544762"/>
                    <a:gd name="connsiteX48" fmla="*/ 1181100 w 1340644"/>
                    <a:gd name="connsiteY48" fmla="*/ 1723231 h 2544762"/>
                    <a:gd name="connsiteX49" fmla="*/ 1145381 w 1340644"/>
                    <a:gd name="connsiteY49" fmla="*/ 1531144 h 2544762"/>
                    <a:gd name="connsiteX50" fmla="*/ 1197769 w 1340644"/>
                    <a:gd name="connsiteY50" fmla="*/ 1443038 h 2544762"/>
                    <a:gd name="connsiteX51" fmla="*/ 1169194 w 1340644"/>
                    <a:gd name="connsiteY51" fmla="*/ 1388270 h 2544762"/>
                    <a:gd name="connsiteX52" fmla="*/ 1223962 w 1340644"/>
                    <a:gd name="connsiteY52" fmla="*/ 1381125 h 2544762"/>
                    <a:gd name="connsiteX53" fmla="*/ 1276350 w 1340644"/>
                    <a:gd name="connsiteY53" fmla="*/ 1302545 h 2544762"/>
                    <a:gd name="connsiteX54" fmla="*/ 1266825 w 1340644"/>
                    <a:gd name="connsiteY54" fmla="*/ 1254920 h 2544762"/>
                    <a:gd name="connsiteX55" fmla="*/ 1303338 w 1340644"/>
                    <a:gd name="connsiteY55" fmla="*/ 1246187 h 2544762"/>
                    <a:gd name="connsiteX56" fmla="*/ 1340644 w 1340644"/>
                    <a:gd name="connsiteY56" fmla="*/ 1190625 h 2544762"/>
                    <a:gd name="connsiteX57" fmla="*/ 1285875 w 1340644"/>
                    <a:gd name="connsiteY57" fmla="*/ 1007269 h 2544762"/>
                    <a:gd name="connsiteX58" fmla="*/ 1240632 w 1340644"/>
                    <a:gd name="connsiteY58" fmla="*/ 878682 h 2544762"/>
                    <a:gd name="connsiteX59" fmla="*/ 1273969 w 1340644"/>
                    <a:gd name="connsiteY59" fmla="*/ 804863 h 2544762"/>
                    <a:gd name="connsiteX60" fmla="*/ 1223963 w 1340644"/>
                    <a:gd name="connsiteY60" fmla="*/ 664370 h 2544762"/>
                    <a:gd name="connsiteX61" fmla="*/ 1164431 w 1340644"/>
                    <a:gd name="connsiteY61" fmla="*/ 604838 h 2544762"/>
                    <a:gd name="connsiteX62" fmla="*/ 1162050 w 1340644"/>
                    <a:gd name="connsiteY62" fmla="*/ 523876 h 2544762"/>
                    <a:gd name="connsiteX63" fmla="*/ 1143001 w 1340644"/>
                    <a:gd name="connsiteY63" fmla="*/ 445295 h 2544762"/>
                    <a:gd name="connsiteX64" fmla="*/ 1163637 w 1340644"/>
                    <a:gd name="connsiteY64" fmla="*/ 324644 h 2544762"/>
                    <a:gd name="connsiteX65" fmla="*/ 1012031 w 1340644"/>
                    <a:gd name="connsiteY65" fmla="*/ 0 h 2544762"/>
                    <a:gd name="connsiteX66" fmla="*/ 926306 w 1340644"/>
                    <a:gd name="connsiteY66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469106 w 1340644"/>
                    <a:gd name="connsiteY13" fmla="*/ 814388 h 2544762"/>
                    <a:gd name="connsiteX14" fmla="*/ 411956 w 1340644"/>
                    <a:gd name="connsiteY14" fmla="*/ 885826 h 2544762"/>
                    <a:gd name="connsiteX15" fmla="*/ 359569 w 1340644"/>
                    <a:gd name="connsiteY15" fmla="*/ 957263 h 2544762"/>
                    <a:gd name="connsiteX16" fmla="*/ 407194 w 1340644"/>
                    <a:gd name="connsiteY16" fmla="*/ 995364 h 2544762"/>
                    <a:gd name="connsiteX17" fmla="*/ 335757 w 1340644"/>
                    <a:gd name="connsiteY17" fmla="*/ 1045369 h 2544762"/>
                    <a:gd name="connsiteX18" fmla="*/ 288131 w 1340644"/>
                    <a:gd name="connsiteY18" fmla="*/ 1023938 h 2544762"/>
                    <a:gd name="connsiteX19" fmla="*/ 259556 w 1340644"/>
                    <a:gd name="connsiteY19" fmla="*/ 1090613 h 2544762"/>
                    <a:gd name="connsiteX20" fmla="*/ 70643 w 1340644"/>
                    <a:gd name="connsiteY20" fmla="*/ 1068387 h 2544762"/>
                    <a:gd name="connsiteX21" fmla="*/ 28575 w 1340644"/>
                    <a:gd name="connsiteY21" fmla="*/ 1083470 h 2544762"/>
                    <a:gd name="connsiteX22" fmla="*/ 38100 w 1340644"/>
                    <a:gd name="connsiteY22" fmla="*/ 1140620 h 2544762"/>
                    <a:gd name="connsiteX23" fmla="*/ 0 w 1340644"/>
                    <a:gd name="connsiteY23" fmla="*/ 1188244 h 2544762"/>
                    <a:gd name="connsiteX24" fmla="*/ 0 w 1340644"/>
                    <a:gd name="connsiteY24" fmla="*/ 1328738 h 2544762"/>
                    <a:gd name="connsiteX25" fmla="*/ 26194 w 1340644"/>
                    <a:gd name="connsiteY25" fmla="*/ 1432718 h 2544762"/>
                    <a:gd name="connsiteX26" fmla="*/ 157162 w 1340644"/>
                    <a:gd name="connsiteY26" fmla="*/ 1795464 h 2544762"/>
                    <a:gd name="connsiteX27" fmla="*/ 161925 w 1340644"/>
                    <a:gd name="connsiteY27" fmla="*/ 1971675 h 2544762"/>
                    <a:gd name="connsiteX28" fmla="*/ 107156 w 1340644"/>
                    <a:gd name="connsiteY28" fmla="*/ 2064545 h 2544762"/>
                    <a:gd name="connsiteX29" fmla="*/ 123031 w 1340644"/>
                    <a:gd name="connsiteY29" fmla="*/ 2228056 h 2544762"/>
                    <a:gd name="connsiteX30" fmla="*/ 238125 w 1340644"/>
                    <a:gd name="connsiteY30" fmla="*/ 2422524 h 2544762"/>
                    <a:gd name="connsiteX31" fmla="*/ 418306 w 1340644"/>
                    <a:gd name="connsiteY31" fmla="*/ 2544762 h 2544762"/>
                    <a:gd name="connsiteX32" fmla="*/ 581024 w 1340644"/>
                    <a:gd name="connsiteY32" fmla="*/ 2409825 h 2544762"/>
                    <a:gd name="connsiteX33" fmla="*/ 585787 w 1340644"/>
                    <a:gd name="connsiteY33" fmla="*/ 2336007 h 2544762"/>
                    <a:gd name="connsiteX34" fmla="*/ 650082 w 1340644"/>
                    <a:gd name="connsiteY34" fmla="*/ 2300288 h 2544762"/>
                    <a:gd name="connsiteX35" fmla="*/ 652462 w 1340644"/>
                    <a:gd name="connsiteY35" fmla="*/ 2183607 h 2544762"/>
                    <a:gd name="connsiteX36" fmla="*/ 609599 w 1340644"/>
                    <a:gd name="connsiteY36" fmla="*/ 2169320 h 2544762"/>
                    <a:gd name="connsiteX37" fmla="*/ 531019 w 1340644"/>
                    <a:gd name="connsiteY37" fmla="*/ 2014538 h 2544762"/>
                    <a:gd name="connsiteX38" fmla="*/ 473869 w 1340644"/>
                    <a:gd name="connsiteY38" fmla="*/ 1704975 h 2544762"/>
                    <a:gd name="connsiteX39" fmla="*/ 385763 w 1340644"/>
                    <a:gd name="connsiteY39" fmla="*/ 1638301 h 2544762"/>
                    <a:gd name="connsiteX40" fmla="*/ 566737 w 1340644"/>
                    <a:gd name="connsiteY40" fmla="*/ 1628775 h 2544762"/>
                    <a:gd name="connsiteX41" fmla="*/ 657225 w 1340644"/>
                    <a:gd name="connsiteY41" fmla="*/ 1540669 h 2544762"/>
                    <a:gd name="connsiteX42" fmla="*/ 873919 w 1340644"/>
                    <a:gd name="connsiteY42" fmla="*/ 1543050 h 2544762"/>
                    <a:gd name="connsiteX43" fmla="*/ 926306 w 1340644"/>
                    <a:gd name="connsiteY43" fmla="*/ 1590676 h 2544762"/>
                    <a:gd name="connsiteX44" fmla="*/ 916781 w 1340644"/>
                    <a:gd name="connsiteY44" fmla="*/ 1628776 h 2544762"/>
                    <a:gd name="connsiteX45" fmla="*/ 995362 w 1340644"/>
                    <a:gd name="connsiteY45" fmla="*/ 1600201 h 2544762"/>
                    <a:gd name="connsiteX46" fmla="*/ 1042988 w 1340644"/>
                    <a:gd name="connsiteY46" fmla="*/ 1678782 h 2544762"/>
                    <a:gd name="connsiteX47" fmla="*/ 1073944 w 1340644"/>
                    <a:gd name="connsiteY47" fmla="*/ 1743074 h 2544762"/>
                    <a:gd name="connsiteX48" fmla="*/ 1128713 w 1340644"/>
                    <a:gd name="connsiteY48" fmla="*/ 1724026 h 2544762"/>
                    <a:gd name="connsiteX49" fmla="*/ 1181100 w 1340644"/>
                    <a:gd name="connsiteY49" fmla="*/ 1723231 h 2544762"/>
                    <a:gd name="connsiteX50" fmla="*/ 1145381 w 1340644"/>
                    <a:gd name="connsiteY50" fmla="*/ 1531144 h 2544762"/>
                    <a:gd name="connsiteX51" fmla="*/ 1197769 w 1340644"/>
                    <a:gd name="connsiteY51" fmla="*/ 1443038 h 2544762"/>
                    <a:gd name="connsiteX52" fmla="*/ 1169194 w 1340644"/>
                    <a:gd name="connsiteY52" fmla="*/ 1388270 h 2544762"/>
                    <a:gd name="connsiteX53" fmla="*/ 1223962 w 1340644"/>
                    <a:gd name="connsiteY53" fmla="*/ 1381125 h 2544762"/>
                    <a:gd name="connsiteX54" fmla="*/ 1276350 w 1340644"/>
                    <a:gd name="connsiteY54" fmla="*/ 1302545 h 2544762"/>
                    <a:gd name="connsiteX55" fmla="*/ 1266825 w 1340644"/>
                    <a:gd name="connsiteY55" fmla="*/ 1254920 h 2544762"/>
                    <a:gd name="connsiteX56" fmla="*/ 1303338 w 1340644"/>
                    <a:gd name="connsiteY56" fmla="*/ 1246187 h 2544762"/>
                    <a:gd name="connsiteX57" fmla="*/ 1340644 w 1340644"/>
                    <a:gd name="connsiteY57" fmla="*/ 1190625 h 2544762"/>
                    <a:gd name="connsiteX58" fmla="*/ 1285875 w 1340644"/>
                    <a:gd name="connsiteY58" fmla="*/ 1007269 h 2544762"/>
                    <a:gd name="connsiteX59" fmla="*/ 1240632 w 1340644"/>
                    <a:gd name="connsiteY59" fmla="*/ 878682 h 2544762"/>
                    <a:gd name="connsiteX60" fmla="*/ 1273969 w 1340644"/>
                    <a:gd name="connsiteY60" fmla="*/ 804863 h 2544762"/>
                    <a:gd name="connsiteX61" fmla="*/ 1223963 w 1340644"/>
                    <a:gd name="connsiteY61" fmla="*/ 664370 h 2544762"/>
                    <a:gd name="connsiteX62" fmla="*/ 1164431 w 1340644"/>
                    <a:gd name="connsiteY62" fmla="*/ 604838 h 2544762"/>
                    <a:gd name="connsiteX63" fmla="*/ 1162050 w 1340644"/>
                    <a:gd name="connsiteY63" fmla="*/ 523876 h 2544762"/>
                    <a:gd name="connsiteX64" fmla="*/ 1143001 w 1340644"/>
                    <a:gd name="connsiteY64" fmla="*/ 445295 h 2544762"/>
                    <a:gd name="connsiteX65" fmla="*/ 1163637 w 1340644"/>
                    <a:gd name="connsiteY65" fmla="*/ 324644 h 2544762"/>
                    <a:gd name="connsiteX66" fmla="*/ 1012031 w 1340644"/>
                    <a:gd name="connsiteY66" fmla="*/ 0 h 2544762"/>
                    <a:gd name="connsiteX67" fmla="*/ 926306 w 1340644"/>
                    <a:gd name="connsiteY67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469106 w 1340644"/>
                    <a:gd name="connsiteY13" fmla="*/ 814388 h 2544762"/>
                    <a:gd name="connsiteX14" fmla="*/ 54768 w 1340644"/>
                    <a:gd name="connsiteY14" fmla="*/ 654845 h 2544762"/>
                    <a:gd name="connsiteX15" fmla="*/ 359569 w 1340644"/>
                    <a:gd name="connsiteY15" fmla="*/ 957263 h 2544762"/>
                    <a:gd name="connsiteX16" fmla="*/ 407194 w 1340644"/>
                    <a:gd name="connsiteY16" fmla="*/ 995364 h 2544762"/>
                    <a:gd name="connsiteX17" fmla="*/ 335757 w 1340644"/>
                    <a:gd name="connsiteY17" fmla="*/ 1045369 h 2544762"/>
                    <a:gd name="connsiteX18" fmla="*/ 288131 w 1340644"/>
                    <a:gd name="connsiteY18" fmla="*/ 1023938 h 2544762"/>
                    <a:gd name="connsiteX19" fmla="*/ 259556 w 1340644"/>
                    <a:gd name="connsiteY19" fmla="*/ 1090613 h 2544762"/>
                    <a:gd name="connsiteX20" fmla="*/ 70643 w 1340644"/>
                    <a:gd name="connsiteY20" fmla="*/ 1068387 h 2544762"/>
                    <a:gd name="connsiteX21" fmla="*/ 28575 w 1340644"/>
                    <a:gd name="connsiteY21" fmla="*/ 1083470 h 2544762"/>
                    <a:gd name="connsiteX22" fmla="*/ 38100 w 1340644"/>
                    <a:gd name="connsiteY22" fmla="*/ 1140620 h 2544762"/>
                    <a:gd name="connsiteX23" fmla="*/ 0 w 1340644"/>
                    <a:gd name="connsiteY23" fmla="*/ 1188244 h 2544762"/>
                    <a:gd name="connsiteX24" fmla="*/ 0 w 1340644"/>
                    <a:gd name="connsiteY24" fmla="*/ 1328738 h 2544762"/>
                    <a:gd name="connsiteX25" fmla="*/ 26194 w 1340644"/>
                    <a:gd name="connsiteY25" fmla="*/ 1432718 h 2544762"/>
                    <a:gd name="connsiteX26" fmla="*/ 157162 w 1340644"/>
                    <a:gd name="connsiteY26" fmla="*/ 1795464 h 2544762"/>
                    <a:gd name="connsiteX27" fmla="*/ 161925 w 1340644"/>
                    <a:gd name="connsiteY27" fmla="*/ 1971675 h 2544762"/>
                    <a:gd name="connsiteX28" fmla="*/ 107156 w 1340644"/>
                    <a:gd name="connsiteY28" fmla="*/ 2064545 h 2544762"/>
                    <a:gd name="connsiteX29" fmla="*/ 123031 w 1340644"/>
                    <a:gd name="connsiteY29" fmla="*/ 2228056 h 2544762"/>
                    <a:gd name="connsiteX30" fmla="*/ 238125 w 1340644"/>
                    <a:gd name="connsiteY30" fmla="*/ 2422524 h 2544762"/>
                    <a:gd name="connsiteX31" fmla="*/ 418306 w 1340644"/>
                    <a:gd name="connsiteY31" fmla="*/ 2544762 h 2544762"/>
                    <a:gd name="connsiteX32" fmla="*/ 581024 w 1340644"/>
                    <a:gd name="connsiteY32" fmla="*/ 2409825 h 2544762"/>
                    <a:gd name="connsiteX33" fmla="*/ 585787 w 1340644"/>
                    <a:gd name="connsiteY33" fmla="*/ 2336007 h 2544762"/>
                    <a:gd name="connsiteX34" fmla="*/ 650082 w 1340644"/>
                    <a:gd name="connsiteY34" fmla="*/ 2300288 h 2544762"/>
                    <a:gd name="connsiteX35" fmla="*/ 652462 w 1340644"/>
                    <a:gd name="connsiteY35" fmla="*/ 2183607 h 2544762"/>
                    <a:gd name="connsiteX36" fmla="*/ 609599 w 1340644"/>
                    <a:gd name="connsiteY36" fmla="*/ 2169320 h 2544762"/>
                    <a:gd name="connsiteX37" fmla="*/ 531019 w 1340644"/>
                    <a:gd name="connsiteY37" fmla="*/ 2014538 h 2544762"/>
                    <a:gd name="connsiteX38" fmla="*/ 473869 w 1340644"/>
                    <a:gd name="connsiteY38" fmla="*/ 1704975 h 2544762"/>
                    <a:gd name="connsiteX39" fmla="*/ 385763 w 1340644"/>
                    <a:gd name="connsiteY39" fmla="*/ 1638301 h 2544762"/>
                    <a:gd name="connsiteX40" fmla="*/ 566737 w 1340644"/>
                    <a:gd name="connsiteY40" fmla="*/ 1628775 h 2544762"/>
                    <a:gd name="connsiteX41" fmla="*/ 657225 w 1340644"/>
                    <a:gd name="connsiteY41" fmla="*/ 1540669 h 2544762"/>
                    <a:gd name="connsiteX42" fmla="*/ 873919 w 1340644"/>
                    <a:gd name="connsiteY42" fmla="*/ 1543050 h 2544762"/>
                    <a:gd name="connsiteX43" fmla="*/ 926306 w 1340644"/>
                    <a:gd name="connsiteY43" fmla="*/ 1590676 h 2544762"/>
                    <a:gd name="connsiteX44" fmla="*/ 916781 w 1340644"/>
                    <a:gd name="connsiteY44" fmla="*/ 1628776 h 2544762"/>
                    <a:gd name="connsiteX45" fmla="*/ 995362 w 1340644"/>
                    <a:gd name="connsiteY45" fmla="*/ 1600201 h 2544762"/>
                    <a:gd name="connsiteX46" fmla="*/ 1042988 w 1340644"/>
                    <a:gd name="connsiteY46" fmla="*/ 1678782 h 2544762"/>
                    <a:gd name="connsiteX47" fmla="*/ 1073944 w 1340644"/>
                    <a:gd name="connsiteY47" fmla="*/ 1743074 h 2544762"/>
                    <a:gd name="connsiteX48" fmla="*/ 1128713 w 1340644"/>
                    <a:gd name="connsiteY48" fmla="*/ 1724026 h 2544762"/>
                    <a:gd name="connsiteX49" fmla="*/ 1181100 w 1340644"/>
                    <a:gd name="connsiteY49" fmla="*/ 1723231 h 2544762"/>
                    <a:gd name="connsiteX50" fmla="*/ 1145381 w 1340644"/>
                    <a:gd name="connsiteY50" fmla="*/ 1531144 h 2544762"/>
                    <a:gd name="connsiteX51" fmla="*/ 1197769 w 1340644"/>
                    <a:gd name="connsiteY51" fmla="*/ 1443038 h 2544762"/>
                    <a:gd name="connsiteX52" fmla="*/ 1169194 w 1340644"/>
                    <a:gd name="connsiteY52" fmla="*/ 1388270 h 2544762"/>
                    <a:gd name="connsiteX53" fmla="*/ 1223962 w 1340644"/>
                    <a:gd name="connsiteY53" fmla="*/ 1381125 h 2544762"/>
                    <a:gd name="connsiteX54" fmla="*/ 1276350 w 1340644"/>
                    <a:gd name="connsiteY54" fmla="*/ 1302545 h 2544762"/>
                    <a:gd name="connsiteX55" fmla="*/ 1266825 w 1340644"/>
                    <a:gd name="connsiteY55" fmla="*/ 1254920 h 2544762"/>
                    <a:gd name="connsiteX56" fmla="*/ 1303338 w 1340644"/>
                    <a:gd name="connsiteY56" fmla="*/ 1246187 h 2544762"/>
                    <a:gd name="connsiteX57" fmla="*/ 1340644 w 1340644"/>
                    <a:gd name="connsiteY57" fmla="*/ 1190625 h 2544762"/>
                    <a:gd name="connsiteX58" fmla="*/ 1285875 w 1340644"/>
                    <a:gd name="connsiteY58" fmla="*/ 1007269 h 2544762"/>
                    <a:gd name="connsiteX59" fmla="*/ 1240632 w 1340644"/>
                    <a:gd name="connsiteY59" fmla="*/ 878682 h 2544762"/>
                    <a:gd name="connsiteX60" fmla="*/ 1273969 w 1340644"/>
                    <a:gd name="connsiteY60" fmla="*/ 804863 h 2544762"/>
                    <a:gd name="connsiteX61" fmla="*/ 1223963 w 1340644"/>
                    <a:gd name="connsiteY61" fmla="*/ 664370 h 2544762"/>
                    <a:gd name="connsiteX62" fmla="*/ 1164431 w 1340644"/>
                    <a:gd name="connsiteY62" fmla="*/ 604838 h 2544762"/>
                    <a:gd name="connsiteX63" fmla="*/ 1162050 w 1340644"/>
                    <a:gd name="connsiteY63" fmla="*/ 523876 h 2544762"/>
                    <a:gd name="connsiteX64" fmla="*/ 1143001 w 1340644"/>
                    <a:gd name="connsiteY64" fmla="*/ 445295 h 2544762"/>
                    <a:gd name="connsiteX65" fmla="*/ 1163637 w 1340644"/>
                    <a:gd name="connsiteY65" fmla="*/ 324644 h 2544762"/>
                    <a:gd name="connsiteX66" fmla="*/ 1012031 w 1340644"/>
                    <a:gd name="connsiteY66" fmla="*/ 0 h 2544762"/>
                    <a:gd name="connsiteX67" fmla="*/ 926306 w 1340644"/>
                    <a:gd name="connsiteY67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469106 w 1340644"/>
                    <a:gd name="connsiteY13" fmla="*/ 814388 h 2544762"/>
                    <a:gd name="connsiteX14" fmla="*/ 311944 w 1340644"/>
                    <a:gd name="connsiteY14" fmla="*/ 750094 h 2544762"/>
                    <a:gd name="connsiteX15" fmla="*/ 54768 w 1340644"/>
                    <a:gd name="connsiteY15" fmla="*/ 654845 h 2544762"/>
                    <a:gd name="connsiteX16" fmla="*/ 359569 w 1340644"/>
                    <a:gd name="connsiteY16" fmla="*/ 957263 h 2544762"/>
                    <a:gd name="connsiteX17" fmla="*/ 407194 w 1340644"/>
                    <a:gd name="connsiteY17" fmla="*/ 995364 h 2544762"/>
                    <a:gd name="connsiteX18" fmla="*/ 335757 w 1340644"/>
                    <a:gd name="connsiteY18" fmla="*/ 1045369 h 2544762"/>
                    <a:gd name="connsiteX19" fmla="*/ 288131 w 1340644"/>
                    <a:gd name="connsiteY19" fmla="*/ 1023938 h 2544762"/>
                    <a:gd name="connsiteX20" fmla="*/ 259556 w 1340644"/>
                    <a:gd name="connsiteY20" fmla="*/ 1090613 h 2544762"/>
                    <a:gd name="connsiteX21" fmla="*/ 70643 w 1340644"/>
                    <a:gd name="connsiteY21" fmla="*/ 1068387 h 2544762"/>
                    <a:gd name="connsiteX22" fmla="*/ 28575 w 1340644"/>
                    <a:gd name="connsiteY22" fmla="*/ 1083470 h 2544762"/>
                    <a:gd name="connsiteX23" fmla="*/ 38100 w 1340644"/>
                    <a:gd name="connsiteY23" fmla="*/ 1140620 h 2544762"/>
                    <a:gd name="connsiteX24" fmla="*/ 0 w 1340644"/>
                    <a:gd name="connsiteY24" fmla="*/ 1188244 h 2544762"/>
                    <a:gd name="connsiteX25" fmla="*/ 0 w 1340644"/>
                    <a:gd name="connsiteY25" fmla="*/ 1328738 h 2544762"/>
                    <a:gd name="connsiteX26" fmla="*/ 26194 w 1340644"/>
                    <a:gd name="connsiteY26" fmla="*/ 1432718 h 2544762"/>
                    <a:gd name="connsiteX27" fmla="*/ 157162 w 1340644"/>
                    <a:gd name="connsiteY27" fmla="*/ 1795464 h 2544762"/>
                    <a:gd name="connsiteX28" fmla="*/ 161925 w 1340644"/>
                    <a:gd name="connsiteY28" fmla="*/ 1971675 h 2544762"/>
                    <a:gd name="connsiteX29" fmla="*/ 107156 w 1340644"/>
                    <a:gd name="connsiteY29" fmla="*/ 2064545 h 2544762"/>
                    <a:gd name="connsiteX30" fmla="*/ 123031 w 1340644"/>
                    <a:gd name="connsiteY30" fmla="*/ 2228056 h 2544762"/>
                    <a:gd name="connsiteX31" fmla="*/ 238125 w 1340644"/>
                    <a:gd name="connsiteY31" fmla="*/ 2422524 h 2544762"/>
                    <a:gd name="connsiteX32" fmla="*/ 418306 w 1340644"/>
                    <a:gd name="connsiteY32" fmla="*/ 2544762 h 2544762"/>
                    <a:gd name="connsiteX33" fmla="*/ 581024 w 1340644"/>
                    <a:gd name="connsiteY33" fmla="*/ 2409825 h 2544762"/>
                    <a:gd name="connsiteX34" fmla="*/ 585787 w 1340644"/>
                    <a:gd name="connsiteY34" fmla="*/ 2336007 h 2544762"/>
                    <a:gd name="connsiteX35" fmla="*/ 650082 w 1340644"/>
                    <a:gd name="connsiteY35" fmla="*/ 2300288 h 2544762"/>
                    <a:gd name="connsiteX36" fmla="*/ 652462 w 1340644"/>
                    <a:gd name="connsiteY36" fmla="*/ 2183607 h 2544762"/>
                    <a:gd name="connsiteX37" fmla="*/ 609599 w 1340644"/>
                    <a:gd name="connsiteY37" fmla="*/ 2169320 h 2544762"/>
                    <a:gd name="connsiteX38" fmla="*/ 531019 w 1340644"/>
                    <a:gd name="connsiteY38" fmla="*/ 2014538 h 2544762"/>
                    <a:gd name="connsiteX39" fmla="*/ 473869 w 1340644"/>
                    <a:gd name="connsiteY39" fmla="*/ 1704975 h 2544762"/>
                    <a:gd name="connsiteX40" fmla="*/ 385763 w 1340644"/>
                    <a:gd name="connsiteY40" fmla="*/ 1638301 h 2544762"/>
                    <a:gd name="connsiteX41" fmla="*/ 566737 w 1340644"/>
                    <a:gd name="connsiteY41" fmla="*/ 1628775 h 2544762"/>
                    <a:gd name="connsiteX42" fmla="*/ 657225 w 1340644"/>
                    <a:gd name="connsiteY42" fmla="*/ 1540669 h 2544762"/>
                    <a:gd name="connsiteX43" fmla="*/ 873919 w 1340644"/>
                    <a:gd name="connsiteY43" fmla="*/ 1543050 h 2544762"/>
                    <a:gd name="connsiteX44" fmla="*/ 926306 w 1340644"/>
                    <a:gd name="connsiteY44" fmla="*/ 1590676 h 2544762"/>
                    <a:gd name="connsiteX45" fmla="*/ 916781 w 1340644"/>
                    <a:gd name="connsiteY45" fmla="*/ 1628776 h 2544762"/>
                    <a:gd name="connsiteX46" fmla="*/ 995362 w 1340644"/>
                    <a:gd name="connsiteY46" fmla="*/ 1600201 h 2544762"/>
                    <a:gd name="connsiteX47" fmla="*/ 1042988 w 1340644"/>
                    <a:gd name="connsiteY47" fmla="*/ 1678782 h 2544762"/>
                    <a:gd name="connsiteX48" fmla="*/ 1073944 w 1340644"/>
                    <a:gd name="connsiteY48" fmla="*/ 1743074 h 2544762"/>
                    <a:gd name="connsiteX49" fmla="*/ 1128713 w 1340644"/>
                    <a:gd name="connsiteY49" fmla="*/ 1724026 h 2544762"/>
                    <a:gd name="connsiteX50" fmla="*/ 1181100 w 1340644"/>
                    <a:gd name="connsiteY50" fmla="*/ 1723231 h 2544762"/>
                    <a:gd name="connsiteX51" fmla="*/ 1145381 w 1340644"/>
                    <a:gd name="connsiteY51" fmla="*/ 1531144 h 2544762"/>
                    <a:gd name="connsiteX52" fmla="*/ 1197769 w 1340644"/>
                    <a:gd name="connsiteY52" fmla="*/ 1443038 h 2544762"/>
                    <a:gd name="connsiteX53" fmla="*/ 1169194 w 1340644"/>
                    <a:gd name="connsiteY53" fmla="*/ 1388270 h 2544762"/>
                    <a:gd name="connsiteX54" fmla="*/ 1223962 w 1340644"/>
                    <a:gd name="connsiteY54" fmla="*/ 1381125 h 2544762"/>
                    <a:gd name="connsiteX55" fmla="*/ 1276350 w 1340644"/>
                    <a:gd name="connsiteY55" fmla="*/ 1302545 h 2544762"/>
                    <a:gd name="connsiteX56" fmla="*/ 1266825 w 1340644"/>
                    <a:gd name="connsiteY56" fmla="*/ 1254920 h 2544762"/>
                    <a:gd name="connsiteX57" fmla="*/ 1303338 w 1340644"/>
                    <a:gd name="connsiteY57" fmla="*/ 1246187 h 2544762"/>
                    <a:gd name="connsiteX58" fmla="*/ 1340644 w 1340644"/>
                    <a:gd name="connsiteY58" fmla="*/ 1190625 h 2544762"/>
                    <a:gd name="connsiteX59" fmla="*/ 1285875 w 1340644"/>
                    <a:gd name="connsiteY59" fmla="*/ 1007269 h 2544762"/>
                    <a:gd name="connsiteX60" fmla="*/ 1240632 w 1340644"/>
                    <a:gd name="connsiteY60" fmla="*/ 878682 h 2544762"/>
                    <a:gd name="connsiteX61" fmla="*/ 1273969 w 1340644"/>
                    <a:gd name="connsiteY61" fmla="*/ 804863 h 2544762"/>
                    <a:gd name="connsiteX62" fmla="*/ 1223963 w 1340644"/>
                    <a:gd name="connsiteY62" fmla="*/ 664370 h 2544762"/>
                    <a:gd name="connsiteX63" fmla="*/ 1164431 w 1340644"/>
                    <a:gd name="connsiteY63" fmla="*/ 604838 h 2544762"/>
                    <a:gd name="connsiteX64" fmla="*/ 1162050 w 1340644"/>
                    <a:gd name="connsiteY64" fmla="*/ 523876 h 2544762"/>
                    <a:gd name="connsiteX65" fmla="*/ 1143001 w 1340644"/>
                    <a:gd name="connsiteY65" fmla="*/ 445295 h 2544762"/>
                    <a:gd name="connsiteX66" fmla="*/ 1163637 w 1340644"/>
                    <a:gd name="connsiteY66" fmla="*/ 324644 h 2544762"/>
                    <a:gd name="connsiteX67" fmla="*/ 1012031 w 1340644"/>
                    <a:gd name="connsiteY67" fmla="*/ 0 h 2544762"/>
                    <a:gd name="connsiteX68" fmla="*/ 926306 w 1340644"/>
                    <a:gd name="connsiteY68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469106 w 1340644"/>
                    <a:gd name="connsiteY13" fmla="*/ 814388 h 2544762"/>
                    <a:gd name="connsiteX14" fmla="*/ 438150 w 1340644"/>
                    <a:gd name="connsiteY14" fmla="*/ 890588 h 2544762"/>
                    <a:gd name="connsiteX15" fmla="*/ 54768 w 1340644"/>
                    <a:gd name="connsiteY15" fmla="*/ 654845 h 2544762"/>
                    <a:gd name="connsiteX16" fmla="*/ 359569 w 1340644"/>
                    <a:gd name="connsiteY16" fmla="*/ 957263 h 2544762"/>
                    <a:gd name="connsiteX17" fmla="*/ 407194 w 1340644"/>
                    <a:gd name="connsiteY17" fmla="*/ 995364 h 2544762"/>
                    <a:gd name="connsiteX18" fmla="*/ 335757 w 1340644"/>
                    <a:gd name="connsiteY18" fmla="*/ 1045369 h 2544762"/>
                    <a:gd name="connsiteX19" fmla="*/ 288131 w 1340644"/>
                    <a:gd name="connsiteY19" fmla="*/ 1023938 h 2544762"/>
                    <a:gd name="connsiteX20" fmla="*/ 259556 w 1340644"/>
                    <a:gd name="connsiteY20" fmla="*/ 1090613 h 2544762"/>
                    <a:gd name="connsiteX21" fmla="*/ 70643 w 1340644"/>
                    <a:gd name="connsiteY21" fmla="*/ 1068387 h 2544762"/>
                    <a:gd name="connsiteX22" fmla="*/ 28575 w 1340644"/>
                    <a:gd name="connsiteY22" fmla="*/ 1083470 h 2544762"/>
                    <a:gd name="connsiteX23" fmla="*/ 38100 w 1340644"/>
                    <a:gd name="connsiteY23" fmla="*/ 1140620 h 2544762"/>
                    <a:gd name="connsiteX24" fmla="*/ 0 w 1340644"/>
                    <a:gd name="connsiteY24" fmla="*/ 1188244 h 2544762"/>
                    <a:gd name="connsiteX25" fmla="*/ 0 w 1340644"/>
                    <a:gd name="connsiteY25" fmla="*/ 1328738 h 2544762"/>
                    <a:gd name="connsiteX26" fmla="*/ 26194 w 1340644"/>
                    <a:gd name="connsiteY26" fmla="*/ 1432718 h 2544762"/>
                    <a:gd name="connsiteX27" fmla="*/ 157162 w 1340644"/>
                    <a:gd name="connsiteY27" fmla="*/ 1795464 h 2544762"/>
                    <a:gd name="connsiteX28" fmla="*/ 161925 w 1340644"/>
                    <a:gd name="connsiteY28" fmla="*/ 1971675 h 2544762"/>
                    <a:gd name="connsiteX29" fmla="*/ 107156 w 1340644"/>
                    <a:gd name="connsiteY29" fmla="*/ 2064545 h 2544762"/>
                    <a:gd name="connsiteX30" fmla="*/ 123031 w 1340644"/>
                    <a:gd name="connsiteY30" fmla="*/ 2228056 h 2544762"/>
                    <a:gd name="connsiteX31" fmla="*/ 238125 w 1340644"/>
                    <a:gd name="connsiteY31" fmla="*/ 2422524 h 2544762"/>
                    <a:gd name="connsiteX32" fmla="*/ 418306 w 1340644"/>
                    <a:gd name="connsiteY32" fmla="*/ 2544762 h 2544762"/>
                    <a:gd name="connsiteX33" fmla="*/ 581024 w 1340644"/>
                    <a:gd name="connsiteY33" fmla="*/ 2409825 h 2544762"/>
                    <a:gd name="connsiteX34" fmla="*/ 585787 w 1340644"/>
                    <a:gd name="connsiteY34" fmla="*/ 2336007 h 2544762"/>
                    <a:gd name="connsiteX35" fmla="*/ 650082 w 1340644"/>
                    <a:gd name="connsiteY35" fmla="*/ 2300288 h 2544762"/>
                    <a:gd name="connsiteX36" fmla="*/ 652462 w 1340644"/>
                    <a:gd name="connsiteY36" fmla="*/ 2183607 h 2544762"/>
                    <a:gd name="connsiteX37" fmla="*/ 609599 w 1340644"/>
                    <a:gd name="connsiteY37" fmla="*/ 2169320 h 2544762"/>
                    <a:gd name="connsiteX38" fmla="*/ 531019 w 1340644"/>
                    <a:gd name="connsiteY38" fmla="*/ 2014538 h 2544762"/>
                    <a:gd name="connsiteX39" fmla="*/ 473869 w 1340644"/>
                    <a:gd name="connsiteY39" fmla="*/ 1704975 h 2544762"/>
                    <a:gd name="connsiteX40" fmla="*/ 385763 w 1340644"/>
                    <a:gd name="connsiteY40" fmla="*/ 1638301 h 2544762"/>
                    <a:gd name="connsiteX41" fmla="*/ 566737 w 1340644"/>
                    <a:gd name="connsiteY41" fmla="*/ 1628775 h 2544762"/>
                    <a:gd name="connsiteX42" fmla="*/ 657225 w 1340644"/>
                    <a:gd name="connsiteY42" fmla="*/ 1540669 h 2544762"/>
                    <a:gd name="connsiteX43" fmla="*/ 873919 w 1340644"/>
                    <a:gd name="connsiteY43" fmla="*/ 1543050 h 2544762"/>
                    <a:gd name="connsiteX44" fmla="*/ 926306 w 1340644"/>
                    <a:gd name="connsiteY44" fmla="*/ 1590676 h 2544762"/>
                    <a:gd name="connsiteX45" fmla="*/ 916781 w 1340644"/>
                    <a:gd name="connsiteY45" fmla="*/ 1628776 h 2544762"/>
                    <a:gd name="connsiteX46" fmla="*/ 995362 w 1340644"/>
                    <a:gd name="connsiteY46" fmla="*/ 1600201 h 2544762"/>
                    <a:gd name="connsiteX47" fmla="*/ 1042988 w 1340644"/>
                    <a:gd name="connsiteY47" fmla="*/ 1678782 h 2544762"/>
                    <a:gd name="connsiteX48" fmla="*/ 1073944 w 1340644"/>
                    <a:gd name="connsiteY48" fmla="*/ 1743074 h 2544762"/>
                    <a:gd name="connsiteX49" fmla="*/ 1128713 w 1340644"/>
                    <a:gd name="connsiteY49" fmla="*/ 1724026 h 2544762"/>
                    <a:gd name="connsiteX50" fmla="*/ 1181100 w 1340644"/>
                    <a:gd name="connsiteY50" fmla="*/ 1723231 h 2544762"/>
                    <a:gd name="connsiteX51" fmla="*/ 1145381 w 1340644"/>
                    <a:gd name="connsiteY51" fmla="*/ 1531144 h 2544762"/>
                    <a:gd name="connsiteX52" fmla="*/ 1197769 w 1340644"/>
                    <a:gd name="connsiteY52" fmla="*/ 1443038 h 2544762"/>
                    <a:gd name="connsiteX53" fmla="*/ 1169194 w 1340644"/>
                    <a:gd name="connsiteY53" fmla="*/ 1388270 h 2544762"/>
                    <a:gd name="connsiteX54" fmla="*/ 1223962 w 1340644"/>
                    <a:gd name="connsiteY54" fmla="*/ 1381125 h 2544762"/>
                    <a:gd name="connsiteX55" fmla="*/ 1276350 w 1340644"/>
                    <a:gd name="connsiteY55" fmla="*/ 1302545 h 2544762"/>
                    <a:gd name="connsiteX56" fmla="*/ 1266825 w 1340644"/>
                    <a:gd name="connsiteY56" fmla="*/ 1254920 h 2544762"/>
                    <a:gd name="connsiteX57" fmla="*/ 1303338 w 1340644"/>
                    <a:gd name="connsiteY57" fmla="*/ 1246187 h 2544762"/>
                    <a:gd name="connsiteX58" fmla="*/ 1340644 w 1340644"/>
                    <a:gd name="connsiteY58" fmla="*/ 1190625 h 2544762"/>
                    <a:gd name="connsiteX59" fmla="*/ 1285875 w 1340644"/>
                    <a:gd name="connsiteY59" fmla="*/ 1007269 h 2544762"/>
                    <a:gd name="connsiteX60" fmla="*/ 1240632 w 1340644"/>
                    <a:gd name="connsiteY60" fmla="*/ 878682 h 2544762"/>
                    <a:gd name="connsiteX61" fmla="*/ 1273969 w 1340644"/>
                    <a:gd name="connsiteY61" fmla="*/ 804863 h 2544762"/>
                    <a:gd name="connsiteX62" fmla="*/ 1223963 w 1340644"/>
                    <a:gd name="connsiteY62" fmla="*/ 664370 h 2544762"/>
                    <a:gd name="connsiteX63" fmla="*/ 1164431 w 1340644"/>
                    <a:gd name="connsiteY63" fmla="*/ 604838 h 2544762"/>
                    <a:gd name="connsiteX64" fmla="*/ 1162050 w 1340644"/>
                    <a:gd name="connsiteY64" fmla="*/ 523876 h 2544762"/>
                    <a:gd name="connsiteX65" fmla="*/ 1143001 w 1340644"/>
                    <a:gd name="connsiteY65" fmla="*/ 445295 h 2544762"/>
                    <a:gd name="connsiteX66" fmla="*/ 1163637 w 1340644"/>
                    <a:gd name="connsiteY66" fmla="*/ 324644 h 2544762"/>
                    <a:gd name="connsiteX67" fmla="*/ 1012031 w 1340644"/>
                    <a:gd name="connsiteY67" fmla="*/ 0 h 2544762"/>
                    <a:gd name="connsiteX68" fmla="*/ 926306 w 1340644"/>
                    <a:gd name="connsiteY68" fmla="*/ 153193 h 2544762"/>
                    <a:gd name="connsiteX0" fmla="*/ 926306 w 1340644"/>
                    <a:gd name="connsiteY0" fmla="*/ 153193 h 2544762"/>
                    <a:gd name="connsiteX1" fmla="*/ 907256 w 1340644"/>
                    <a:gd name="connsiteY1" fmla="*/ 221457 h 2544762"/>
                    <a:gd name="connsiteX2" fmla="*/ 945356 w 1340644"/>
                    <a:gd name="connsiteY2" fmla="*/ 288132 h 2544762"/>
                    <a:gd name="connsiteX3" fmla="*/ 916782 w 1340644"/>
                    <a:gd name="connsiteY3" fmla="*/ 352426 h 2544762"/>
                    <a:gd name="connsiteX4" fmla="*/ 828675 w 1340644"/>
                    <a:gd name="connsiteY4" fmla="*/ 373857 h 2544762"/>
                    <a:gd name="connsiteX5" fmla="*/ 795337 w 1340644"/>
                    <a:gd name="connsiteY5" fmla="*/ 407194 h 2544762"/>
                    <a:gd name="connsiteX6" fmla="*/ 831055 w 1340644"/>
                    <a:gd name="connsiteY6" fmla="*/ 431007 h 2544762"/>
                    <a:gd name="connsiteX7" fmla="*/ 716756 w 1340644"/>
                    <a:gd name="connsiteY7" fmla="*/ 502445 h 2544762"/>
                    <a:gd name="connsiteX8" fmla="*/ 692944 w 1340644"/>
                    <a:gd name="connsiteY8" fmla="*/ 528638 h 2544762"/>
                    <a:gd name="connsiteX9" fmla="*/ 671513 w 1340644"/>
                    <a:gd name="connsiteY9" fmla="*/ 590551 h 2544762"/>
                    <a:gd name="connsiteX10" fmla="*/ 631031 w 1340644"/>
                    <a:gd name="connsiteY10" fmla="*/ 569119 h 2544762"/>
                    <a:gd name="connsiteX11" fmla="*/ 550068 w 1340644"/>
                    <a:gd name="connsiteY11" fmla="*/ 654844 h 2544762"/>
                    <a:gd name="connsiteX12" fmla="*/ 535781 w 1340644"/>
                    <a:gd name="connsiteY12" fmla="*/ 728664 h 2544762"/>
                    <a:gd name="connsiteX13" fmla="*/ 469106 w 1340644"/>
                    <a:gd name="connsiteY13" fmla="*/ 814388 h 2544762"/>
                    <a:gd name="connsiteX14" fmla="*/ 438150 w 1340644"/>
                    <a:gd name="connsiteY14" fmla="*/ 890588 h 2544762"/>
                    <a:gd name="connsiteX15" fmla="*/ 385761 w 1340644"/>
                    <a:gd name="connsiteY15" fmla="*/ 895352 h 2544762"/>
                    <a:gd name="connsiteX16" fmla="*/ 359569 w 1340644"/>
                    <a:gd name="connsiteY16" fmla="*/ 957263 h 2544762"/>
                    <a:gd name="connsiteX17" fmla="*/ 407194 w 1340644"/>
                    <a:gd name="connsiteY17" fmla="*/ 995364 h 2544762"/>
                    <a:gd name="connsiteX18" fmla="*/ 335757 w 1340644"/>
                    <a:gd name="connsiteY18" fmla="*/ 1045369 h 2544762"/>
                    <a:gd name="connsiteX19" fmla="*/ 288131 w 1340644"/>
                    <a:gd name="connsiteY19" fmla="*/ 1023938 h 2544762"/>
                    <a:gd name="connsiteX20" fmla="*/ 259556 w 1340644"/>
                    <a:gd name="connsiteY20" fmla="*/ 1090613 h 2544762"/>
                    <a:gd name="connsiteX21" fmla="*/ 70643 w 1340644"/>
                    <a:gd name="connsiteY21" fmla="*/ 1068387 h 2544762"/>
                    <a:gd name="connsiteX22" fmla="*/ 28575 w 1340644"/>
                    <a:gd name="connsiteY22" fmla="*/ 1083470 h 2544762"/>
                    <a:gd name="connsiteX23" fmla="*/ 38100 w 1340644"/>
                    <a:gd name="connsiteY23" fmla="*/ 1140620 h 2544762"/>
                    <a:gd name="connsiteX24" fmla="*/ 0 w 1340644"/>
                    <a:gd name="connsiteY24" fmla="*/ 1188244 h 2544762"/>
                    <a:gd name="connsiteX25" fmla="*/ 0 w 1340644"/>
                    <a:gd name="connsiteY25" fmla="*/ 1328738 h 2544762"/>
                    <a:gd name="connsiteX26" fmla="*/ 26194 w 1340644"/>
                    <a:gd name="connsiteY26" fmla="*/ 1432718 h 2544762"/>
                    <a:gd name="connsiteX27" fmla="*/ 157162 w 1340644"/>
                    <a:gd name="connsiteY27" fmla="*/ 1795464 h 2544762"/>
                    <a:gd name="connsiteX28" fmla="*/ 161925 w 1340644"/>
                    <a:gd name="connsiteY28" fmla="*/ 1971675 h 2544762"/>
                    <a:gd name="connsiteX29" fmla="*/ 107156 w 1340644"/>
                    <a:gd name="connsiteY29" fmla="*/ 2064545 h 2544762"/>
                    <a:gd name="connsiteX30" fmla="*/ 123031 w 1340644"/>
                    <a:gd name="connsiteY30" fmla="*/ 2228056 h 2544762"/>
                    <a:gd name="connsiteX31" fmla="*/ 238125 w 1340644"/>
                    <a:gd name="connsiteY31" fmla="*/ 2422524 h 2544762"/>
                    <a:gd name="connsiteX32" fmla="*/ 418306 w 1340644"/>
                    <a:gd name="connsiteY32" fmla="*/ 2544762 h 2544762"/>
                    <a:gd name="connsiteX33" fmla="*/ 581024 w 1340644"/>
                    <a:gd name="connsiteY33" fmla="*/ 2409825 h 2544762"/>
                    <a:gd name="connsiteX34" fmla="*/ 585787 w 1340644"/>
                    <a:gd name="connsiteY34" fmla="*/ 2336007 h 2544762"/>
                    <a:gd name="connsiteX35" fmla="*/ 650082 w 1340644"/>
                    <a:gd name="connsiteY35" fmla="*/ 2300288 h 2544762"/>
                    <a:gd name="connsiteX36" fmla="*/ 652462 w 1340644"/>
                    <a:gd name="connsiteY36" fmla="*/ 2183607 h 2544762"/>
                    <a:gd name="connsiteX37" fmla="*/ 609599 w 1340644"/>
                    <a:gd name="connsiteY37" fmla="*/ 2169320 h 2544762"/>
                    <a:gd name="connsiteX38" fmla="*/ 531019 w 1340644"/>
                    <a:gd name="connsiteY38" fmla="*/ 2014538 h 2544762"/>
                    <a:gd name="connsiteX39" fmla="*/ 473869 w 1340644"/>
                    <a:gd name="connsiteY39" fmla="*/ 1704975 h 2544762"/>
                    <a:gd name="connsiteX40" fmla="*/ 385763 w 1340644"/>
                    <a:gd name="connsiteY40" fmla="*/ 1638301 h 2544762"/>
                    <a:gd name="connsiteX41" fmla="*/ 566737 w 1340644"/>
                    <a:gd name="connsiteY41" fmla="*/ 1628775 h 2544762"/>
                    <a:gd name="connsiteX42" fmla="*/ 657225 w 1340644"/>
                    <a:gd name="connsiteY42" fmla="*/ 1540669 h 2544762"/>
                    <a:gd name="connsiteX43" fmla="*/ 873919 w 1340644"/>
                    <a:gd name="connsiteY43" fmla="*/ 1543050 h 2544762"/>
                    <a:gd name="connsiteX44" fmla="*/ 926306 w 1340644"/>
                    <a:gd name="connsiteY44" fmla="*/ 1590676 h 2544762"/>
                    <a:gd name="connsiteX45" fmla="*/ 916781 w 1340644"/>
                    <a:gd name="connsiteY45" fmla="*/ 1628776 h 2544762"/>
                    <a:gd name="connsiteX46" fmla="*/ 995362 w 1340644"/>
                    <a:gd name="connsiteY46" fmla="*/ 1600201 h 2544762"/>
                    <a:gd name="connsiteX47" fmla="*/ 1042988 w 1340644"/>
                    <a:gd name="connsiteY47" fmla="*/ 1678782 h 2544762"/>
                    <a:gd name="connsiteX48" fmla="*/ 1073944 w 1340644"/>
                    <a:gd name="connsiteY48" fmla="*/ 1743074 h 2544762"/>
                    <a:gd name="connsiteX49" fmla="*/ 1128713 w 1340644"/>
                    <a:gd name="connsiteY49" fmla="*/ 1724026 h 2544762"/>
                    <a:gd name="connsiteX50" fmla="*/ 1181100 w 1340644"/>
                    <a:gd name="connsiteY50" fmla="*/ 1723231 h 2544762"/>
                    <a:gd name="connsiteX51" fmla="*/ 1145381 w 1340644"/>
                    <a:gd name="connsiteY51" fmla="*/ 1531144 h 2544762"/>
                    <a:gd name="connsiteX52" fmla="*/ 1197769 w 1340644"/>
                    <a:gd name="connsiteY52" fmla="*/ 1443038 h 2544762"/>
                    <a:gd name="connsiteX53" fmla="*/ 1169194 w 1340644"/>
                    <a:gd name="connsiteY53" fmla="*/ 1388270 h 2544762"/>
                    <a:gd name="connsiteX54" fmla="*/ 1223962 w 1340644"/>
                    <a:gd name="connsiteY54" fmla="*/ 1381125 h 2544762"/>
                    <a:gd name="connsiteX55" fmla="*/ 1276350 w 1340644"/>
                    <a:gd name="connsiteY55" fmla="*/ 1302545 h 2544762"/>
                    <a:gd name="connsiteX56" fmla="*/ 1266825 w 1340644"/>
                    <a:gd name="connsiteY56" fmla="*/ 1254920 h 2544762"/>
                    <a:gd name="connsiteX57" fmla="*/ 1303338 w 1340644"/>
                    <a:gd name="connsiteY57" fmla="*/ 1246187 h 2544762"/>
                    <a:gd name="connsiteX58" fmla="*/ 1340644 w 1340644"/>
                    <a:gd name="connsiteY58" fmla="*/ 1190625 h 2544762"/>
                    <a:gd name="connsiteX59" fmla="*/ 1285875 w 1340644"/>
                    <a:gd name="connsiteY59" fmla="*/ 1007269 h 2544762"/>
                    <a:gd name="connsiteX60" fmla="*/ 1240632 w 1340644"/>
                    <a:gd name="connsiteY60" fmla="*/ 878682 h 2544762"/>
                    <a:gd name="connsiteX61" fmla="*/ 1273969 w 1340644"/>
                    <a:gd name="connsiteY61" fmla="*/ 804863 h 2544762"/>
                    <a:gd name="connsiteX62" fmla="*/ 1223963 w 1340644"/>
                    <a:gd name="connsiteY62" fmla="*/ 664370 h 2544762"/>
                    <a:gd name="connsiteX63" fmla="*/ 1164431 w 1340644"/>
                    <a:gd name="connsiteY63" fmla="*/ 604838 h 2544762"/>
                    <a:gd name="connsiteX64" fmla="*/ 1162050 w 1340644"/>
                    <a:gd name="connsiteY64" fmla="*/ 523876 h 2544762"/>
                    <a:gd name="connsiteX65" fmla="*/ 1143001 w 1340644"/>
                    <a:gd name="connsiteY65" fmla="*/ 445295 h 2544762"/>
                    <a:gd name="connsiteX66" fmla="*/ 1163637 w 1340644"/>
                    <a:gd name="connsiteY66" fmla="*/ 324644 h 2544762"/>
                    <a:gd name="connsiteX67" fmla="*/ 1012031 w 1340644"/>
                    <a:gd name="connsiteY67" fmla="*/ 0 h 2544762"/>
                    <a:gd name="connsiteX68" fmla="*/ 926306 w 1340644"/>
                    <a:gd name="connsiteY68" fmla="*/ 153193 h 2544762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</a:cxnLst>
                  <a:rect l="l" t="t" r="r" b="b"/>
                  <a:pathLst>
                    <a:path w="1340644" h="2544762">
                      <a:moveTo>
                        <a:pt x="926306" y="153193"/>
                      </a:moveTo>
                      <a:lnTo>
                        <a:pt x="907256" y="221457"/>
                      </a:lnTo>
                      <a:lnTo>
                        <a:pt x="945356" y="288132"/>
                      </a:lnTo>
                      <a:lnTo>
                        <a:pt x="916782" y="352426"/>
                      </a:lnTo>
                      <a:lnTo>
                        <a:pt x="828675" y="373857"/>
                      </a:lnTo>
                      <a:lnTo>
                        <a:pt x="795337" y="407194"/>
                      </a:lnTo>
                      <a:lnTo>
                        <a:pt x="831055" y="431007"/>
                      </a:lnTo>
                      <a:lnTo>
                        <a:pt x="716756" y="502445"/>
                      </a:lnTo>
                      <a:lnTo>
                        <a:pt x="692944" y="528638"/>
                      </a:lnTo>
                      <a:lnTo>
                        <a:pt x="671513" y="590551"/>
                      </a:lnTo>
                      <a:lnTo>
                        <a:pt x="631031" y="569119"/>
                      </a:lnTo>
                      <a:lnTo>
                        <a:pt x="550068" y="654844"/>
                      </a:lnTo>
                      <a:lnTo>
                        <a:pt x="535781" y="728664"/>
                      </a:lnTo>
                      <a:lnTo>
                        <a:pt x="469106" y="814388"/>
                      </a:lnTo>
                      <a:lnTo>
                        <a:pt x="438150" y="890588"/>
                      </a:lnTo>
                      <a:lnTo>
                        <a:pt x="385761" y="895352"/>
                      </a:lnTo>
                      <a:lnTo>
                        <a:pt x="359569" y="957263"/>
                      </a:lnTo>
                      <a:lnTo>
                        <a:pt x="407194" y="995364"/>
                      </a:lnTo>
                      <a:lnTo>
                        <a:pt x="335757" y="1045369"/>
                      </a:lnTo>
                      <a:lnTo>
                        <a:pt x="288131" y="1023938"/>
                      </a:lnTo>
                      <a:lnTo>
                        <a:pt x="259556" y="1090613"/>
                      </a:lnTo>
                      <a:lnTo>
                        <a:pt x="70643" y="1068387"/>
                      </a:lnTo>
                      <a:lnTo>
                        <a:pt x="28575" y="1083470"/>
                      </a:lnTo>
                      <a:lnTo>
                        <a:pt x="38100" y="1140620"/>
                      </a:lnTo>
                      <a:lnTo>
                        <a:pt x="0" y="1188244"/>
                      </a:lnTo>
                      <a:lnTo>
                        <a:pt x="0" y="1328738"/>
                      </a:lnTo>
                      <a:lnTo>
                        <a:pt x="26194" y="1432718"/>
                      </a:lnTo>
                      <a:lnTo>
                        <a:pt x="157162" y="1795464"/>
                      </a:lnTo>
                      <a:lnTo>
                        <a:pt x="161925" y="1971675"/>
                      </a:lnTo>
                      <a:lnTo>
                        <a:pt x="107156" y="2064545"/>
                      </a:lnTo>
                      <a:lnTo>
                        <a:pt x="123031" y="2228056"/>
                      </a:lnTo>
                      <a:lnTo>
                        <a:pt x="238125" y="2422524"/>
                      </a:lnTo>
                      <a:lnTo>
                        <a:pt x="418306" y="2544762"/>
                      </a:lnTo>
                      <a:lnTo>
                        <a:pt x="581024" y="2409825"/>
                      </a:lnTo>
                      <a:lnTo>
                        <a:pt x="585787" y="2336007"/>
                      </a:lnTo>
                      <a:lnTo>
                        <a:pt x="650082" y="2300288"/>
                      </a:lnTo>
                      <a:cubicBezTo>
                        <a:pt x="650875" y="2261394"/>
                        <a:pt x="651669" y="2222501"/>
                        <a:pt x="652462" y="2183607"/>
                      </a:cubicBezTo>
                      <a:lnTo>
                        <a:pt x="609599" y="2169320"/>
                      </a:lnTo>
                      <a:lnTo>
                        <a:pt x="531019" y="2014538"/>
                      </a:lnTo>
                      <a:lnTo>
                        <a:pt x="473869" y="1704975"/>
                      </a:lnTo>
                      <a:lnTo>
                        <a:pt x="385763" y="1638301"/>
                      </a:lnTo>
                      <a:lnTo>
                        <a:pt x="566737" y="1628775"/>
                      </a:lnTo>
                      <a:lnTo>
                        <a:pt x="657225" y="1540669"/>
                      </a:lnTo>
                      <a:lnTo>
                        <a:pt x="873919" y="1543050"/>
                      </a:lnTo>
                      <a:lnTo>
                        <a:pt x="926306" y="1590676"/>
                      </a:lnTo>
                      <a:lnTo>
                        <a:pt x="916781" y="1628776"/>
                      </a:lnTo>
                      <a:lnTo>
                        <a:pt x="995362" y="1600201"/>
                      </a:lnTo>
                      <a:lnTo>
                        <a:pt x="1042988" y="1678782"/>
                      </a:lnTo>
                      <a:lnTo>
                        <a:pt x="1073944" y="1743074"/>
                      </a:lnTo>
                      <a:lnTo>
                        <a:pt x="1128713" y="1724026"/>
                      </a:lnTo>
                      <a:lnTo>
                        <a:pt x="1181100" y="1723231"/>
                      </a:lnTo>
                      <a:lnTo>
                        <a:pt x="1145381" y="1531144"/>
                      </a:lnTo>
                      <a:lnTo>
                        <a:pt x="1197769" y="1443038"/>
                      </a:lnTo>
                      <a:lnTo>
                        <a:pt x="1169194" y="1388270"/>
                      </a:lnTo>
                      <a:lnTo>
                        <a:pt x="1223962" y="1381125"/>
                      </a:lnTo>
                      <a:lnTo>
                        <a:pt x="1276350" y="1302545"/>
                      </a:lnTo>
                      <a:lnTo>
                        <a:pt x="1266825" y="1254920"/>
                      </a:lnTo>
                      <a:lnTo>
                        <a:pt x="1303338" y="1246187"/>
                      </a:lnTo>
                      <a:lnTo>
                        <a:pt x="1340644" y="1190625"/>
                      </a:lnTo>
                      <a:lnTo>
                        <a:pt x="1285875" y="1007269"/>
                      </a:lnTo>
                      <a:lnTo>
                        <a:pt x="1240632" y="878682"/>
                      </a:lnTo>
                      <a:lnTo>
                        <a:pt x="1273969" y="804863"/>
                      </a:lnTo>
                      <a:lnTo>
                        <a:pt x="1223963" y="664370"/>
                      </a:lnTo>
                      <a:lnTo>
                        <a:pt x="1164431" y="604838"/>
                      </a:lnTo>
                      <a:cubicBezTo>
                        <a:pt x="1163637" y="577851"/>
                        <a:pt x="1162844" y="550863"/>
                        <a:pt x="1162050" y="523876"/>
                      </a:cubicBezTo>
                      <a:lnTo>
                        <a:pt x="1143001" y="445295"/>
                      </a:lnTo>
                      <a:lnTo>
                        <a:pt x="1163637" y="324644"/>
                      </a:lnTo>
                      <a:lnTo>
                        <a:pt x="1012031" y="0"/>
                      </a:lnTo>
                      <a:lnTo>
                        <a:pt x="926306" y="153193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101" name="Freeform 100"/>
                <p:cNvSpPr/>
                <p:nvPr/>
              </p:nvSpPr>
              <p:spPr>
                <a:xfrm>
                  <a:off x="5757862" y="1214438"/>
                  <a:ext cx="1002506" cy="1152524"/>
                </a:xfrm>
                <a:custGeom>
                  <a:avLst/>
                  <a:gdLst>
                    <a:gd name="connsiteX0" fmla="*/ 581025 w 1352550"/>
                    <a:gd name="connsiteY0" fmla="*/ 0 h 1304925"/>
                    <a:gd name="connsiteX1" fmla="*/ 19050 w 1352550"/>
                    <a:gd name="connsiteY1" fmla="*/ 19050 h 1304925"/>
                    <a:gd name="connsiteX2" fmla="*/ 0 w 1352550"/>
                    <a:gd name="connsiteY2" fmla="*/ 404813 h 1304925"/>
                    <a:gd name="connsiteX3" fmla="*/ 204787 w 1352550"/>
                    <a:gd name="connsiteY3" fmla="*/ 728663 h 1304925"/>
                    <a:gd name="connsiteX4" fmla="*/ 452437 w 1352550"/>
                    <a:gd name="connsiteY4" fmla="*/ 1238250 h 1304925"/>
                    <a:gd name="connsiteX5" fmla="*/ 900112 w 1352550"/>
                    <a:gd name="connsiteY5" fmla="*/ 1304925 h 1304925"/>
                    <a:gd name="connsiteX6" fmla="*/ 1352550 w 1352550"/>
                    <a:gd name="connsiteY6" fmla="*/ 1052513 h 1304925"/>
                    <a:gd name="connsiteX7" fmla="*/ 1271587 w 1352550"/>
                    <a:gd name="connsiteY7" fmla="*/ 833438 h 1304925"/>
                    <a:gd name="connsiteX8" fmla="*/ 581025 w 1352550"/>
                    <a:gd name="connsiteY8" fmla="*/ 0 h 1304925"/>
                    <a:gd name="connsiteX0" fmla="*/ 581025 w 1352550"/>
                    <a:gd name="connsiteY0" fmla="*/ 0 h 1304925"/>
                    <a:gd name="connsiteX1" fmla="*/ 19050 w 1352550"/>
                    <a:gd name="connsiteY1" fmla="*/ 19050 h 1304925"/>
                    <a:gd name="connsiteX2" fmla="*/ 0 w 1352550"/>
                    <a:gd name="connsiteY2" fmla="*/ 404813 h 1304925"/>
                    <a:gd name="connsiteX3" fmla="*/ 204787 w 1352550"/>
                    <a:gd name="connsiteY3" fmla="*/ 728663 h 1304925"/>
                    <a:gd name="connsiteX4" fmla="*/ 452437 w 1352550"/>
                    <a:gd name="connsiteY4" fmla="*/ 1238250 h 1304925"/>
                    <a:gd name="connsiteX5" fmla="*/ 900112 w 1352550"/>
                    <a:gd name="connsiteY5" fmla="*/ 1304925 h 1304925"/>
                    <a:gd name="connsiteX6" fmla="*/ 1352550 w 1352550"/>
                    <a:gd name="connsiteY6" fmla="*/ 1052513 h 1304925"/>
                    <a:gd name="connsiteX7" fmla="*/ 1021555 w 1352550"/>
                    <a:gd name="connsiteY7" fmla="*/ 873919 h 1304925"/>
                    <a:gd name="connsiteX8" fmla="*/ 581025 w 1352550"/>
                    <a:gd name="connsiteY8" fmla="*/ 0 h 1304925"/>
                    <a:gd name="connsiteX0" fmla="*/ 581025 w 1352550"/>
                    <a:gd name="connsiteY0" fmla="*/ 0 h 1304925"/>
                    <a:gd name="connsiteX1" fmla="*/ 19050 w 1352550"/>
                    <a:gd name="connsiteY1" fmla="*/ 19050 h 1304925"/>
                    <a:gd name="connsiteX2" fmla="*/ 0 w 1352550"/>
                    <a:gd name="connsiteY2" fmla="*/ 404813 h 1304925"/>
                    <a:gd name="connsiteX3" fmla="*/ 204787 w 1352550"/>
                    <a:gd name="connsiteY3" fmla="*/ 728663 h 1304925"/>
                    <a:gd name="connsiteX4" fmla="*/ 452437 w 1352550"/>
                    <a:gd name="connsiteY4" fmla="*/ 1238250 h 1304925"/>
                    <a:gd name="connsiteX5" fmla="*/ 900112 w 1352550"/>
                    <a:gd name="connsiteY5" fmla="*/ 1304925 h 1304925"/>
                    <a:gd name="connsiteX6" fmla="*/ 1352550 w 1352550"/>
                    <a:gd name="connsiteY6" fmla="*/ 1052513 h 1304925"/>
                    <a:gd name="connsiteX7" fmla="*/ 1021555 w 1352550"/>
                    <a:gd name="connsiteY7" fmla="*/ 873919 h 1304925"/>
                    <a:gd name="connsiteX8" fmla="*/ 845343 w 1352550"/>
                    <a:gd name="connsiteY8" fmla="*/ 523875 h 1304925"/>
                    <a:gd name="connsiteX9" fmla="*/ 581025 w 1352550"/>
                    <a:gd name="connsiteY9" fmla="*/ 0 h 1304925"/>
                    <a:gd name="connsiteX0" fmla="*/ 581025 w 1352550"/>
                    <a:gd name="connsiteY0" fmla="*/ 0 h 1304925"/>
                    <a:gd name="connsiteX1" fmla="*/ 19050 w 1352550"/>
                    <a:gd name="connsiteY1" fmla="*/ 19050 h 1304925"/>
                    <a:gd name="connsiteX2" fmla="*/ 0 w 1352550"/>
                    <a:gd name="connsiteY2" fmla="*/ 404813 h 1304925"/>
                    <a:gd name="connsiteX3" fmla="*/ 204787 w 1352550"/>
                    <a:gd name="connsiteY3" fmla="*/ 728663 h 1304925"/>
                    <a:gd name="connsiteX4" fmla="*/ 452437 w 1352550"/>
                    <a:gd name="connsiteY4" fmla="*/ 1238250 h 1304925"/>
                    <a:gd name="connsiteX5" fmla="*/ 900112 w 1352550"/>
                    <a:gd name="connsiteY5" fmla="*/ 1304925 h 1304925"/>
                    <a:gd name="connsiteX6" fmla="*/ 1352550 w 1352550"/>
                    <a:gd name="connsiteY6" fmla="*/ 1052513 h 1304925"/>
                    <a:gd name="connsiteX7" fmla="*/ 1021555 w 1352550"/>
                    <a:gd name="connsiteY7" fmla="*/ 873919 h 1304925"/>
                    <a:gd name="connsiteX8" fmla="*/ 683418 w 1352550"/>
                    <a:gd name="connsiteY8" fmla="*/ 616744 h 1304925"/>
                    <a:gd name="connsiteX9" fmla="*/ 581025 w 1352550"/>
                    <a:gd name="connsiteY9" fmla="*/ 0 h 1304925"/>
                    <a:gd name="connsiteX0" fmla="*/ 581025 w 1352550"/>
                    <a:gd name="connsiteY0" fmla="*/ 0 h 1304925"/>
                    <a:gd name="connsiteX1" fmla="*/ 19050 w 1352550"/>
                    <a:gd name="connsiteY1" fmla="*/ 19050 h 1304925"/>
                    <a:gd name="connsiteX2" fmla="*/ 0 w 1352550"/>
                    <a:gd name="connsiteY2" fmla="*/ 404813 h 1304925"/>
                    <a:gd name="connsiteX3" fmla="*/ 204787 w 1352550"/>
                    <a:gd name="connsiteY3" fmla="*/ 728663 h 1304925"/>
                    <a:gd name="connsiteX4" fmla="*/ 452437 w 1352550"/>
                    <a:gd name="connsiteY4" fmla="*/ 1238250 h 1304925"/>
                    <a:gd name="connsiteX5" fmla="*/ 900112 w 1352550"/>
                    <a:gd name="connsiteY5" fmla="*/ 1304925 h 1304925"/>
                    <a:gd name="connsiteX6" fmla="*/ 1352550 w 1352550"/>
                    <a:gd name="connsiteY6" fmla="*/ 1052513 h 1304925"/>
                    <a:gd name="connsiteX7" fmla="*/ 1021555 w 1352550"/>
                    <a:gd name="connsiteY7" fmla="*/ 873919 h 1304925"/>
                    <a:gd name="connsiteX8" fmla="*/ 683418 w 1352550"/>
                    <a:gd name="connsiteY8" fmla="*/ 616744 h 1304925"/>
                    <a:gd name="connsiteX9" fmla="*/ 642937 w 1352550"/>
                    <a:gd name="connsiteY9" fmla="*/ 400050 h 1304925"/>
                    <a:gd name="connsiteX10" fmla="*/ 581025 w 1352550"/>
                    <a:gd name="connsiteY10" fmla="*/ 0 h 1304925"/>
                    <a:gd name="connsiteX0" fmla="*/ 581025 w 1352550"/>
                    <a:gd name="connsiteY0" fmla="*/ 0 h 1304925"/>
                    <a:gd name="connsiteX1" fmla="*/ 19050 w 1352550"/>
                    <a:gd name="connsiteY1" fmla="*/ 19050 h 1304925"/>
                    <a:gd name="connsiteX2" fmla="*/ 0 w 1352550"/>
                    <a:gd name="connsiteY2" fmla="*/ 404813 h 1304925"/>
                    <a:gd name="connsiteX3" fmla="*/ 204787 w 1352550"/>
                    <a:gd name="connsiteY3" fmla="*/ 728663 h 1304925"/>
                    <a:gd name="connsiteX4" fmla="*/ 452437 w 1352550"/>
                    <a:gd name="connsiteY4" fmla="*/ 1238250 h 1304925"/>
                    <a:gd name="connsiteX5" fmla="*/ 900112 w 1352550"/>
                    <a:gd name="connsiteY5" fmla="*/ 1304925 h 1304925"/>
                    <a:gd name="connsiteX6" fmla="*/ 1352550 w 1352550"/>
                    <a:gd name="connsiteY6" fmla="*/ 1052513 h 1304925"/>
                    <a:gd name="connsiteX7" fmla="*/ 1021555 w 1352550"/>
                    <a:gd name="connsiteY7" fmla="*/ 873919 h 1304925"/>
                    <a:gd name="connsiteX8" fmla="*/ 683418 w 1352550"/>
                    <a:gd name="connsiteY8" fmla="*/ 616744 h 1304925"/>
                    <a:gd name="connsiteX9" fmla="*/ 642937 w 1352550"/>
                    <a:gd name="connsiteY9" fmla="*/ 590550 h 1304925"/>
                    <a:gd name="connsiteX10" fmla="*/ 581025 w 1352550"/>
                    <a:gd name="connsiteY10" fmla="*/ 0 h 1304925"/>
                    <a:gd name="connsiteX0" fmla="*/ 581025 w 1352550"/>
                    <a:gd name="connsiteY0" fmla="*/ 0 h 1304925"/>
                    <a:gd name="connsiteX1" fmla="*/ 19050 w 1352550"/>
                    <a:gd name="connsiteY1" fmla="*/ 19050 h 1304925"/>
                    <a:gd name="connsiteX2" fmla="*/ 0 w 1352550"/>
                    <a:gd name="connsiteY2" fmla="*/ 404813 h 1304925"/>
                    <a:gd name="connsiteX3" fmla="*/ 204787 w 1352550"/>
                    <a:gd name="connsiteY3" fmla="*/ 728663 h 1304925"/>
                    <a:gd name="connsiteX4" fmla="*/ 452437 w 1352550"/>
                    <a:gd name="connsiteY4" fmla="*/ 1238250 h 1304925"/>
                    <a:gd name="connsiteX5" fmla="*/ 900112 w 1352550"/>
                    <a:gd name="connsiteY5" fmla="*/ 1304925 h 1304925"/>
                    <a:gd name="connsiteX6" fmla="*/ 1352550 w 1352550"/>
                    <a:gd name="connsiteY6" fmla="*/ 1052513 h 1304925"/>
                    <a:gd name="connsiteX7" fmla="*/ 1021555 w 1352550"/>
                    <a:gd name="connsiteY7" fmla="*/ 873919 h 1304925"/>
                    <a:gd name="connsiteX8" fmla="*/ 683418 w 1352550"/>
                    <a:gd name="connsiteY8" fmla="*/ 616744 h 1304925"/>
                    <a:gd name="connsiteX9" fmla="*/ 642937 w 1352550"/>
                    <a:gd name="connsiteY9" fmla="*/ 590550 h 1304925"/>
                    <a:gd name="connsiteX10" fmla="*/ 626268 w 1352550"/>
                    <a:gd name="connsiteY10" fmla="*/ 445294 h 1304925"/>
                    <a:gd name="connsiteX11" fmla="*/ 581025 w 1352550"/>
                    <a:gd name="connsiteY11" fmla="*/ 0 h 130492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626268 w 1352550"/>
                    <a:gd name="connsiteY10" fmla="*/ 426244 h 1285875"/>
                    <a:gd name="connsiteX11" fmla="*/ 452437 w 1352550"/>
                    <a:gd name="connsiteY11" fmla="*/ 100013 h 128587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561974 w 1352550"/>
                    <a:gd name="connsiteY10" fmla="*/ 173831 h 1285875"/>
                    <a:gd name="connsiteX11" fmla="*/ 452437 w 1352550"/>
                    <a:gd name="connsiteY11" fmla="*/ 100013 h 128587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609600 w 1352550"/>
                    <a:gd name="connsiteY10" fmla="*/ 404813 h 1285875"/>
                    <a:gd name="connsiteX11" fmla="*/ 561974 w 1352550"/>
                    <a:gd name="connsiteY11" fmla="*/ 173831 h 1285875"/>
                    <a:gd name="connsiteX12" fmla="*/ 452437 w 1352550"/>
                    <a:gd name="connsiteY12" fmla="*/ 100013 h 128587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600075 w 1352550"/>
                    <a:gd name="connsiteY10" fmla="*/ 328613 h 1285875"/>
                    <a:gd name="connsiteX11" fmla="*/ 561974 w 1352550"/>
                    <a:gd name="connsiteY11" fmla="*/ 173831 h 1285875"/>
                    <a:gd name="connsiteX12" fmla="*/ 452437 w 1352550"/>
                    <a:gd name="connsiteY12" fmla="*/ 100013 h 128587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619125 w 1352550"/>
                    <a:gd name="connsiteY10" fmla="*/ 452438 h 1285875"/>
                    <a:gd name="connsiteX11" fmla="*/ 600075 w 1352550"/>
                    <a:gd name="connsiteY11" fmla="*/ 328613 h 1285875"/>
                    <a:gd name="connsiteX12" fmla="*/ 561974 w 1352550"/>
                    <a:gd name="connsiteY12" fmla="*/ 173831 h 1285875"/>
                    <a:gd name="connsiteX13" fmla="*/ 452437 w 1352550"/>
                    <a:gd name="connsiteY13" fmla="*/ 100013 h 128587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507206 w 1352550"/>
                    <a:gd name="connsiteY10" fmla="*/ 419100 h 1285875"/>
                    <a:gd name="connsiteX11" fmla="*/ 600075 w 1352550"/>
                    <a:gd name="connsiteY11" fmla="*/ 328613 h 1285875"/>
                    <a:gd name="connsiteX12" fmla="*/ 561974 w 1352550"/>
                    <a:gd name="connsiteY12" fmla="*/ 173831 h 1285875"/>
                    <a:gd name="connsiteX13" fmla="*/ 452437 w 1352550"/>
                    <a:gd name="connsiteY13" fmla="*/ 100013 h 128587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581025 w 1352550"/>
                    <a:gd name="connsiteY10" fmla="*/ 509588 h 1285875"/>
                    <a:gd name="connsiteX11" fmla="*/ 507206 w 1352550"/>
                    <a:gd name="connsiteY11" fmla="*/ 419100 h 1285875"/>
                    <a:gd name="connsiteX12" fmla="*/ 600075 w 1352550"/>
                    <a:gd name="connsiteY12" fmla="*/ 328613 h 1285875"/>
                    <a:gd name="connsiteX13" fmla="*/ 561974 w 1352550"/>
                    <a:gd name="connsiteY13" fmla="*/ 173831 h 1285875"/>
                    <a:gd name="connsiteX14" fmla="*/ 452437 w 1352550"/>
                    <a:gd name="connsiteY14" fmla="*/ 100013 h 128587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607218 w 1352550"/>
                    <a:gd name="connsiteY10" fmla="*/ 478632 h 1285875"/>
                    <a:gd name="connsiteX11" fmla="*/ 507206 w 1352550"/>
                    <a:gd name="connsiteY11" fmla="*/ 419100 h 1285875"/>
                    <a:gd name="connsiteX12" fmla="*/ 600075 w 1352550"/>
                    <a:gd name="connsiteY12" fmla="*/ 328613 h 1285875"/>
                    <a:gd name="connsiteX13" fmla="*/ 561974 w 1352550"/>
                    <a:gd name="connsiteY13" fmla="*/ 173831 h 1285875"/>
                    <a:gd name="connsiteX14" fmla="*/ 452437 w 1352550"/>
                    <a:gd name="connsiteY14" fmla="*/ 100013 h 128587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607218 w 1352550"/>
                    <a:gd name="connsiteY10" fmla="*/ 478632 h 1285875"/>
                    <a:gd name="connsiteX11" fmla="*/ 557212 w 1352550"/>
                    <a:gd name="connsiteY11" fmla="*/ 447675 h 1285875"/>
                    <a:gd name="connsiteX12" fmla="*/ 507206 w 1352550"/>
                    <a:gd name="connsiteY12" fmla="*/ 419100 h 1285875"/>
                    <a:gd name="connsiteX13" fmla="*/ 600075 w 1352550"/>
                    <a:gd name="connsiteY13" fmla="*/ 328613 h 1285875"/>
                    <a:gd name="connsiteX14" fmla="*/ 561974 w 1352550"/>
                    <a:gd name="connsiteY14" fmla="*/ 173831 h 1285875"/>
                    <a:gd name="connsiteX15" fmla="*/ 452437 w 1352550"/>
                    <a:gd name="connsiteY15" fmla="*/ 100013 h 1285875"/>
                    <a:gd name="connsiteX0" fmla="*/ 452437 w 1352550"/>
                    <a:gd name="connsiteY0" fmla="*/ 100013 h 1285875"/>
                    <a:gd name="connsiteX1" fmla="*/ 19050 w 1352550"/>
                    <a:gd name="connsiteY1" fmla="*/ 0 h 1285875"/>
                    <a:gd name="connsiteX2" fmla="*/ 0 w 1352550"/>
                    <a:gd name="connsiteY2" fmla="*/ 385763 h 1285875"/>
                    <a:gd name="connsiteX3" fmla="*/ 204787 w 1352550"/>
                    <a:gd name="connsiteY3" fmla="*/ 709613 h 1285875"/>
                    <a:gd name="connsiteX4" fmla="*/ 452437 w 1352550"/>
                    <a:gd name="connsiteY4" fmla="*/ 1219200 h 1285875"/>
                    <a:gd name="connsiteX5" fmla="*/ 900112 w 1352550"/>
                    <a:gd name="connsiteY5" fmla="*/ 1285875 h 1285875"/>
                    <a:gd name="connsiteX6" fmla="*/ 1352550 w 1352550"/>
                    <a:gd name="connsiteY6" fmla="*/ 1033463 h 1285875"/>
                    <a:gd name="connsiteX7" fmla="*/ 1021555 w 1352550"/>
                    <a:gd name="connsiteY7" fmla="*/ 854869 h 1285875"/>
                    <a:gd name="connsiteX8" fmla="*/ 683418 w 1352550"/>
                    <a:gd name="connsiteY8" fmla="*/ 597694 h 1285875"/>
                    <a:gd name="connsiteX9" fmla="*/ 642937 w 1352550"/>
                    <a:gd name="connsiteY9" fmla="*/ 571500 h 1285875"/>
                    <a:gd name="connsiteX10" fmla="*/ 607218 w 1352550"/>
                    <a:gd name="connsiteY10" fmla="*/ 478632 h 1285875"/>
                    <a:gd name="connsiteX11" fmla="*/ 533400 w 1352550"/>
                    <a:gd name="connsiteY11" fmla="*/ 466725 h 1285875"/>
                    <a:gd name="connsiteX12" fmla="*/ 507206 w 1352550"/>
                    <a:gd name="connsiteY12" fmla="*/ 419100 h 1285875"/>
                    <a:gd name="connsiteX13" fmla="*/ 600075 w 1352550"/>
                    <a:gd name="connsiteY13" fmla="*/ 328613 h 1285875"/>
                    <a:gd name="connsiteX14" fmla="*/ 561974 w 1352550"/>
                    <a:gd name="connsiteY14" fmla="*/ 173831 h 1285875"/>
                    <a:gd name="connsiteX15" fmla="*/ 452437 w 1352550"/>
                    <a:gd name="connsiteY15" fmla="*/ 100013 h 1285875"/>
                    <a:gd name="connsiteX0" fmla="*/ 452437 w 1352550"/>
                    <a:gd name="connsiteY0" fmla="*/ 85725 h 1271587"/>
                    <a:gd name="connsiteX1" fmla="*/ 235744 w 1352550"/>
                    <a:gd name="connsiteY1" fmla="*/ 0 h 1271587"/>
                    <a:gd name="connsiteX2" fmla="*/ 0 w 1352550"/>
                    <a:gd name="connsiteY2" fmla="*/ 371475 h 1271587"/>
                    <a:gd name="connsiteX3" fmla="*/ 204787 w 1352550"/>
                    <a:gd name="connsiteY3" fmla="*/ 695325 h 1271587"/>
                    <a:gd name="connsiteX4" fmla="*/ 452437 w 1352550"/>
                    <a:gd name="connsiteY4" fmla="*/ 1204912 h 1271587"/>
                    <a:gd name="connsiteX5" fmla="*/ 900112 w 1352550"/>
                    <a:gd name="connsiteY5" fmla="*/ 1271587 h 1271587"/>
                    <a:gd name="connsiteX6" fmla="*/ 1352550 w 1352550"/>
                    <a:gd name="connsiteY6" fmla="*/ 1019175 h 1271587"/>
                    <a:gd name="connsiteX7" fmla="*/ 1021555 w 1352550"/>
                    <a:gd name="connsiteY7" fmla="*/ 840581 h 1271587"/>
                    <a:gd name="connsiteX8" fmla="*/ 683418 w 1352550"/>
                    <a:gd name="connsiteY8" fmla="*/ 583406 h 1271587"/>
                    <a:gd name="connsiteX9" fmla="*/ 642937 w 1352550"/>
                    <a:gd name="connsiteY9" fmla="*/ 557212 h 1271587"/>
                    <a:gd name="connsiteX10" fmla="*/ 607218 w 1352550"/>
                    <a:gd name="connsiteY10" fmla="*/ 464344 h 1271587"/>
                    <a:gd name="connsiteX11" fmla="*/ 533400 w 1352550"/>
                    <a:gd name="connsiteY11" fmla="*/ 452437 h 1271587"/>
                    <a:gd name="connsiteX12" fmla="*/ 507206 w 1352550"/>
                    <a:gd name="connsiteY12" fmla="*/ 404812 h 1271587"/>
                    <a:gd name="connsiteX13" fmla="*/ 600075 w 1352550"/>
                    <a:gd name="connsiteY13" fmla="*/ 314325 h 1271587"/>
                    <a:gd name="connsiteX14" fmla="*/ 561974 w 1352550"/>
                    <a:gd name="connsiteY14" fmla="*/ 159543 h 1271587"/>
                    <a:gd name="connsiteX15" fmla="*/ 452437 w 1352550"/>
                    <a:gd name="connsiteY15" fmla="*/ 85725 h 1271587"/>
                    <a:gd name="connsiteX0" fmla="*/ 452437 w 1352550"/>
                    <a:gd name="connsiteY0" fmla="*/ 85725 h 1271587"/>
                    <a:gd name="connsiteX1" fmla="*/ 235744 w 1352550"/>
                    <a:gd name="connsiteY1" fmla="*/ 0 h 1271587"/>
                    <a:gd name="connsiteX2" fmla="*/ 121443 w 1352550"/>
                    <a:gd name="connsiteY2" fmla="*/ 183356 h 1271587"/>
                    <a:gd name="connsiteX3" fmla="*/ 0 w 1352550"/>
                    <a:gd name="connsiteY3" fmla="*/ 371475 h 1271587"/>
                    <a:gd name="connsiteX4" fmla="*/ 204787 w 1352550"/>
                    <a:gd name="connsiteY4" fmla="*/ 695325 h 1271587"/>
                    <a:gd name="connsiteX5" fmla="*/ 452437 w 1352550"/>
                    <a:gd name="connsiteY5" fmla="*/ 1204912 h 1271587"/>
                    <a:gd name="connsiteX6" fmla="*/ 900112 w 1352550"/>
                    <a:gd name="connsiteY6" fmla="*/ 1271587 h 1271587"/>
                    <a:gd name="connsiteX7" fmla="*/ 1352550 w 1352550"/>
                    <a:gd name="connsiteY7" fmla="*/ 1019175 h 1271587"/>
                    <a:gd name="connsiteX8" fmla="*/ 1021555 w 1352550"/>
                    <a:gd name="connsiteY8" fmla="*/ 840581 h 1271587"/>
                    <a:gd name="connsiteX9" fmla="*/ 683418 w 1352550"/>
                    <a:gd name="connsiteY9" fmla="*/ 583406 h 1271587"/>
                    <a:gd name="connsiteX10" fmla="*/ 642937 w 1352550"/>
                    <a:gd name="connsiteY10" fmla="*/ 557212 h 1271587"/>
                    <a:gd name="connsiteX11" fmla="*/ 607218 w 1352550"/>
                    <a:gd name="connsiteY11" fmla="*/ 464344 h 1271587"/>
                    <a:gd name="connsiteX12" fmla="*/ 533400 w 1352550"/>
                    <a:gd name="connsiteY12" fmla="*/ 452437 h 1271587"/>
                    <a:gd name="connsiteX13" fmla="*/ 507206 w 1352550"/>
                    <a:gd name="connsiteY13" fmla="*/ 404812 h 1271587"/>
                    <a:gd name="connsiteX14" fmla="*/ 600075 w 1352550"/>
                    <a:gd name="connsiteY14" fmla="*/ 314325 h 1271587"/>
                    <a:gd name="connsiteX15" fmla="*/ 561974 w 1352550"/>
                    <a:gd name="connsiteY15" fmla="*/ 159543 h 1271587"/>
                    <a:gd name="connsiteX16" fmla="*/ 452437 w 1352550"/>
                    <a:gd name="connsiteY16" fmla="*/ 85725 h 1271587"/>
                    <a:gd name="connsiteX0" fmla="*/ 452437 w 1352550"/>
                    <a:gd name="connsiteY0" fmla="*/ 85725 h 1271587"/>
                    <a:gd name="connsiteX1" fmla="*/ 235744 w 1352550"/>
                    <a:gd name="connsiteY1" fmla="*/ 0 h 1271587"/>
                    <a:gd name="connsiteX2" fmla="*/ 28574 w 1352550"/>
                    <a:gd name="connsiteY2" fmla="*/ 100012 h 1271587"/>
                    <a:gd name="connsiteX3" fmla="*/ 0 w 1352550"/>
                    <a:gd name="connsiteY3" fmla="*/ 371475 h 1271587"/>
                    <a:gd name="connsiteX4" fmla="*/ 204787 w 1352550"/>
                    <a:gd name="connsiteY4" fmla="*/ 695325 h 1271587"/>
                    <a:gd name="connsiteX5" fmla="*/ 452437 w 1352550"/>
                    <a:gd name="connsiteY5" fmla="*/ 1204912 h 1271587"/>
                    <a:gd name="connsiteX6" fmla="*/ 900112 w 1352550"/>
                    <a:gd name="connsiteY6" fmla="*/ 1271587 h 1271587"/>
                    <a:gd name="connsiteX7" fmla="*/ 1352550 w 1352550"/>
                    <a:gd name="connsiteY7" fmla="*/ 1019175 h 1271587"/>
                    <a:gd name="connsiteX8" fmla="*/ 1021555 w 1352550"/>
                    <a:gd name="connsiteY8" fmla="*/ 840581 h 1271587"/>
                    <a:gd name="connsiteX9" fmla="*/ 683418 w 1352550"/>
                    <a:gd name="connsiteY9" fmla="*/ 583406 h 1271587"/>
                    <a:gd name="connsiteX10" fmla="*/ 642937 w 1352550"/>
                    <a:gd name="connsiteY10" fmla="*/ 557212 h 1271587"/>
                    <a:gd name="connsiteX11" fmla="*/ 607218 w 1352550"/>
                    <a:gd name="connsiteY11" fmla="*/ 464344 h 1271587"/>
                    <a:gd name="connsiteX12" fmla="*/ 533400 w 1352550"/>
                    <a:gd name="connsiteY12" fmla="*/ 452437 h 1271587"/>
                    <a:gd name="connsiteX13" fmla="*/ 507206 w 1352550"/>
                    <a:gd name="connsiteY13" fmla="*/ 404812 h 1271587"/>
                    <a:gd name="connsiteX14" fmla="*/ 600075 w 1352550"/>
                    <a:gd name="connsiteY14" fmla="*/ 314325 h 1271587"/>
                    <a:gd name="connsiteX15" fmla="*/ 561974 w 1352550"/>
                    <a:gd name="connsiteY15" fmla="*/ 159543 h 1271587"/>
                    <a:gd name="connsiteX16" fmla="*/ 452437 w 1352550"/>
                    <a:gd name="connsiteY16" fmla="*/ 85725 h 1271587"/>
                    <a:gd name="connsiteX0" fmla="*/ 423863 w 1323976"/>
                    <a:gd name="connsiteY0" fmla="*/ 85725 h 1271587"/>
                    <a:gd name="connsiteX1" fmla="*/ 207170 w 1323976"/>
                    <a:gd name="connsiteY1" fmla="*/ 0 h 1271587"/>
                    <a:gd name="connsiteX2" fmla="*/ 0 w 1323976"/>
                    <a:gd name="connsiteY2" fmla="*/ 100012 h 1271587"/>
                    <a:gd name="connsiteX3" fmla="*/ 88107 w 1323976"/>
                    <a:gd name="connsiteY3" fmla="*/ 414338 h 1271587"/>
                    <a:gd name="connsiteX4" fmla="*/ 176213 w 1323976"/>
                    <a:gd name="connsiteY4" fmla="*/ 695325 h 1271587"/>
                    <a:gd name="connsiteX5" fmla="*/ 423863 w 1323976"/>
                    <a:gd name="connsiteY5" fmla="*/ 1204912 h 1271587"/>
                    <a:gd name="connsiteX6" fmla="*/ 871538 w 1323976"/>
                    <a:gd name="connsiteY6" fmla="*/ 1271587 h 1271587"/>
                    <a:gd name="connsiteX7" fmla="*/ 1323976 w 1323976"/>
                    <a:gd name="connsiteY7" fmla="*/ 1019175 h 1271587"/>
                    <a:gd name="connsiteX8" fmla="*/ 992981 w 1323976"/>
                    <a:gd name="connsiteY8" fmla="*/ 840581 h 1271587"/>
                    <a:gd name="connsiteX9" fmla="*/ 654844 w 1323976"/>
                    <a:gd name="connsiteY9" fmla="*/ 583406 h 1271587"/>
                    <a:gd name="connsiteX10" fmla="*/ 614363 w 1323976"/>
                    <a:gd name="connsiteY10" fmla="*/ 557212 h 1271587"/>
                    <a:gd name="connsiteX11" fmla="*/ 578644 w 1323976"/>
                    <a:gd name="connsiteY11" fmla="*/ 464344 h 1271587"/>
                    <a:gd name="connsiteX12" fmla="*/ 504826 w 1323976"/>
                    <a:gd name="connsiteY12" fmla="*/ 452437 h 1271587"/>
                    <a:gd name="connsiteX13" fmla="*/ 478632 w 1323976"/>
                    <a:gd name="connsiteY13" fmla="*/ 404812 h 1271587"/>
                    <a:gd name="connsiteX14" fmla="*/ 571501 w 1323976"/>
                    <a:gd name="connsiteY14" fmla="*/ 314325 h 1271587"/>
                    <a:gd name="connsiteX15" fmla="*/ 533400 w 1323976"/>
                    <a:gd name="connsiteY15" fmla="*/ 159543 h 1271587"/>
                    <a:gd name="connsiteX16" fmla="*/ 423863 w 1323976"/>
                    <a:gd name="connsiteY16" fmla="*/ 85725 h 1271587"/>
                    <a:gd name="connsiteX0" fmla="*/ 423863 w 1323976"/>
                    <a:gd name="connsiteY0" fmla="*/ 85725 h 1271587"/>
                    <a:gd name="connsiteX1" fmla="*/ 207170 w 1323976"/>
                    <a:gd name="connsiteY1" fmla="*/ 0 h 1271587"/>
                    <a:gd name="connsiteX2" fmla="*/ 0 w 1323976"/>
                    <a:gd name="connsiteY2" fmla="*/ 100012 h 1271587"/>
                    <a:gd name="connsiteX3" fmla="*/ 88107 w 1323976"/>
                    <a:gd name="connsiteY3" fmla="*/ 414338 h 1271587"/>
                    <a:gd name="connsiteX4" fmla="*/ 152400 w 1323976"/>
                    <a:gd name="connsiteY4" fmla="*/ 428625 h 1271587"/>
                    <a:gd name="connsiteX5" fmla="*/ 423863 w 1323976"/>
                    <a:gd name="connsiteY5" fmla="*/ 1204912 h 1271587"/>
                    <a:gd name="connsiteX6" fmla="*/ 871538 w 1323976"/>
                    <a:gd name="connsiteY6" fmla="*/ 1271587 h 1271587"/>
                    <a:gd name="connsiteX7" fmla="*/ 1323976 w 1323976"/>
                    <a:gd name="connsiteY7" fmla="*/ 1019175 h 1271587"/>
                    <a:gd name="connsiteX8" fmla="*/ 992981 w 1323976"/>
                    <a:gd name="connsiteY8" fmla="*/ 840581 h 1271587"/>
                    <a:gd name="connsiteX9" fmla="*/ 654844 w 1323976"/>
                    <a:gd name="connsiteY9" fmla="*/ 583406 h 1271587"/>
                    <a:gd name="connsiteX10" fmla="*/ 614363 w 1323976"/>
                    <a:gd name="connsiteY10" fmla="*/ 557212 h 1271587"/>
                    <a:gd name="connsiteX11" fmla="*/ 578644 w 1323976"/>
                    <a:gd name="connsiteY11" fmla="*/ 464344 h 1271587"/>
                    <a:gd name="connsiteX12" fmla="*/ 504826 w 1323976"/>
                    <a:gd name="connsiteY12" fmla="*/ 452437 h 1271587"/>
                    <a:gd name="connsiteX13" fmla="*/ 478632 w 1323976"/>
                    <a:gd name="connsiteY13" fmla="*/ 404812 h 1271587"/>
                    <a:gd name="connsiteX14" fmla="*/ 571501 w 1323976"/>
                    <a:gd name="connsiteY14" fmla="*/ 314325 h 1271587"/>
                    <a:gd name="connsiteX15" fmla="*/ 533400 w 1323976"/>
                    <a:gd name="connsiteY15" fmla="*/ 159543 h 1271587"/>
                    <a:gd name="connsiteX16" fmla="*/ 423863 w 1323976"/>
                    <a:gd name="connsiteY16" fmla="*/ 85725 h 1271587"/>
                    <a:gd name="connsiteX0" fmla="*/ 423863 w 1323976"/>
                    <a:gd name="connsiteY0" fmla="*/ 85725 h 1271587"/>
                    <a:gd name="connsiteX1" fmla="*/ 207170 w 1323976"/>
                    <a:gd name="connsiteY1" fmla="*/ 0 h 1271587"/>
                    <a:gd name="connsiteX2" fmla="*/ 0 w 1323976"/>
                    <a:gd name="connsiteY2" fmla="*/ 100012 h 1271587"/>
                    <a:gd name="connsiteX3" fmla="*/ 88107 w 1323976"/>
                    <a:gd name="connsiteY3" fmla="*/ 414338 h 1271587"/>
                    <a:gd name="connsiteX4" fmla="*/ 152400 w 1323976"/>
                    <a:gd name="connsiteY4" fmla="*/ 428625 h 1271587"/>
                    <a:gd name="connsiteX5" fmla="*/ 261938 w 1323976"/>
                    <a:gd name="connsiteY5" fmla="*/ 745331 h 1271587"/>
                    <a:gd name="connsiteX6" fmla="*/ 423863 w 1323976"/>
                    <a:gd name="connsiteY6" fmla="*/ 1204912 h 1271587"/>
                    <a:gd name="connsiteX7" fmla="*/ 871538 w 1323976"/>
                    <a:gd name="connsiteY7" fmla="*/ 1271587 h 1271587"/>
                    <a:gd name="connsiteX8" fmla="*/ 1323976 w 1323976"/>
                    <a:gd name="connsiteY8" fmla="*/ 1019175 h 1271587"/>
                    <a:gd name="connsiteX9" fmla="*/ 992981 w 1323976"/>
                    <a:gd name="connsiteY9" fmla="*/ 840581 h 1271587"/>
                    <a:gd name="connsiteX10" fmla="*/ 654844 w 1323976"/>
                    <a:gd name="connsiteY10" fmla="*/ 583406 h 1271587"/>
                    <a:gd name="connsiteX11" fmla="*/ 614363 w 1323976"/>
                    <a:gd name="connsiteY11" fmla="*/ 557212 h 1271587"/>
                    <a:gd name="connsiteX12" fmla="*/ 578644 w 1323976"/>
                    <a:gd name="connsiteY12" fmla="*/ 464344 h 1271587"/>
                    <a:gd name="connsiteX13" fmla="*/ 504826 w 1323976"/>
                    <a:gd name="connsiteY13" fmla="*/ 452437 h 1271587"/>
                    <a:gd name="connsiteX14" fmla="*/ 478632 w 1323976"/>
                    <a:gd name="connsiteY14" fmla="*/ 404812 h 1271587"/>
                    <a:gd name="connsiteX15" fmla="*/ 571501 w 1323976"/>
                    <a:gd name="connsiteY15" fmla="*/ 314325 h 1271587"/>
                    <a:gd name="connsiteX16" fmla="*/ 533400 w 1323976"/>
                    <a:gd name="connsiteY16" fmla="*/ 159543 h 1271587"/>
                    <a:gd name="connsiteX17" fmla="*/ 423863 w 1323976"/>
                    <a:gd name="connsiteY17" fmla="*/ 85725 h 1271587"/>
                    <a:gd name="connsiteX0" fmla="*/ 423863 w 1323976"/>
                    <a:gd name="connsiteY0" fmla="*/ 85725 h 1271587"/>
                    <a:gd name="connsiteX1" fmla="*/ 207170 w 1323976"/>
                    <a:gd name="connsiteY1" fmla="*/ 0 h 1271587"/>
                    <a:gd name="connsiteX2" fmla="*/ 0 w 1323976"/>
                    <a:gd name="connsiteY2" fmla="*/ 100012 h 1271587"/>
                    <a:gd name="connsiteX3" fmla="*/ 88107 w 1323976"/>
                    <a:gd name="connsiteY3" fmla="*/ 414338 h 1271587"/>
                    <a:gd name="connsiteX4" fmla="*/ 152400 w 1323976"/>
                    <a:gd name="connsiteY4" fmla="*/ 428625 h 1271587"/>
                    <a:gd name="connsiteX5" fmla="*/ 431007 w 1323976"/>
                    <a:gd name="connsiteY5" fmla="*/ 785812 h 1271587"/>
                    <a:gd name="connsiteX6" fmla="*/ 423863 w 1323976"/>
                    <a:gd name="connsiteY6" fmla="*/ 1204912 h 1271587"/>
                    <a:gd name="connsiteX7" fmla="*/ 871538 w 1323976"/>
                    <a:gd name="connsiteY7" fmla="*/ 1271587 h 1271587"/>
                    <a:gd name="connsiteX8" fmla="*/ 1323976 w 1323976"/>
                    <a:gd name="connsiteY8" fmla="*/ 1019175 h 1271587"/>
                    <a:gd name="connsiteX9" fmla="*/ 992981 w 1323976"/>
                    <a:gd name="connsiteY9" fmla="*/ 840581 h 1271587"/>
                    <a:gd name="connsiteX10" fmla="*/ 654844 w 1323976"/>
                    <a:gd name="connsiteY10" fmla="*/ 583406 h 1271587"/>
                    <a:gd name="connsiteX11" fmla="*/ 614363 w 1323976"/>
                    <a:gd name="connsiteY11" fmla="*/ 557212 h 1271587"/>
                    <a:gd name="connsiteX12" fmla="*/ 578644 w 1323976"/>
                    <a:gd name="connsiteY12" fmla="*/ 464344 h 1271587"/>
                    <a:gd name="connsiteX13" fmla="*/ 504826 w 1323976"/>
                    <a:gd name="connsiteY13" fmla="*/ 452437 h 1271587"/>
                    <a:gd name="connsiteX14" fmla="*/ 478632 w 1323976"/>
                    <a:gd name="connsiteY14" fmla="*/ 404812 h 1271587"/>
                    <a:gd name="connsiteX15" fmla="*/ 571501 w 1323976"/>
                    <a:gd name="connsiteY15" fmla="*/ 314325 h 1271587"/>
                    <a:gd name="connsiteX16" fmla="*/ 533400 w 1323976"/>
                    <a:gd name="connsiteY16" fmla="*/ 159543 h 1271587"/>
                    <a:gd name="connsiteX17" fmla="*/ 423863 w 1323976"/>
                    <a:gd name="connsiteY17" fmla="*/ 85725 h 1271587"/>
                    <a:gd name="connsiteX0" fmla="*/ 423863 w 1323976"/>
                    <a:gd name="connsiteY0" fmla="*/ 85725 h 1271587"/>
                    <a:gd name="connsiteX1" fmla="*/ 207170 w 1323976"/>
                    <a:gd name="connsiteY1" fmla="*/ 0 h 1271587"/>
                    <a:gd name="connsiteX2" fmla="*/ 0 w 1323976"/>
                    <a:gd name="connsiteY2" fmla="*/ 100012 h 1271587"/>
                    <a:gd name="connsiteX3" fmla="*/ 88107 w 1323976"/>
                    <a:gd name="connsiteY3" fmla="*/ 414338 h 1271587"/>
                    <a:gd name="connsiteX4" fmla="*/ 152400 w 1323976"/>
                    <a:gd name="connsiteY4" fmla="*/ 428625 h 1271587"/>
                    <a:gd name="connsiteX5" fmla="*/ 431007 w 1323976"/>
                    <a:gd name="connsiteY5" fmla="*/ 785812 h 1271587"/>
                    <a:gd name="connsiteX6" fmla="*/ 423863 w 1323976"/>
                    <a:gd name="connsiteY6" fmla="*/ 1204912 h 1271587"/>
                    <a:gd name="connsiteX7" fmla="*/ 871538 w 1323976"/>
                    <a:gd name="connsiteY7" fmla="*/ 1271587 h 1271587"/>
                    <a:gd name="connsiteX8" fmla="*/ 1323976 w 1323976"/>
                    <a:gd name="connsiteY8" fmla="*/ 1019175 h 1271587"/>
                    <a:gd name="connsiteX9" fmla="*/ 1002506 w 1323976"/>
                    <a:gd name="connsiteY9" fmla="*/ 831056 h 1271587"/>
                    <a:gd name="connsiteX10" fmla="*/ 654844 w 1323976"/>
                    <a:gd name="connsiteY10" fmla="*/ 583406 h 1271587"/>
                    <a:gd name="connsiteX11" fmla="*/ 614363 w 1323976"/>
                    <a:gd name="connsiteY11" fmla="*/ 557212 h 1271587"/>
                    <a:gd name="connsiteX12" fmla="*/ 578644 w 1323976"/>
                    <a:gd name="connsiteY12" fmla="*/ 464344 h 1271587"/>
                    <a:gd name="connsiteX13" fmla="*/ 504826 w 1323976"/>
                    <a:gd name="connsiteY13" fmla="*/ 452437 h 1271587"/>
                    <a:gd name="connsiteX14" fmla="*/ 478632 w 1323976"/>
                    <a:gd name="connsiteY14" fmla="*/ 404812 h 1271587"/>
                    <a:gd name="connsiteX15" fmla="*/ 571501 w 1323976"/>
                    <a:gd name="connsiteY15" fmla="*/ 314325 h 1271587"/>
                    <a:gd name="connsiteX16" fmla="*/ 533400 w 1323976"/>
                    <a:gd name="connsiteY16" fmla="*/ 159543 h 1271587"/>
                    <a:gd name="connsiteX17" fmla="*/ 423863 w 1323976"/>
                    <a:gd name="connsiteY17" fmla="*/ 85725 h 1271587"/>
                    <a:gd name="connsiteX0" fmla="*/ 423863 w 1002506"/>
                    <a:gd name="connsiteY0" fmla="*/ 85725 h 1271587"/>
                    <a:gd name="connsiteX1" fmla="*/ 207170 w 1002506"/>
                    <a:gd name="connsiteY1" fmla="*/ 0 h 1271587"/>
                    <a:gd name="connsiteX2" fmla="*/ 0 w 1002506"/>
                    <a:gd name="connsiteY2" fmla="*/ 100012 h 1271587"/>
                    <a:gd name="connsiteX3" fmla="*/ 88107 w 1002506"/>
                    <a:gd name="connsiteY3" fmla="*/ 414338 h 1271587"/>
                    <a:gd name="connsiteX4" fmla="*/ 152400 w 1002506"/>
                    <a:gd name="connsiteY4" fmla="*/ 428625 h 1271587"/>
                    <a:gd name="connsiteX5" fmla="*/ 431007 w 1002506"/>
                    <a:gd name="connsiteY5" fmla="*/ 785812 h 1271587"/>
                    <a:gd name="connsiteX6" fmla="*/ 423863 w 1002506"/>
                    <a:gd name="connsiteY6" fmla="*/ 1204912 h 1271587"/>
                    <a:gd name="connsiteX7" fmla="*/ 871538 w 1002506"/>
                    <a:gd name="connsiteY7" fmla="*/ 1271587 h 1271587"/>
                    <a:gd name="connsiteX8" fmla="*/ 790576 w 1002506"/>
                    <a:gd name="connsiteY8" fmla="*/ 1131094 h 1271587"/>
                    <a:gd name="connsiteX9" fmla="*/ 1002506 w 1002506"/>
                    <a:gd name="connsiteY9" fmla="*/ 831056 h 1271587"/>
                    <a:gd name="connsiteX10" fmla="*/ 654844 w 1002506"/>
                    <a:gd name="connsiteY10" fmla="*/ 583406 h 1271587"/>
                    <a:gd name="connsiteX11" fmla="*/ 614363 w 1002506"/>
                    <a:gd name="connsiteY11" fmla="*/ 557212 h 1271587"/>
                    <a:gd name="connsiteX12" fmla="*/ 578644 w 1002506"/>
                    <a:gd name="connsiteY12" fmla="*/ 464344 h 1271587"/>
                    <a:gd name="connsiteX13" fmla="*/ 504826 w 1002506"/>
                    <a:gd name="connsiteY13" fmla="*/ 452437 h 1271587"/>
                    <a:gd name="connsiteX14" fmla="*/ 478632 w 1002506"/>
                    <a:gd name="connsiteY14" fmla="*/ 404812 h 1271587"/>
                    <a:gd name="connsiteX15" fmla="*/ 571501 w 1002506"/>
                    <a:gd name="connsiteY15" fmla="*/ 314325 h 1271587"/>
                    <a:gd name="connsiteX16" fmla="*/ 533400 w 1002506"/>
                    <a:gd name="connsiteY16" fmla="*/ 159543 h 1271587"/>
                    <a:gd name="connsiteX17" fmla="*/ 423863 w 1002506"/>
                    <a:gd name="connsiteY17" fmla="*/ 85725 h 1271587"/>
                    <a:gd name="connsiteX0" fmla="*/ 423863 w 1002506"/>
                    <a:gd name="connsiteY0" fmla="*/ 85725 h 1204912"/>
                    <a:gd name="connsiteX1" fmla="*/ 207170 w 1002506"/>
                    <a:gd name="connsiteY1" fmla="*/ 0 h 1204912"/>
                    <a:gd name="connsiteX2" fmla="*/ 0 w 1002506"/>
                    <a:gd name="connsiteY2" fmla="*/ 100012 h 1204912"/>
                    <a:gd name="connsiteX3" fmla="*/ 88107 w 1002506"/>
                    <a:gd name="connsiteY3" fmla="*/ 414338 h 1204912"/>
                    <a:gd name="connsiteX4" fmla="*/ 152400 w 1002506"/>
                    <a:gd name="connsiteY4" fmla="*/ 428625 h 1204912"/>
                    <a:gd name="connsiteX5" fmla="*/ 431007 w 1002506"/>
                    <a:gd name="connsiteY5" fmla="*/ 785812 h 1204912"/>
                    <a:gd name="connsiteX6" fmla="*/ 423863 w 1002506"/>
                    <a:gd name="connsiteY6" fmla="*/ 1204912 h 1204912"/>
                    <a:gd name="connsiteX7" fmla="*/ 762001 w 1002506"/>
                    <a:gd name="connsiteY7" fmla="*/ 1152524 h 1204912"/>
                    <a:gd name="connsiteX8" fmla="*/ 790576 w 1002506"/>
                    <a:gd name="connsiteY8" fmla="*/ 1131094 h 1204912"/>
                    <a:gd name="connsiteX9" fmla="*/ 1002506 w 1002506"/>
                    <a:gd name="connsiteY9" fmla="*/ 831056 h 1204912"/>
                    <a:gd name="connsiteX10" fmla="*/ 654844 w 1002506"/>
                    <a:gd name="connsiteY10" fmla="*/ 583406 h 1204912"/>
                    <a:gd name="connsiteX11" fmla="*/ 614363 w 1002506"/>
                    <a:gd name="connsiteY11" fmla="*/ 557212 h 1204912"/>
                    <a:gd name="connsiteX12" fmla="*/ 578644 w 1002506"/>
                    <a:gd name="connsiteY12" fmla="*/ 464344 h 1204912"/>
                    <a:gd name="connsiteX13" fmla="*/ 504826 w 1002506"/>
                    <a:gd name="connsiteY13" fmla="*/ 452437 h 1204912"/>
                    <a:gd name="connsiteX14" fmla="*/ 478632 w 1002506"/>
                    <a:gd name="connsiteY14" fmla="*/ 404812 h 1204912"/>
                    <a:gd name="connsiteX15" fmla="*/ 571501 w 1002506"/>
                    <a:gd name="connsiteY15" fmla="*/ 314325 h 1204912"/>
                    <a:gd name="connsiteX16" fmla="*/ 533400 w 1002506"/>
                    <a:gd name="connsiteY16" fmla="*/ 159543 h 1204912"/>
                    <a:gd name="connsiteX17" fmla="*/ 423863 w 1002506"/>
                    <a:gd name="connsiteY17" fmla="*/ 85725 h 1204912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431007 w 1002506"/>
                    <a:gd name="connsiteY5" fmla="*/ 785812 h 1152524"/>
                    <a:gd name="connsiteX6" fmla="*/ 540544 w 1002506"/>
                    <a:gd name="connsiteY6" fmla="*/ 1078706 h 1152524"/>
                    <a:gd name="connsiteX7" fmla="*/ 762001 w 1002506"/>
                    <a:gd name="connsiteY7" fmla="*/ 1152524 h 1152524"/>
                    <a:gd name="connsiteX8" fmla="*/ 790576 w 1002506"/>
                    <a:gd name="connsiteY8" fmla="*/ 1131094 h 1152524"/>
                    <a:gd name="connsiteX9" fmla="*/ 1002506 w 1002506"/>
                    <a:gd name="connsiteY9" fmla="*/ 831056 h 1152524"/>
                    <a:gd name="connsiteX10" fmla="*/ 654844 w 1002506"/>
                    <a:gd name="connsiteY10" fmla="*/ 583406 h 1152524"/>
                    <a:gd name="connsiteX11" fmla="*/ 614363 w 1002506"/>
                    <a:gd name="connsiteY11" fmla="*/ 557212 h 1152524"/>
                    <a:gd name="connsiteX12" fmla="*/ 578644 w 1002506"/>
                    <a:gd name="connsiteY12" fmla="*/ 464344 h 1152524"/>
                    <a:gd name="connsiteX13" fmla="*/ 504826 w 1002506"/>
                    <a:gd name="connsiteY13" fmla="*/ 452437 h 1152524"/>
                    <a:gd name="connsiteX14" fmla="*/ 478632 w 1002506"/>
                    <a:gd name="connsiteY14" fmla="*/ 404812 h 1152524"/>
                    <a:gd name="connsiteX15" fmla="*/ 571501 w 1002506"/>
                    <a:gd name="connsiteY15" fmla="*/ 314325 h 1152524"/>
                    <a:gd name="connsiteX16" fmla="*/ 533400 w 1002506"/>
                    <a:gd name="connsiteY16" fmla="*/ 159543 h 1152524"/>
                    <a:gd name="connsiteX17" fmla="*/ 423863 w 1002506"/>
                    <a:gd name="connsiteY17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431007 w 1002506"/>
                    <a:gd name="connsiteY5" fmla="*/ 785812 h 1152524"/>
                    <a:gd name="connsiteX6" fmla="*/ 540544 w 1002506"/>
                    <a:gd name="connsiteY6" fmla="*/ 1078706 h 1152524"/>
                    <a:gd name="connsiteX7" fmla="*/ 664369 w 1002506"/>
                    <a:gd name="connsiteY7" fmla="*/ 1116806 h 1152524"/>
                    <a:gd name="connsiteX8" fmla="*/ 762001 w 1002506"/>
                    <a:gd name="connsiteY8" fmla="*/ 1152524 h 1152524"/>
                    <a:gd name="connsiteX9" fmla="*/ 790576 w 1002506"/>
                    <a:gd name="connsiteY9" fmla="*/ 1131094 h 1152524"/>
                    <a:gd name="connsiteX10" fmla="*/ 1002506 w 1002506"/>
                    <a:gd name="connsiteY10" fmla="*/ 831056 h 1152524"/>
                    <a:gd name="connsiteX11" fmla="*/ 654844 w 1002506"/>
                    <a:gd name="connsiteY11" fmla="*/ 583406 h 1152524"/>
                    <a:gd name="connsiteX12" fmla="*/ 614363 w 1002506"/>
                    <a:gd name="connsiteY12" fmla="*/ 557212 h 1152524"/>
                    <a:gd name="connsiteX13" fmla="*/ 578644 w 1002506"/>
                    <a:gd name="connsiteY13" fmla="*/ 464344 h 1152524"/>
                    <a:gd name="connsiteX14" fmla="*/ 504826 w 1002506"/>
                    <a:gd name="connsiteY14" fmla="*/ 452437 h 1152524"/>
                    <a:gd name="connsiteX15" fmla="*/ 478632 w 1002506"/>
                    <a:gd name="connsiteY15" fmla="*/ 404812 h 1152524"/>
                    <a:gd name="connsiteX16" fmla="*/ 571501 w 1002506"/>
                    <a:gd name="connsiteY16" fmla="*/ 314325 h 1152524"/>
                    <a:gd name="connsiteX17" fmla="*/ 533400 w 1002506"/>
                    <a:gd name="connsiteY17" fmla="*/ 159543 h 1152524"/>
                    <a:gd name="connsiteX18" fmla="*/ 423863 w 1002506"/>
                    <a:gd name="connsiteY18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431007 w 1002506"/>
                    <a:gd name="connsiteY5" fmla="*/ 785812 h 1152524"/>
                    <a:gd name="connsiteX6" fmla="*/ 540544 w 1002506"/>
                    <a:gd name="connsiteY6" fmla="*/ 1078706 h 1152524"/>
                    <a:gd name="connsiteX7" fmla="*/ 604838 w 1002506"/>
                    <a:gd name="connsiteY7" fmla="*/ 1135856 h 1152524"/>
                    <a:gd name="connsiteX8" fmla="*/ 762001 w 1002506"/>
                    <a:gd name="connsiteY8" fmla="*/ 1152524 h 1152524"/>
                    <a:gd name="connsiteX9" fmla="*/ 790576 w 1002506"/>
                    <a:gd name="connsiteY9" fmla="*/ 1131094 h 1152524"/>
                    <a:gd name="connsiteX10" fmla="*/ 1002506 w 1002506"/>
                    <a:gd name="connsiteY10" fmla="*/ 831056 h 1152524"/>
                    <a:gd name="connsiteX11" fmla="*/ 654844 w 1002506"/>
                    <a:gd name="connsiteY11" fmla="*/ 583406 h 1152524"/>
                    <a:gd name="connsiteX12" fmla="*/ 614363 w 1002506"/>
                    <a:gd name="connsiteY12" fmla="*/ 557212 h 1152524"/>
                    <a:gd name="connsiteX13" fmla="*/ 578644 w 1002506"/>
                    <a:gd name="connsiteY13" fmla="*/ 464344 h 1152524"/>
                    <a:gd name="connsiteX14" fmla="*/ 504826 w 1002506"/>
                    <a:gd name="connsiteY14" fmla="*/ 452437 h 1152524"/>
                    <a:gd name="connsiteX15" fmla="*/ 478632 w 1002506"/>
                    <a:gd name="connsiteY15" fmla="*/ 404812 h 1152524"/>
                    <a:gd name="connsiteX16" fmla="*/ 571501 w 1002506"/>
                    <a:gd name="connsiteY16" fmla="*/ 314325 h 1152524"/>
                    <a:gd name="connsiteX17" fmla="*/ 533400 w 1002506"/>
                    <a:gd name="connsiteY17" fmla="*/ 159543 h 1152524"/>
                    <a:gd name="connsiteX18" fmla="*/ 423863 w 1002506"/>
                    <a:gd name="connsiteY18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431007 w 1002506"/>
                    <a:gd name="connsiteY5" fmla="*/ 785812 h 1152524"/>
                    <a:gd name="connsiteX6" fmla="*/ 540544 w 1002506"/>
                    <a:gd name="connsiteY6" fmla="*/ 1078706 h 1152524"/>
                    <a:gd name="connsiteX7" fmla="*/ 604838 w 1002506"/>
                    <a:gd name="connsiteY7" fmla="*/ 1135856 h 1152524"/>
                    <a:gd name="connsiteX8" fmla="*/ 709613 w 1002506"/>
                    <a:gd name="connsiteY8" fmla="*/ 1147762 h 1152524"/>
                    <a:gd name="connsiteX9" fmla="*/ 762001 w 1002506"/>
                    <a:gd name="connsiteY9" fmla="*/ 1152524 h 1152524"/>
                    <a:gd name="connsiteX10" fmla="*/ 790576 w 1002506"/>
                    <a:gd name="connsiteY10" fmla="*/ 1131094 h 1152524"/>
                    <a:gd name="connsiteX11" fmla="*/ 1002506 w 1002506"/>
                    <a:gd name="connsiteY11" fmla="*/ 831056 h 1152524"/>
                    <a:gd name="connsiteX12" fmla="*/ 654844 w 1002506"/>
                    <a:gd name="connsiteY12" fmla="*/ 583406 h 1152524"/>
                    <a:gd name="connsiteX13" fmla="*/ 614363 w 1002506"/>
                    <a:gd name="connsiteY13" fmla="*/ 557212 h 1152524"/>
                    <a:gd name="connsiteX14" fmla="*/ 578644 w 1002506"/>
                    <a:gd name="connsiteY14" fmla="*/ 464344 h 1152524"/>
                    <a:gd name="connsiteX15" fmla="*/ 504826 w 1002506"/>
                    <a:gd name="connsiteY15" fmla="*/ 452437 h 1152524"/>
                    <a:gd name="connsiteX16" fmla="*/ 478632 w 1002506"/>
                    <a:gd name="connsiteY16" fmla="*/ 404812 h 1152524"/>
                    <a:gd name="connsiteX17" fmla="*/ 571501 w 1002506"/>
                    <a:gd name="connsiteY17" fmla="*/ 314325 h 1152524"/>
                    <a:gd name="connsiteX18" fmla="*/ 533400 w 1002506"/>
                    <a:gd name="connsiteY18" fmla="*/ 159543 h 1152524"/>
                    <a:gd name="connsiteX19" fmla="*/ 423863 w 1002506"/>
                    <a:gd name="connsiteY19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431007 w 1002506"/>
                    <a:gd name="connsiteY5" fmla="*/ 785812 h 1152524"/>
                    <a:gd name="connsiteX6" fmla="*/ 540544 w 1002506"/>
                    <a:gd name="connsiteY6" fmla="*/ 1078706 h 1152524"/>
                    <a:gd name="connsiteX7" fmla="*/ 604838 w 1002506"/>
                    <a:gd name="connsiteY7" fmla="*/ 1135856 h 1152524"/>
                    <a:gd name="connsiteX8" fmla="*/ 683419 w 1002506"/>
                    <a:gd name="connsiteY8" fmla="*/ 1112043 h 1152524"/>
                    <a:gd name="connsiteX9" fmla="*/ 762001 w 1002506"/>
                    <a:gd name="connsiteY9" fmla="*/ 1152524 h 1152524"/>
                    <a:gd name="connsiteX10" fmla="*/ 790576 w 1002506"/>
                    <a:gd name="connsiteY10" fmla="*/ 1131094 h 1152524"/>
                    <a:gd name="connsiteX11" fmla="*/ 1002506 w 1002506"/>
                    <a:gd name="connsiteY11" fmla="*/ 831056 h 1152524"/>
                    <a:gd name="connsiteX12" fmla="*/ 654844 w 1002506"/>
                    <a:gd name="connsiteY12" fmla="*/ 583406 h 1152524"/>
                    <a:gd name="connsiteX13" fmla="*/ 614363 w 1002506"/>
                    <a:gd name="connsiteY13" fmla="*/ 557212 h 1152524"/>
                    <a:gd name="connsiteX14" fmla="*/ 578644 w 1002506"/>
                    <a:gd name="connsiteY14" fmla="*/ 464344 h 1152524"/>
                    <a:gd name="connsiteX15" fmla="*/ 504826 w 1002506"/>
                    <a:gd name="connsiteY15" fmla="*/ 452437 h 1152524"/>
                    <a:gd name="connsiteX16" fmla="*/ 478632 w 1002506"/>
                    <a:gd name="connsiteY16" fmla="*/ 404812 h 1152524"/>
                    <a:gd name="connsiteX17" fmla="*/ 571501 w 1002506"/>
                    <a:gd name="connsiteY17" fmla="*/ 314325 h 1152524"/>
                    <a:gd name="connsiteX18" fmla="*/ 533400 w 1002506"/>
                    <a:gd name="connsiteY18" fmla="*/ 159543 h 1152524"/>
                    <a:gd name="connsiteX19" fmla="*/ 423863 w 1002506"/>
                    <a:gd name="connsiteY19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359569 w 1002506"/>
                    <a:gd name="connsiteY5" fmla="*/ 700087 h 1152524"/>
                    <a:gd name="connsiteX6" fmla="*/ 431007 w 1002506"/>
                    <a:gd name="connsiteY6" fmla="*/ 785812 h 1152524"/>
                    <a:gd name="connsiteX7" fmla="*/ 540544 w 1002506"/>
                    <a:gd name="connsiteY7" fmla="*/ 1078706 h 1152524"/>
                    <a:gd name="connsiteX8" fmla="*/ 604838 w 1002506"/>
                    <a:gd name="connsiteY8" fmla="*/ 1135856 h 1152524"/>
                    <a:gd name="connsiteX9" fmla="*/ 683419 w 1002506"/>
                    <a:gd name="connsiteY9" fmla="*/ 1112043 h 1152524"/>
                    <a:gd name="connsiteX10" fmla="*/ 762001 w 1002506"/>
                    <a:gd name="connsiteY10" fmla="*/ 1152524 h 1152524"/>
                    <a:gd name="connsiteX11" fmla="*/ 790576 w 1002506"/>
                    <a:gd name="connsiteY11" fmla="*/ 1131094 h 1152524"/>
                    <a:gd name="connsiteX12" fmla="*/ 1002506 w 1002506"/>
                    <a:gd name="connsiteY12" fmla="*/ 831056 h 1152524"/>
                    <a:gd name="connsiteX13" fmla="*/ 654844 w 1002506"/>
                    <a:gd name="connsiteY13" fmla="*/ 583406 h 1152524"/>
                    <a:gd name="connsiteX14" fmla="*/ 614363 w 1002506"/>
                    <a:gd name="connsiteY14" fmla="*/ 557212 h 1152524"/>
                    <a:gd name="connsiteX15" fmla="*/ 578644 w 1002506"/>
                    <a:gd name="connsiteY15" fmla="*/ 464344 h 1152524"/>
                    <a:gd name="connsiteX16" fmla="*/ 504826 w 1002506"/>
                    <a:gd name="connsiteY16" fmla="*/ 452437 h 1152524"/>
                    <a:gd name="connsiteX17" fmla="*/ 478632 w 1002506"/>
                    <a:gd name="connsiteY17" fmla="*/ 404812 h 1152524"/>
                    <a:gd name="connsiteX18" fmla="*/ 571501 w 1002506"/>
                    <a:gd name="connsiteY18" fmla="*/ 314325 h 1152524"/>
                    <a:gd name="connsiteX19" fmla="*/ 533400 w 1002506"/>
                    <a:gd name="connsiteY19" fmla="*/ 159543 h 1152524"/>
                    <a:gd name="connsiteX20" fmla="*/ 423863 w 1002506"/>
                    <a:gd name="connsiteY20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407194 w 1002506"/>
                    <a:gd name="connsiteY5" fmla="*/ 638174 h 1152524"/>
                    <a:gd name="connsiteX6" fmla="*/ 431007 w 1002506"/>
                    <a:gd name="connsiteY6" fmla="*/ 785812 h 1152524"/>
                    <a:gd name="connsiteX7" fmla="*/ 540544 w 1002506"/>
                    <a:gd name="connsiteY7" fmla="*/ 1078706 h 1152524"/>
                    <a:gd name="connsiteX8" fmla="*/ 604838 w 1002506"/>
                    <a:gd name="connsiteY8" fmla="*/ 1135856 h 1152524"/>
                    <a:gd name="connsiteX9" fmla="*/ 683419 w 1002506"/>
                    <a:gd name="connsiteY9" fmla="*/ 1112043 h 1152524"/>
                    <a:gd name="connsiteX10" fmla="*/ 762001 w 1002506"/>
                    <a:gd name="connsiteY10" fmla="*/ 1152524 h 1152524"/>
                    <a:gd name="connsiteX11" fmla="*/ 790576 w 1002506"/>
                    <a:gd name="connsiteY11" fmla="*/ 1131094 h 1152524"/>
                    <a:gd name="connsiteX12" fmla="*/ 1002506 w 1002506"/>
                    <a:gd name="connsiteY12" fmla="*/ 831056 h 1152524"/>
                    <a:gd name="connsiteX13" fmla="*/ 654844 w 1002506"/>
                    <a:gd name="connsiteY13" fmla="*/ 583406 h 1152524"/>
                    <a:gd name="connsiteX14" fmla="*/ 614363 w 1002506"/>
                    <a:gd name="connsiteY14" fmla="*/ 557212 h 1152524"/>
                    <a:gd name="connsiteX15" fmla="*/ 578644 w 1002506"/>
                    <a:gd name="connsiteY15" fmla="*/ 464344 h 1152524"/>
                    <a:gd name="connsiteX16" fmla="*/ 504826 w 1002506"/>
                    <a:gd name="connsiteY16" fmla="*/ 452437 h 1152524"/>
                    <a:gd name="connsiteX17" fmla="*/ 478632 w 1002506"/>
                    <a:gd name="connsiteY17" fmla="*/ 404812 h 1152524"/>
                    <a:gd name="connsiteX18" fmla="*/ 571501 w 1002506"/>
                    <a:gd name="connsiteY18" fmla="*/ 314325 h 1152524"/>
                    <a:gd name="connsiteX19" fmla="*/ 533400 w 1002506"/>
                    <a:gd name="connsiteY19" fmla="*/ 159543 h 1152524"/>
                    <a:gd name="connsiteX20" fmla="*/ 423863 w 1002506"/>
                    <a:gd name="connsiteY20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407194 w 1002506"/>
                    <a:gd name="connsiteY5" fmla="*/ 638174 h 1152524"/>
                    <a:gd name="connsiteX6" fmla="*/ 426244 w 1002506"/>
                    <a:gd name="connsiteY6" fmla="*/ 728662 h 1152524"/>
                    <a:gd name="connsiteX7" fmla="*/ 431007 w 1002506"/>
                    <a:gd name="connsiteY7" fmla="*/ 785812 h 1152524"/>
                    <a:gd name="connsiteX8" fmla="*/ 540544 w 1002506"/>
                    <a:gd name="connsiteY8" fmla="*/ 1078706 h 1152524"/>
                    <a:gd name="connsiteX9" fmla="*/ 604838 w 1002506"/>
                    <a:gd name="connsiteY9" fmla="*/ 1135856 h 1152524"/>
                    <a:gd name="connsiteX10" fmla="*/ 683419 w 1002506"/>
                    <a:gd name="connsiteY10" fmla="*/ 1112043 h 1152524"/>
                    <a:gd name="connsiteX11" fmla="*/ 762001 w 1002506"/>
                    <a:gd name="connsiteY11" fmla="*/ 1152524 h 1152524"/>
                    <a:gd name="connsiteX12" fmla="*/ 790576 w 1002506"/>
                    <a:gd name="connsiteY12" fmla="*/ 1131094 h 1152524"/>
                    <a:gd name="connsiteX13" fmla="*/ 1002506 w 1002506"/>
                    <a:gd name="connsiteY13" fmla="*/ 831056 h 1152524"/>
                    <a:gd name="connsiteX14" fmla="*/ 654844 w 1002506"/>
                    <a:gd name="connsiteY14" fmla="*/ 583406 h 1152524"/>
                    <a:gd name="connsiteX15" fmla="*/ 614363 w 1002506"/>
                    <a:gd name="connsiteY15" fmla="*/ 557212 h 1152524"/>
                    <a:gd name="connsiteX16" fmla="*/ 578644 w 1002506"/>
                    <a:gd name="connsiteY16" fmla="*/ 464344 h 1152524"/>
                    <a:gd name="connsiteX17" fmla="*/ 504826 w 1002506"/>
                    <a:gd name="connsiteY17" fmla="*/ 452437 h 1152524"/>
                    <a:gd name="connsiteX18" fmla="*/ 478632 w 1002506"/>
                    <a:gd name="connsiteY18" fmla="*/ 404812 h 1152524"/>
                    <a:gd name="connsiteX19" fmla="*/ 571501 w 1002506"/>
                    <a:gd name="connsiteY19" fmla="*/ 314325 h 1152524"/>
                    <a:gd name="connsiteX20" fmla="*/ 533400 w 1002506"/>
                    <a:gd name="connsiteY20" fmla="*/ 159543 h 1152524"/>
                    <a:gd name="connsiteX21" fmla="*/ 423863 w 1002506"/>
                    <a:gd name="connsiteY21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407194 w 1002506"/>
                    <a:gd name="connsiteY5" fmla="*/ 638174 h 1152524"/>
                    <a:gd name="connsiteX6" fmla="*/ 409575 w 1002506"/>
                    <a:gd name="connsiteY6" fmla="*/ 731043 h 1152524"/>
                    <a:gd name="connsiteX7" fmla="*/ 431007 w 1002506"/>
                    <a:gd name="connsiteY7" fmla="*/ 785812 h 1152524"/>
                    <a:gd name="connsiteX8" fmla="*/ 540544 w 1002506"/>
                    <a:gd name="connsiteY8" fmla="*/ 1078706 h 1152524"/>
                    <a:gd name="connsiteX9" fmla="*/ 604838 w 1002506"/>
                    <a:gd name="connsiteY9" fmla="*/ 1135856 h 1152524"/>
                    <a:gd name="connsiteX10" fmla="*/ 683419 w 1002506"/>
                    <a:gd name="connsiteY10" fmla="*/ 1112043 h 1152524"/>
                    <a:gd name="connsiteX11" fmla="*/ 762001 w 1002506"/>
                    <a:gd name="connsiteY11" fmla="*/ 1152524 h 1152524"/>
                    <a:gd name="connsiteX12" fmla="*/ 790576 w 1002506"/>
                    <a:gd name="connsiteY12" fmla="*/ 1131094 h 1152524"/>
                    <a:gd name="connsiteX13" fmla="*/ 1002506 w 1002506"/>
                    <a:gd name="connsiteY13" fmla="*/ 831056 h 1152524"/>
                    <a:gd name="connsiteX14" fmla="*/ 654844 w 1002506"/>
                    <a:gd name="connsiteY14" fmla="*/ 583406 h 1152524"/>
                    <a:gd name="connsiteX15" fmla="*/ 614363 w 1002506"/>
                    <a:gd name="connsiteY15" fmla="*/ 557212 h 1152524"/>
                    <a:gd name="connsiteX16" fmla="*/ 578644 w 1002506"/>
                    <a:gd name="connsiteY16" fmla="*/ 464344 h 1152524"/>
                    <a:gd name="connsiteX17" fmla="*/ 504826 w 1002506"/>
                    <a:gd name="connsiteY17" fmla="*/ 452437 h 1152524"/>
                    <a:gd name="connsiteX18" fmla="*/ 478632 w 1002506"/>
                    <a:gd name="connsiteY18" fmla="*/ 404812 h 1152524"/>
                    <a:gd name="connsiteX19" fmla="*/ 571501 w 1002506"/>
                    <a:gd name="connsiteY19" fmla="*/ 314325 h 1152524"/>
                    <a:gd name="connsiteX20" fmla="*/ 533400 w 1002506"/>
                    <a:gd name="connsiteY20" fmla="*/ 159543 h 1152524"/>
                    <a:gd name="connsiteX21" fmla="*/ 423863 w 1002506"/>
                    <a:gd name="connsiteY21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233363 w 1002506"/>
                    <a:gd name="connsiteY5" fmla="*/ 492918 h 1152524"/>
                    <a:gd name="connsiteX6" fmla="*/ 407194 w 1002506"/>
                    <a:gd name="connsiteY6" fmla="*/ 638174 h 1152524"/>
                    <a:gd name="connsiteX7" fmla="*/ 409575 w 1002506"/>
                    <a:gd name="connsiteY7" fmla="*/ 731043 h 1152524"/>
                    <a:gd name="connsiteX8" fmla="*/ 431007 w 1002506"/>
                    <a:gd name="connsiteY8" fmla="*/ 785812 h 1152524"/>
                    <a:gd name="connsiteX9" fmla="*/ 540544 w 1002506"/>
                    <a:gd name="connsiteY9" fmla="*/ 1078706 h 1152524"/>
                    <a:gd name="connsiteX10" fmla="*/ 604838 w 1002506"/>
                    <a:gd name="connsiteY10" fmla="*/ 1135856 h 1152524"/>
                    <a:gd name="connsiteX11" fmla="*/ 683419 w 1002506"/>
                    <a:gd name="connsiteY11" fmla="*/ 1112043 h 1152524"/>
                    <a:gd name="connsiteX12" fmla="*/ 762001 w 1002506"/>
                    <a:gd name="connsiteY12" fmla="*/ 1152524 h 1152524"/>
                    <a:gd name="connsiteX13" fmla="*/ 790576 w 1002506"/>
                    <a:gd name="connsiteY13" fmla="*/ 1131094 h 1152524"/>
                    <a:gd name="connsiteX14" fmla="*/ 1002506 w 1002506"/>
                    <a:gd name="connsiteY14" fmla="*/ 831056 h 1152524"/>
                    <a:gd name="connsiteX15" fmla="*/ 654844 w 1002506"/>
                    <a:gd name="connsiteY15" fmla="*/ 583406 h 1152524"/>
                    <a:gd name="connsiteX16" fmla="*/ 614363 w 1002506"/>
                    <a:gd name="connsiteY16" fmla="*/ 557212 h 1152524"/>
                    <a:gd name="connsiteX17" fmla="*/ 578644 w 1002506"/>
                    <a:gd name="connsiteY17" fmla="*/ 464344 h 1152524"/>
                    <a:gd name="connsiteX18" fmla="*/ 504826 w 1002506"/>
                    <a:gd name="connsiteY18" fmla="*/ 452437 h 1152524"/>
                    <a:gd name="connsiteX19" fmla="*/ 478632 w 1002506"/>
                    <a:gd name="connsiteY19" fmla="*/ 404812 h 1152524"/>
                    <a:gd name="connsiteX20" fmla="*/ 571501 w 1002506"/>
                    <a:gd name="connsiteY20" fmla="*/ 314325 h 1152524"/>
                    <a:gd name="connsiteX21" fmla="*/ 533400 w 1002506"/>
                    <a:gd name="connsiteY21" fmla="*/ 159543 h 1152524"/>
                    <a:gd name="connsiteX22" fmla="*/ 423863 w 1002506"/>
                    <a:gd name="connsiteY22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247651 w 1002506"/>
                    <a:gd name="connsiteY5" fmla="*/ 414337 h 1152524"/>
                    <a:gd name="connsiteX6" fmla="*/ 407194 w 1002506"/>
                    <a:gd name="connsiteY6" fmla="*/ 638174 h 1152524"/>
                    <a:gd name="connsiteX7" fmla="*/ 409575 w 1002506"/>
                    <a:gd name="connsiteY7" fmla="*/ 731043 h 1152524"/>
                    <a:gd name="connsiteX8" fmla="*/ 431007 w 1002506"/>
                    <a:gd name="connsiteY8" fmla="*/ 785812 h 1152524"/>
                    <a:gd name="connsiteX9" fmla="*/ 540544 w 1002506"/>
                    <a:gd name="connsiteY9" fmla="*/ 1078706 h 1152524"/>
                    <a:gd name="connsiteX10" fmla="*/ 604838 w 1002506"/>
                    <a:gd name="connsiteY10" fmla="*/ 1135856 h 1152524"/>
                    <a:gd name="connsiteX11" fmla="*/ 683419 w 1002506"/>
                    <a:gd name="connsiteY11" fmla="*/ 1112043 h 1152524"/>
                    <a:gd name="connsiteX12" fmla="*/ 762001 w 1002506"/>
                    <a:gd name="connsiteY12" fmla="*/ 1152524 h 1152524"/>
                    <a:gd name="connsiteX13" fmla="*/ 790576 w 1002506"/>
                    <a:gd name="connsiteY13" fmla="*/ 1131094 h 1152524"/>
                    <a:gd name="connsiteX14" fmla="*/ 1002506 w 1002506"/>
                    <a:gd name="connsiteY14" fmla="*/ 831056 h 1152524"/>
                    <a:gd name="connsiteX15" fmla="*/ 654844 w 1002506"/>
                    <a:gd name="connsiteY15" fmla="*/ 583406 h 1152524"/>
                    <a:gd name="connsiteX16" fmla="*/ 614363 w 1002506"/>
                    <a:gd name="connsiteY16" fmla="*/ 557212 h 1152524"/>
                    <a:gd name="connsiteX17" fmla="*/ 578644 w 1002506"/>
                    <a:gd name="connsiteY17" fmla="*/ 464344 h 1152524"/>
                    <a:gd name="connsiteX18" fmla="*/ 504826 w 1002506"/>
                    <a:gd name="connsiteY18" fmla="*/ 452437 h 1152524"/>
                    <a:gd name="connsiteX19" fmla="*/ 478632 w 1002506"/>
                    <a:gd name="connsiteY19" fmla="*/ 404812 h 1152524"/>
                    <a:gd name="connsiteX20" fmla="*/ 571501 w 1002506"/>
                    <a:gd name="connsiteY20" fmla="*/ 314325 h 1152524"/>
                    <a:gd name="connsiteX21" fmla="*/ 533400 w 1002506"/>
                    <a:gd name="connsiteY21" fmla="*/ 159543 h 1152524"/>
                    <a:gd name="connsiteX22" fmla="*/ 423863 w 1002506"/>
                    <a:gd name="connsiteY22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2882 w 1002506"/>
                    <a:gd name="connsiteY5" fmla="*/ 423862 h 1152524"/>
                    <a:gd name="connsiteX6" fmla="*/ 247651 w 1002506"/>
                    <a:gd name="connsiteY6" fmla="*/ 414337 h 1152524"/>
                    <a:gd name="connsiteX7" fmla="*/ 407194 w 1002506"/>
                    <a:gd name="connsiteY7" fmla="*/ 638174 h 1152524"/>
                    <a:gd name="connsiteX8" fmla="*/ 409575 w 1002506"/>
                    <a:gd name="connsiteY8" fmla="*/ 731043 h 1152524"/>
                    <a:gd name="connsiteX9" fmla="*/ 431007 w 1002506"/>
                    <a:gd name="connsiteY9" fmla="*/ 785812 h 1152524"/>
                    <a:gd name="connsiteX10" fmla="*/ 540544 w 1002506"/>
                    <a:gd name="connsiteY10" fmla="*/ 1078706 h 1152524"/>
                    <a:gd name="connsiteX11" fmla="*/ 604838 w 1002506"/>
                    <a:gd name="connsiteY11" fmla="*/ 1135856 h 1152524"/>
                    <a:gd name="connsiteX12" fmla="*/ 683419 w 1002506"/>
                    <a:gd name="connsiteY12" fmla="*/ 1112043 h 1152524"/>
                    <a:gd name="connsiteX13" fmla="*/ 762001 w 1002506"/>
                    <a:gd name="connsiteY13" fmla="*/ 1152524 h 1152524"/>
                    <a:gd name="connsiteX14" fmla="*/ 790576 w 1002506"/>
                    <a:gd name="connsiteY14" fmla="*/ 1131094 h 1152524"/>
                    <a:gd name="connsiteX15" fmla="*/ 1002506 w 1002506"/>
                    <a:gd name="connsiteY15" fmla="*/ 831056 h 1152524"/>
                    <a:gd name="connsiteX16" fmla="*/ 654844 w 1002506"/>
                    <a:gd name="connsiteY16" fmla="*/ 583406 h 1152524"/>
                    <a:gd name="connsiteX17" fmla="*/ 614363 w 1002506"/>
                    <a:gd name="connsiteY17" fmla="*/ 557212 h 1152524"/>
                    <a:gd name="connsiteX18" fmla="*/ 578644 w 1002506"/>
                    <a:gd name="connsiteY18" fmla="*/ 464344 h 1152524"/>
                    <a:gd name="connsiteX19" fmla="*/ 504826 w 1002506"/>
                    <a:gd name="connsiteY19" fmla="*/ 452437 h 1152524"/>
                    <a:gd name="connsiteX20" fmla="*/ 478632 w 1002506"/>
                    <a:gd name="connsiteY20" fmla="*/ 404812 h 1152524"/>
                    <a:gd name="connsiteX21" fmla="*/ 571501 w 1002506"/>
                    <a:gd name="connsiteY21" fmla="*/ 314325 h 1152524"/>
                    <a:gd name="connsiteX22" fmla="*/ 533400 w 1002506"/>
                    <a:gd name="connsiteY22" fmla="*/ 159543 h 1152524"/>
                    <a:gd name="connsiteX23" fmla="*/ 423863 w 1002506"/>
                    <a:gd name="connsiteY23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2882 w 1002506"/>
                    <a:gd name="connsiteY5" fmla="*/ 423862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92918 h 1152524"/>
                    <a:gd name="connsiteX8" fmla="*/ 407194 w 1002506"/>
                    <a:gd name="connsiteY8" fmla="*/ 638174 h 1152524"/>
                    <a:gd name="connsiteX9" fmla="*/ 409575 w 1002506"/>
                    <a:gd name="connsiteY9" fmla="*/ 731043 h 1152524"/>
                    <a:gd name="connsiteX10" fmla="*/ 431007 w 1002506"/>
                    <a:gd name="connsiteY10" fmla="*/ 785812 h 1152524"/>
                    <a:gd name="connsiteX11" fmla="*/ 540544 w 1002506"/>
                    <a:gd name="connsiteY11" fmla="*/ 1078706 h 1152524"/>
                    <a:gd name="connsiteX12" fmla="*/ 604838 w 1002506"/>
                    <a:gd name="connsiteY12" fmla="*/ 1135856 h 1152524"/>
                    <a:gd name="connsiteX13" fmla="*/ 683419 w 1002506"/>
                    <a:gd name="connsiteY13" fmla="*/ 1112043 h 1152524"/>
                    <a:gd name="connsiteX14" fmla="*/ 762001 w 1002506"/>
                    <a:gd name="connsiteY14" fmla="*/ 1152524 h 1152524"/>
                    <a:gd name="connsiteX15" fmla="*/ 790576 w 1002506"/>
                    <a:gd name="connsiteY15" fmla="*/ 1131094 h 1152524"/>
                    <a:gd name="connsiteX16" fmla="*/ 1002506 w 1002506"/>
                    <a:gd name="connsiteY16" fmla="*/ 831056 h 1152524"/>
                    <a:gd name="connsiteX17" fmla="*/ 654844 w 1002506"/>
                    <a:gd name="connsiteY17" fmla="*/ 583406 h 1152524"/>
                    <a:gd name="connsiteX18" fmla="*/ 614363 w 1002506"/>
                    <a:gd name="connsiteY18" fmla="*/ 557212 h 1152524"/>
                    <a:gd name="connsiteX19" fmla="*/ 578644 w 1002506"/>
                    <a:gd name="connsiteY19" fmla="*/ 464344 h 1152524"/>
                    <a:gd name="connsiteX20" fmla="*/ 504826 w 1002506"/>
                    <a:gd name="connsiteY20" fmla="*/ 452437 h 1152524"/>
                    <a:gd name="connsiteX21" fmla="*/ 478632 w 1002506"/>
                    <a:gd name="connsiteY21" fmla="*/ 404812 h 1152524"/>
                    <a:gd name="connsiteX22" fmla="*/ 571501 w 1002506"/>
                    <a:gd name="connsiteY22" fmla="*/ 314325 h 1152524"/>
                    <a:gd name="connsiteX23" fmla="*/ 533400 w 1002506"/>
                    <a:gd name="connsiteY23" fmla="*/ 159543 h 1152524"/>
                    <a:gd name="connsiteX24" fmla="*/ 423863 w 1002506"/>
                    <a:gd name="connsiteY24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92918 h 1152524"/>
                    <a:gd name="connsiteX8" fmla="*/ 407194 w 1002506"/>
                    <a:gd name="connsiteY8" fmla="*/ 638174 h 1152524"/>
                    <a:gd name="connsiteX9" fmla="*/ 409575 w 1002506"/>
                    <a:gd name="connsiteY9" fmla="*/ 731043 h 1152524"/>
                    <a:gd name="connsiteX10" fmla="*/ 431007 w 1002506"/>
                    <a:gd name="connsiteY10" fmla="*/ 785812 h 1152524"/>
                    <a:gd name="connsiteX11" fmla="*/ 540544 w 1002506"/>
                    <a:gd name="connsiteY11" fmla="*/ 1078706 h 1152524"/>
                    <a:gd name="connsiteX12" fmla="*/ 604838 w 1002506"/>
                    <a:gd name="connsiteY12" fmla="*/ 1135856 h 1152524"/>
                    <a:gd name="connsiteX13" fmla="*/ 683419 w 1002506"/>
                    <a:gd name="connsiteY13" fmla="*/ 1112043 h 1152524"/>
                    <a:gd name="connsiteX14" fmla="*/ 762001 w 1002506"/>
                    <a:gd name="connsiteY14" fmla="*/ 1152524 h 1152524"/>
                    <a:gd name="connsiteX15" fmla="*/ 790576 w 1002506"/>
                    <a:gd name="connsiteY15" fmla="*/ 1131094 h 1152524"/>
                    <a:gd name="connsiteX16" fmla="*/ 1002506 w 1002506"/>
                    <a:gd name="connsiteY16" fmla="*/ 831056 h 1152524"/>
                    <a:gd name="connsiteX17" fmla="*/ 654844 w 1002506"/>
                    <a:gd name="connsiteY17" fmla="*/ 583406 h 1152524"/>
                    <a:gd name="connsiteX18" fmla="*/ 614363 w 1002506"/>
                    <a:gd name="connsiteY18" fmla="*/ 557212 h 1152524"/>
                    <a:gd name="connsiteX19" fmla="*/ 578644 w 1002506"/>
                    <a:gd name="connsiteY19" fmla="*/ 464344 h 1152524"/>
                    <a:gd name="connsiteX20" fmla="*/ 504826 w 1002506"/>
                    <a:gd name="connsiteY20" fmla="*/ 452437 h 1152524"/>
                    <a:gd name="connsiteX21" fmla="*/ 478632 w 1002506"/>
                    <a:gd name="connsiteY21" fmla="*/ 404812 h 1152524"/>
                    <a:gd name="connsiteX22" fmla="*/ 571501 w 1002506"/>
                    <a:gd name="connsiteY22" fmla="*/ 314325 h 1152524"/>
                    <a:gd name="connsiteX23" fmla="*/ 533400 w 1002506"/>
                    <a:gd name="connsiteY23" fmla="*/ 159543 h 1152524"/>
                    <a:gd name="connsiteX24" fmla="*/ 423863 w 1002506"/>
                    <a:gd name="connsiteY24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407194 w 1002506"/>
                    <a:gd name="connsiteY8" fmla="*/ 638174 h 1152524"/>
                    <a:gd name="connsiteX9" fmla="*/ 409575 w 1002506"/>
                    <a:gd name="connsiteY9" fmla="*/ 731043 h 1152524"/>
                    <a:gd name="connsiteX10" fmla="*/ 431007 w 1002506"/>
                    <a:gd name="connsiteY10" fmla="*/ 785812 h 1152524"/>
                    <a:gd name="connsiteX11" fmla="*/ 540544 w 1002506"/>
                    <a:gd name="connsiteY11" fmla="*/ 1078706 h 1152524"/>
                    <a:gd name="connsiteX12" fmla="*/ 604838 w 1002506"/>
                    <a:gd name="connsiteY12" fmla="*/ 1135856 h 1152524"/>
                    <a:gd name="connsiteX13" fmla="*/ 683419 w 1002506"/>
                    <a:gd name="connsiteY13" fmla="*/ 1112043 h 1152524"/>
                    <a:gd name="connsiteX14" fmla="*/ 762001 w 1002506"/>
                    <a:gd name="connsiteY14" fmla="*/ 1152524 h 1152524"/>
                    <a:gd name="connsiteX15" fmla="*/ 790576 w 1002506"/>
                    <a:gd name="connsiteY15" fmla="*/ 1131094 h 1152524"/>
                    <a:gd name="connsiteX16" fmla="*/ 1002506 w 1002506"/>
                    <a:gd name="connsiteY16" fmla="*/ 831056 h 1152524"/>
                    <a:gd name="connsiteX17" fmla="*/ 654844 w 1002506"/>
                    <a:gd name="connsiteY17" fmla="*/ 583406 h 1152524"/>
                    <a:gd name="connsiteX18" fmla="*/ 614363 w 1002506"/>
                    <a:gd name="connsiteY18" fmla="*/ 557212 h 1152524"/>
                    <a:gd name="connsiteX19" fmla="*/ 578644 w 1002506"/>
                    <a:gd name="connsiteY19" fmla="*/ 464344 h 1152524"/>
                    <a:gd name="connsiteX20" fmla="*/ 504826 w 1002506"/>
                    <a:gd name="connsiteY20" fmla="*/ 452437 h 1152524"/>
                    <a:gd name="connsiteX21" fmla="*/ 478632 w 1002506"/>
                    <a:gd name="connsiteY21" fmla="*/ 404812 h 1152524"/>
                    <a:gd name="connsiteX22" fmla="*/ 571501 w 1002506"/>
                    <a:gd name="connsiteY22" fmla="*/ 314325 h 1152524"/>
                    <a:gd name="connsiteX23" fmla="*/ 533400 w 1002506"/>
                    <a:gd name="connsiteY23" fmla="*/ 159543 h 1152524"/>
                    <a:gd name="connsiteX24" fmla="*/ 423863 w 1002506"/>
                    <a:gd name="connsiteY24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30994 w 1002506"/>
                    <a:gd name="connsiteY8" fmla="*/ 483393 h 1152524"/>
                    <a:gd name="connsiteX9" fmla="*/ 407194 w 1002506"/>
                    <a:gd name="connsiteY9" fmla="*/ 638174 h 1152524"/>
                    <a:gd name="connsiteX10" fmla="*/ 409575 w 1002506"/>
                    <a:gd name="connsiteY10" fmla="*/ 731043 h 1152524"/>
                    <a:gd name="connsiteX11" fmla="*/ 431007 w 1002506"/>
                    <a:gd name="connsiteY11" fmla="*/ 785812 h 1152524"/>
                    <a:gd name="connsiteX12" fmla="*/ 540544 w 1002506"/>
                    <a:gd name="connsiteY12" fmla="*/ 1078706 h 1152524"/>
                    <a:gd name="connsiteX13" fmla="*/ 604838 w 1002506"/>
                    <a:gd name="connsiteY13" fmla="*/ 1135856 h 1152524"/>
                    <a:gd name="connsiteX14" fmla="*/ 683419 w 1002506"/>
                    <a:gd name="connsiteY14" fmla="*/ 1112043 h 1152524"/>
                    <a:gd name="connsiteX15" fmla="*/ 762001 w 1002506"/>
                    <a:gd name="connsiteY15" fmla="*/ 1152524 h 1152524"/>
                    <a:gd name="connsiteX16" fmla="*/ 790576 w 1002506"/>
                    <a:gd name="connsiteY16" fmla="*/ 1131094 h 1152524"/>
                    <a:gd name="connsiteX17" fmla="*/ 1002506 w 1002506"/>
                    <a:gd name="connsiteY17" fmla="*/ 831056 h 1152524"/>
                    <a:gd name="connsiteX18" fmla="*/ 654844 w 1002506"/>
                    <a:gd name="connsiteY18" fmla="*/ 583406 h 1152524"/>
                    <a:gd name="connsiteX19" fmla="*/ 614363 w 1002506"/>
                    <a:gd name="connsiteY19" fmla="*/ 557212 h 1152524"/>
                    <a:gd name="connsiteX20" fmla="*/ 578644 w 1002506"/>
                    <a:gd name="connsiteY20" fmla="*/ 464344 h 1152524"/>
                    <a:gd name="connsiteX21" fmla="*/ 504826 w 1002506"/>
                    <a:gd name="connsiteY21" fmla="*/ 452437 h 1152524"/>
                    <a:gd name="connsiteX22" fmla="*/ 478632 w 1002506"/>
                    <a:gd name="connsiteY22" fmla="*/ 404812 h 1152524"/>
                    <a:gd name="connsiteX23" fmla="*/ 571501 w 1002506"/>
                    <a:gd name="connsiteY23" fmla="*/ 314325 h 1152524"/>
                    <a:gd name="connsiteX24" fmla="*/ 533400 w 1002506"/>
                    <a:gd name="connsiteY24" fmla="*/ 159543 h 1152524"/>
                    <a:gd name="connsiteX25" fmla="*/ 423863 w 1002506"/>
                    <a:gd name="connsiteY25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09562 w 1002506"/>
                    <a:gd name="connsiteY8" fmla="*/ 478631 h 1152524"/>
                    <a:gd name="connsiteX9" fmla="*/ 407194 w 1002506"/>
                    <a:gd name="connsiteY9" fmla="*/ 638174 h 1152524"/>
                    <a:gd name="connsiteX10" fmla="*/ 409575 w 1002506"/>
                    <a:gd name="connsiteY10" fmla="*/ 731043 h 1152524"/>
                    <a:gd name="connsiteX11" fmla="*/ 431007 w 1002506"/>
                    <a:gd name="connsiteY11" fmla="*/ 785812 h 1152524"/>
                    <a:gd name="connsiteX12" fmla="*/ 540544 w 1002506"/>
                    <a:gd name="connsiteY12" fmla="*/ 1078706 h 1152524"/>
                    <a:gd name="connsiteX13" fmla="*/ 604838 w 1002506"/>
                    <a:gd name="connsiteY13" fmla="*/ 1135856 h 1152524"/>
                    <a:gd name="connsiteX14" fmla="*/ 683419 w 1002506"/>
                    <a:gd name="connsiteY14" fmla="*/ 1112043 h 1152524"/>
                    <a:gd name="connsiteX15" fmla="*/ 762001 w 1002506"/>
                    <a:gd name="connsiteY15" fmla="*/ 1152524 h 1152524"/>
                    <a:gd name="connsiteX16" fmla="*/ 790576 w 1002506"/>
                    <a:gd name="connsiteY16" fmla="*/ 1131094 h 1152524"/>
                    <a:gd name="connsiteX17" fmla="*/ 1002506 w 1002506"/>
                    <a:gd name="connsiteY17" fmla="*/ 831056 h 1152524"/>
                    <a:gd name="connsiteX18" fmla="*/ 654844 w 1002506"/>
                    <a:gd name="connsiteY18" fmla="*/ 583406 h 1152524"/>
                    <a:gd name="connsiteX19" fmla="*/ 614363 w 1002506"/>
                    <a:gd name="connsiteY19" fmla="*/ 557212 h 1152524"/>
                    <a:gd name="connsiteX20" fmla="*/ 578644 w 1002506"/>
                    <a:gd name="connsiteY20" fmla="*/ 464344 h 1152524"/>
                    <a:gd name="connsiteX21" fmla="*/ 504826 w 1002506"/>
                    <a:gd name="connsiteY21" fmla="*/ 452437 h 1152524"/>
                    <a:gd name="connsiteX22" fmla="*/ 478632 w 1002506"/>
                    <a:gd name="connsiteY22" fmla="*/ 404812 h 1152524"/>
                    <a:gd name="connsiteX23" fmla="*/ 571501 w 1002506"/>
                    <a:gd name="connsiteY23" fmla="*/ 314325 h 1152524"/>
                    <a:gd name="connsiteX24" fmla="*/ 533400 w 1002506"/>
                    <a:gd name="connsiteY24" fmla="*/ 159543 h 1152524"/>
                    <a:gd name="connsiteX25" fmla="*/ 423863 w 1002506"/>
                    <a:gd name="connsiteY25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09562 w 1002506"/>
                    <a:gd name="connsiteY8" fmla="*/ 478631 h 1152524"/>
                    <a:gd name="connsiteX9" fmla="*/ 350044 w 1002506"/>
                    <a:gd name="connsiteY9" fmla="*/ 554831 h 1152524"/>
                    <a:gd name="connsiteX10" fmla="*/ 407194 w 1002506"/>
                    <a:gd name="connsiteY10" fmla="*/ 638174 h 1152524"/>
                    <a:gd name="connsiteX11" fmla="*/ 409575 w 1002506"/>
                    <a:gd name="connsiteY11" fmla="*/ 731043 h 1152524"/>
                    <a:gd name="connsiteX12" fmla="*/ 431007 w 1002506"/>
                    <a:gd name="connsiteY12" fmla="*/ 785812 h 1152524"/>
                    <a:gd name="connsiteX13" fmla="*/ 540544 w 1002506"/>
                    <a:gd name="connsiteY13" fmla="*/ 1078706 h 1152524"/>
                    <a:gd name="connsiteX14" fmla="*/ 604838 w 1002506"/>
                    <a:gd name="connsiteY14" fmla="*/ 1135856 h 1152524"/>
                    <a:gd name="connsiteX15" fmla="*/ 683419 w 1002506"/>
                    <a:gd name="connsiteY15" fmla="*/ 1112043 h 1152524"/>
                    <a:gd name="connsiteX16" fmla="*/ 762001 w 1002506"/>
                    <a:gd name="connsiteY16" fmla="*/ 1152524 h 1152524"/>
                    <a:gd name="connsiteX17" fmla="*/ 790576 w 1002506"/>
                    <a:gd name="connsiteY17" fmla="*/ 1131094 h 1152524"/>
                    <a:gd name="connsiteX18" fmla="*/ 1002506 w 1002506"/>
                    <a:gd name="connsiteY18" fmla="*/ 831056 h 1152524"/>
                    <a:gd name="connsiteX19" fmla="*/ 654844 w 1002506"/>
                    <a:gd name="connsiteY19" fmla="*/ 583406 h 1152524"/>
                    <a:gd name="connsiteX20" fmla="*/ 614363 w 1002506"/>
                    <a:gd name="connsiteY20" fmla="*/ 557212 h 1152524"/>
                    <a:gd name="connsiteX21" fmla="*/ 578644 w 1002506"/>
                    <a:gd name="connsiteY21" fmla="*/ 464344 h 1152524"/>
                    <a:gd name="connsiteX22" fmla="*/ 504826 w 1002506"/>
                    <a:gd name="connsiteY22" fmla="*/ 452437 h 1152524"/>
                    <a:gd name="connsiteX23" fmla="*/ 478632 w 1002506"/>
                    <a:gd name="connsiteY23" fmla="*/ 404812 h 1152524"/>
                    <a:gd name="connsiteX24" fmla="*/ 571501 w 1002506"/>
                    <a:gd name="connsiteY24" fmla="*/ 314325 h 1152524"/>
                    <a:gd name="connsiteX25" fmla="*/ 533400 w 1002506"/>
                    <a:gd name="connsiteY25" fmla="*/ 159543 h 1152524"/>
                    <a:gd name="connsiteX26" fmla="*/ 423863 w 1002506"/>
                    <a:gd name="connsiteY26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09562 w 1002506"/>
                    <a:gd name="connsiteY8" fmla="*/ 478631 h 1152524"/>
                    <a:gd name="connsiteX9" fmla="*/ 357188 w 1002506"/>
                    <a:gd name="connsiteY9" fmla="*/ 540544 h 1152524"/>
                    <a:gd name="connsiteX10" fmla="*/ 407194 w 1002506"/>
                    <a:gd name="connsiteY10" fmla="*/ 638174 h 1152524"/>
                    <a:gd name="connsiteX11" fmla="*/ 409575 w 1002506"/>
                    <a:gd name="connsiteY11" fmla="*/ 731043 h 1152524"/>
                    <a:gd name="connsiteX12" fmla="*/ 431007 w 1002506"/>
                    <a:gd name="connsiteY12" fmla="*/ 785812 h 1152524"/>
                    <a:gd name="connsiteX13" fmla="*/ 540544 w 1002506"/>
                    <a:gd name="connsiteY13" fmla="*/ 1078706 h 1152524"/>
                    <a:gd name="connsiteX14" fmla="*/ 604838 w 1002506"/>
                    <a:gd name="connsiteY14" fmla="*/ 1135856 h 1152524"/>
                    <a:gd name="connsiteX15" fmla="*/ 683419 w 1002506"/>
                    <a:gd name="connsiteY15" fmla="*/ 1112043 h 1152524"/>
                    <a:gd name="connsiteX16" fmla="*/ 762001 w 1002506"/>
                    <a:gd name="connsiteY16" fmla="*/ 1152524 h 1152524"/>
                    <a:gd name="connsiteX17" fmla="*/ 790576 w 1002506"/>
                    <a:gd name="connsiteY17" fmla="*/ 1131094 h 1152524"/>
                    <a:gd name="connsiteX18" fmla="*/ 1002506 w 1002506"/>
                    <a:gd name="connsiteY18" fmla="*/ 831056 h 1152524"/>
                    <a:gd name="connsiteX19" fmla="*/ 654844 w 1002506"/>
                    <a:gd name="connsiteY19" fmla="*/ 583406 h 1152524"/>
                    <a:gd name="connsiteX20" fmla="*/ 614363 w 1002506"/>
                    <a:gd name="connsiteY20" fmla="*/ 557212 h 1152524"/>
                    <a:gd name="connsiteX21" fmla="*/ 578644 w 1002506"/>
                    <a:gd name="connsiteY21" fmla="*/ 464344 h 1152524"/>
                    <a:gd name="connsiteX22" fmla="*/ 504826 w 1002506"/>
                    <a:gd name="connsiteY22" fmla="*/ 452437 h 1152524"/>
                    <a:gd name="connsiteX23" fmla="*/ 478632 w 1002506"/>
                    <a:gd name="connsiteY23" fmla="*/ 404812 h 1152524"/>
                    <a:gd name="connsiteX24" fmla="*/ 571501 w 1002506"/>
                    <a:gd name="connsiteY24" fmla="*/ 314325 h 1152524"/>
                    <a:gd name="connsiteX25" fmla="*/ 533400 w 1002506"/>
                    <a:gd name="connsiteY25" fmla="*/ 159543 h 1152524"/>
                    <a:gd name="connsiteX26" fmla="*/ 423863 w 1002506"/>
                    <a:gd name="connsiteY26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09562 w 1002506"/>
                    <a:gd name="connsiteY8" fmla="*/ 478631 h 1152524"/>
                    <a:gd name="connsiteX9" fmla="*/ 357188 w 1002506"/>
                    <a:gd name="connsiteY9" fmla="*/ 540544 h 1152524"/>
                    <a:gd name="connsiteX10" fmla="*/ 407194 w 1002506"/>
                    <a:gd name="connsiteY10" fmla="*/ 638174 h 1152524"/>
                    <a:gd name="connsiteX11" fmla="*/ 409575 w 1002506"/>
                    <a:gd name="connsiteY11" fmla="*/ 731043 h 1152524"/>
                    <a:gd name="connsiteX12" fmla="*/ 431007 w 1002506"/>
                    <a:gd name="connsiteY12" fmla="*/ 785812 h 1152524"/>
                    <a:gd name="connsiteX13" fmla="*/ 476251 w 1002506"/>
                    <a:gd name="connsiteY13" fmla="*/ 919162 h 1152524"/>
                    <a:gd name="connsiteX14" fmla="*/ 540544 w 1002506"/>
                    <a:gd name="connsiteY14" fmla="*/ 1078706 h 1152524"/>
                    <a:gd name="connsiteX15" fmla="*/ 604838 w 1002506"/>
                    <a:gd name="connsiteY15" fmla="*/ 1135856 h 1152524"/>
                    <a:gd name="connsiteX16" fmla="*/ 683419 w 1002506"/>
                    <a:gd name="connsiteY16" fmla="*/ 1112043 h 1152524"/>
                    <a:gd name="connsiteX17" fmla="*/ 762001 w 1002506"/>
                    <a:gd name="connsiteY17" fmla="*/ 1152524 h 1152524"/>
                    <a:gd name="connsiteX18" fmla="*/ 790576 w 1002506"/>
                    <a:gd name="connsiteY18" fmla="*/ 1131094 h 1152524"/>
                    <a:gd name="connsiteX19" fmla="*/ 1002506 w 1002506"/>
                    <a:gd name="connsiteY19" fmla="*/ 831056 h 1152524"/>
                    <a:gd name="connsiteX20" fmla="*/ 654844 w 1002506"/>
                    <a:gd name="connsiteY20" fmla="*/ 583406 h 1152524"/>
                    <a:gd name="connsiteX21" fmla="*/ 614363 w 1002506"/>
                    <a:gd name="connsiteY21" fmla="*/ 557212 h 1152524"/>
                    <a:gd name="connsiteX22" fmla="*/ 578644 w 1002506"/>
                    <a:gd name="connsiteY22" fmla="*/ 464344 h 1152524"/>
                    <a:gd name="connsiteX23" fmla="*/ 504826 w 1002506"/>
                    <a:gd name="connsiteY23" fmla="*/ 452437 h 1152524"/>
                    <a:gd name="connsiteX24" fmla="*/ 478632 w 1002506"/>
                    <a:gd name="connsiteY24" fmla="*/ 404812 h 1152524"/>
                    <a:gd name="connsiteX25" fmla="*/ 571501 w 1002506"/>
                    <a:gd name="connsiteY25" fmla="*/ 314325 h 1152524"/>
                    <a:gd name="connsiteX26" fmla="*/ 533400 w 1002506"/>
                    <a:gd name="connsiteY26" fmla="*/ 159543 h 1152524"/>
                    <a:gd name="connsiteX27" fmla="*/ 423863 w 1002506"/>
                    <a:gd name="connsiteY27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09562 w 1002506"/>
                    <a:gd name="connsiteY8" fmla="*/ 478631 h 1152524"/>
                    <a:gd name="connsiteX9" fmla="*/ 357188 w 1002506"/>
                    <a:gd name="connsiteY9" fmla="*/ 540544 h 1152524"/>
                    <a:gd name="connsiteX10" fmla="*/ 407194 w 1002506"/>
                    <a:gd name="connsiteY10" fmla="*/ 638174 h 1152524"/>
                    <a:gd name="connsiteX11" fmla="*/ 409575 w 1002506"/>
                    <a:gd name="connsiteY11" fmla="*/ 731043 h 1152524"/>
                    <a:gd name="connsiteX12" fmla="*/ 431007 w 1002506"/>
                    <a:gd name="connsiteY12" fmla="*/ 785812 h 1152524"/>
                    <a:gd name="connsiteX13" fmla="*/ 423863 w 1002506"/>
                    <a:gd name="connsiteY13" fmla="*/ 885824 h 1152524"/>
                    <a:gd name="connsiteX14" fmla="*/ 540544 w 1002506"/>
                    <a:gd name="connsiteY14" fmla="*/ 1078706 h 1152524"/>
                    <a:gd name="connsiteX15" fmla="*/ 604838 w 1002506"/>
                    <a:gd name="connsiteY15" fmla="*/ 1135856 h 1152524"/>
                    <a:gd name="connsiteX16" fmla="*/ 683419 w 1002506"/>
                    <a:gd name="connsiteY16" fmla="*/ 1112043 h 1152524"/>
                    <a:gd name="connsiteX17" fmla="*/ 762001 w 1002506"/>
                    <a:gd name="connsiteY17" fmla="*/ 1152524 h 1152524"/>
                    <a:gd name="connsiteX18" fmla="*/ 790576 w 1002506"/>
                    <a:gd name="connsiteY18" fmla="*/ 1131094 h 1152524"/>
                    <a:gd name="connsiteX19" fmla="*/ 1002506 w 1002506"/>
                    <a:gd name="connsiteY19" fmla="*/ 831056 h 1152524"/>
                    <a:gd name="connsiteX20" fmla="*/ 654844 w 1002506"/>
                    <a:gd name="connsiteY20" fmla="*/ 583406 h 1152524"/>
                    <a:gd name="connsiteX21" fmla="*/ 614363 w 1002506"/>
                    <a:gd name="connsiteY21" fmla="*/ 557212 h 1152524"/>
                    <a:gd name="connsiteX22" fmla="*/ 578644 w 1002506"/>
                    <a:gd name="connsiteY22" fmla="*/ 464344 h 1152524"/>
                    <a:gd name="connsiteX23" fmla="*/ 504826 w 1002506"/>
                    <a:gd name="connsiteY23" fmla="*/ 452437 h 1152524"/>
                    <a:gd name="connsiteX24" fmla="*/ 478632 w 1002506"/>
                    <a:gd name="connsiteY24" fmla="*/ 404812 h 1152524"/>
                    <a:gd name="connsiteX25" fmla="*/ 571501 w 1002506"/>
                    <a:gd name="connsiteY25" fmla="*/ 314325 h 1152524"/>
                    <a:gd name="connsiteX26" fmla="*/ 533400 w 1002506"/>
                    <a:gd name="connsiteY26" fmla="*/ 159543 h 1152524"/>
                    <a:gd name="connsiteX27" fmla="*/ 423863 w 1002506"/>
                    <a:gd name="connsiteY27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09562 w 1002506"/>
                    <a:gd name="connsiteY8" fmla="*/ 478631 h 1152524"/>
                    <a:gd name="connsiteX9" fmla="*/ 357188 w 1002506"/>
                    <a:gd name="connsiteY9" fmla="*/ 540544 h 1152524"/>
                    <a:gd name="connsiteX10" fmla="*/ 407194 w 1002506"/>
                    <a:gd name="connsiteY10" fmla="*/ 638174 h 1152524"/>
                    <a:gd name="connsiteX11" fmla="*/ 409575 w 1002506"/>
                    <a:gd name="connsiteY11" fmla="*/ 731043 h 1152524"/>
                    <a:gd name="connsiteX12" fmla="*/ 431007 w 1002506"/>
                    <a:gd name="connsiteY12" fmla="*/ 785812 h 1152524"/>
                    <a:gd name="connsiteX13" fmla="*/ 423863 w 1002506"/>
                    <a:gd name="connsiteY13" fmla="*/ 885824 h 1152524"/>
                    <a:gd name="connsiteX14" fmla="*/ 483394 w 1002506"/>
                    <a:gd name="connsiteY14" fmla="*/ 985837 h 1152524"/>
                    <a:gd name="connsiteX15" fmla="*/ 540544 w 1002506"/>
                    <a:gd name="connsiteY15" fmla="*/ 1078706 h 1152524"/>
                    <a:gd name="connsiteX16" fmla="*/ 604838 w 1002506"/>
                    <a:gd name="connsiteY16" fmla="*/ 1135856 h 1152524"/>
                    <a:gd name="connsiteX17" fmla="*/ 683419 w 1002506"/>
                    <a:gd name="connsiteY17" fmla="*/ 1112043 h 1152524"/>
                    <a:gd name="connsiteX18" fmla="*/ 762001 w 1002506"/>
                    <a:gd name="connsiteY18" fmla="*/ 1152524 h 1152524"/>
                    <a:gd name="connsiteX19" fmla="*/ 790576 w 1002506"/>
                    <a:gd name="connsiteY19" fmla="*/ 1131094 h 1152524"/>
                    <a:gd name="connsiteX20" fmla="*/ 1002506 w 1002506"/>
                    <a:gd name="connsiteY20" fmla="*/ 831056 h 1152524"/>
                    <a:gd name="connsiteX21" fmla="*/ 654844 w 1002506"/>
                    <a:gd name="connsiteY21" fmla="*/ 583406 h 1152524"/>
                    <a:gd name="connsiteX22" fmla="*/ 614363 w 1002506"/>
                    <a:gd name="connsiteY22" fmla="*/ 557212 h 1152524"/>
                    <a:gd name="connsiteX23" fmla="*/ 578644 w 1002506"/>
                    <a:gd name="connsiteY23" fmla="*/ 464344 h 1152524"/>
                    <a:gd name="connsiteX24" fmla="*/ 504826 w 1002506"/>
                    <a:gd name="connsiteY24" fmla="*/ 452437 h 1152524"/>
                    <a:gd name="connsiteX25" fmla="*/ 478632 w 1002506"/>
                    <a:gd name="connsiteY25" fmla="*/ 404812 h 1152524"/>
                    <a:gd name="connsiteX26" fmla="*/ 571501 w 1002506"/>
                    <a:gd name="connsiteY26" fmla="*/ 314325 h 1152524"/>
                    <a:gd name="connsiteX27" fmla="*/ 533400 w 1002506"/>
                    <a:gd name="connsiteY27" fmla="*/ 159543 h 1152524"/>
                    <a:gd name="connsiteX28" fmla="*/ 423863 w 1002506"/>
                    <a:gd name="connsiteY28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09562 w 1002506"/>
                    <a:gd name="connsiteY8" fmla="*/ 478631 h 1152524"/>
                    <a:gd name="connsiteX9" fmla="*/ 357188 w 1002506"/>
                    <a:gd name="connsiteY9" fmla="*/ 540544 h 1152524"/>
                    <a:gd name="connsiteX10" fmla="*/ 407194 w 1002506"/>
                    <a:gd name="connsiteY10" fmla="*/ 638174 h 1152524"/>
                    <a:gd name="connsiteX11" fmla="*/ 409575 w 1002506"/>
                    <a:gd name="connsiteY11" fmla="*/ 731043 h 1152524"/>
                    <a:gd name="connsiteX12" fmla="*/ 431007 w 1002506"/>
                    <a:gd name="connsiteY12" fmla="*/ 785812 h 1152524"/>
                    <a:gd name="connsiteX13" fmla="*/ 423863 w 1002506"/>
                    <a:gd name="connsiteY13" fmla="*/ 885824 h 1152524"/>
                    <a:gd name="connsiteX14" fmla="*/ 428626 w 1002506"/>
                    <a:gd name="connsiteY14" fmla="*/ 988219 h 1152524"/>
                    <a:gd name="connsiteX15" fmla="*/ 540544 w 1002506"/>
                    <a:gd name="connsiteY15" fmla="*/ 1078706 h 1152524"/>
                    <a:gd name="connsiteX16" fmla="*/ 604838 w 1002506"/>
                    <a:gd name="connsiteY16" fmla="*/ 1135856 h 1152524"/>
                    <a:gd name="connsiteX17" fmla="*/ 683419 w 1002506"/>
                    <a:gd name="connsiteY17" fmla="*/ 1112043 h 1152524"/>
                    <a:gd name="connsiteX18" fmla="*/ 762001 w 1002506"/>
                    <a:gd name="connsiteY18" fmla="*/ 1152524 h 1152524"/>
                    <a:gd name="connsiteX19" fmla="*/ 790576 w 1002506"/>
                    <a:gd name="connsiteY19" fmla="*/ 1131094 h 1152524"/>
                    <a:gd name="connsiteX20" fmla="*/ 1002506 w 1002506"/>
                    <a:gd name="connsiteY20" fmla="*/ 831056 h 1152524"/>
                    <a:gd name="connsiteX21" fmla="*/ 654844 w 1002506"/>
                    <a:gd name="connsiteY21" fmla="*/ 583406 h 1152524"/>
                    <a:gd name="connsiteX22" fmla="*/ 614363 w 1002506"/>
                    <a:gd name="connsiteY22" fmla="*/ 557212 h 1152524"/>
                    <a:gd name="connsiteX23" fmla="*/ 578644 w 1002506"/>
                    <a:gd name="connsiteY23" fmla="*/ 464344 h 1152524"/>
                    <a:gd name="connsiteX24" fmla="*/ 504826 w 1002506"/>
                    <a:gd name="connsiteY24" fmla="*/ 452437 h 1152524"/>
                    <a:gd name="connsiteX25" fmla="*/ 478632 w 1002506"/>
                    <a:gd name="connsiteY25" fmla="*/ 404812 h 1152524"/>
                    <a:gd name="connsiteX26" fmla="*/ 571501 w 1002506"/>
                    <a:gd name="connsiteY26" fmla="*/ 314325 h 1152524"/>
                    <a:gd name="connsiteX27" fmla="*/ 533400 w 1002506"/>
                    <a:gd name="connsiteY27" fmla="*/ 159543 h 1152524"/>
                    <a:gd name="connsiteX28" fmla="*/ 423863 w 1002506"/>
                    <a:gd name="connsiteY28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09562 w 1002506"/>
                    <a:gd name="connsiteY8" fmla="*/ 478631 h 1152524"/>
                    <a:gd name="connsiteX9" fmla="*/ 357188 w 1002506"/>
                    <a:gd name="connsiteY9" fmla="*/ 540544 h 1152524"/>
                    <a:gd name="connsiteX10" fmla="*/ 407194 w 1002506"/>
                    <a:gd name="connsiteY10" fmla="*/ 638174 h 1152524"/>
                    <a:gd name="connsiteX11" fmla="*/ 409575 w 1002506"/>
                    <a:gd name="connsiteY11" fmla="*/ 731043 h 1152524"/>
                    <a:gd name="connsiteX12" fmla="*/ 431007 w 1002506"/>
                    <a:gd name="connsiteY12" fmla="*/ 785812 h 1152524"/>
                    <a:gd name="connsiteX13" fmla="*/ 423863 w 1002506"/>
                    <a:gd name="connsiteY13" fmla="*/ 885824 h 1152524"/>
                    <a:gd name="connsiteX14" fmla="*/ 428626 w 1002506"/>
                    <a:gd name="connsiteY14" fmla="*/ 988219 h 1152524"/>
                    <a:gd name="connsiteX15" fmla="*/ 481013 w 1002506"/>
                    <a:gd name="connsiteY15" fmla="*/ 1026318 h 1152524"/>
                    <a:gd name="connsiteX16" fmla="*/ 540544 w 1002506"/>
                    <a:gd name="connsiteY16" fmla="*/ 1078706 h 1152524"/>
                    <a:gd name="connsiteX17" fmla="*/ 604838 w 1002506"/>
                    <a:gd name="connsiteY17" fmla="*/ 1135856 h 1152524"/>
                    <a:gd name="connsiteX18" fmla="*/ 683419 w 1002506"/>
                    <a:gd name="connsiteY18" fmla="*/ 1112043 h 1152524"/>
                    <a:gd name="connsiteX19" fmla="*/ 762001 w 1002506"/>
                    <a:gd name="connsiteY19" fmla="*/ 1152524 h 1152524"/>
                    <a:gd name="connsiteX20" fmla="*/ 790576 w 1002506"/>
                    <a:gd name="connsiteY20" fmla="*/ 1131094 h 1152524"/>
                    <a:gd name="connsiteX21" fmla="*/ 1002506 w 1002506"/>
                    <a:gd name="connsiteY21" fmla="*/ 831056 h 1152524"/>
                    <a:gd name="connsiteX22" fmla="*/ 654844 w 1002506"/>
                    <a:gd name="connsiteY22" fmla="*/ 583406 h 1152524"/>
                    <a:gd name="connsiteX23" fmla="*/ 614363 w 1002506"/>
                    <a:gd name="connsiteY23" fmla="*/ 557212 h 1152524"/>
                    <a:gd name="connsiteX24" fmla="*/ 578644 w 1002506"/>
                    <a:gd name="connsiteY24" fmla="*/ 464344 h 1152524"/>
                    <a:gd name="connsiteX25" fmla="*/ 504826 w 1002506"/>
                    <a:gd name="connsiteY25" fmla="*/ 452437 h 1152524"/>
                    <a:gd name="connsiteX26" fmla="*/ 478632 w 1002506"/>
                    <a:gd name="connsiteY26" fmla="*/ 404812 h 1152524"/>
                    <a:gd name="connsiteX27" fmla="*/ 571501 w 1002506"/>
                    <a:gd name="connsiteY27" fmla="*/ 314325 h 1152524"/>
                    <a:gd name="connsiteX28" fmla="*/ 533400 w 1002506"/>
                    <a:gd name="connsiteY28" fmla="*/ 159543 h 1152524"/>
                    <a:gd name="connsiteX29" fmla="*/ 423863 w 1002506"/>
                    <a:gd name="connsiteY29" fmla="*/ 85725 h 1152524"/>
                    <a:gd name="connsiteX0" fmla="*/ 423863 w 1002506"/>
                    <a:gd name="connsiteY0" fmla="*/ 85725 h 1152524"/>
                    <a:gd name="connsiteX1" fmla="*/ 207170 w 1002506"/>
                    <a:gd name="connsiteY1" fmla="*/ 0 h 1152524"/>
                    <a:gd name="connsiteX2" fmla="*/ 0 w 1002506"/>
                    <a:gd name="connsiteY2" fmla="*/ 100012 h 1152524"/>
                    <a:gd name="connsiteX3" fmla="*/ 88107 w 1002506"/>
                    <a:gd name="connsiteY3" fmla="*/ 414338 h 1152524"/>
                    <a:gd name="connsiteX4" fmla="*/ 152400 w 1002506"/>
                    <a:gd name="connsiteY4" fmla="*/ 428625 h 1152524"/>
                    <a:gd name="connsiteX5" fmla="*/ 197644 w 1002506"/>
                    <a:gd name="connsiteY5" fmla="*/ 438150 h 1152524"/>
                    <a:gd name="connsiteX6" fmla="*/ 247651 w 1002506"/>
                    <a:gd name="connsiteY6" fmla="*/ 414337 h 1152524"/>
                    <a:gd name="connsiteX7" fmla="*/ 307182 w 1002506"/>
                    <a:gd name="connsiteY7" fmla="*/ 438149 h 1152524"/>
                    <a:gd name="connsiteX8" fmla="*/ 309562 w 1002506"/>
                    <a:gd name="connsiteY8" fmla="*/ 478631 h 1152524"/>
                    <a:gd name="connsiteX9" fmla="*/ 357188 w 1002506"/>
                    <a:gd name="connsiteY9" fmla="*/ 540544 h 1152524"/>
                    <a:gd name="connsiteX10" fmla="*/ 407194 w 1002506"/>
                    <a:gd name="connsiteY10" fmla="*/ 638174 h 1152524"/>
                    <a:gd name="connsiteX11" fmla="*/ 409575 w 1002506"/>
                    <a:gd name="connsiteY11" fmla="*/ 731043 h 1152524"/>
                    <a:gd name="connsiteX12" fmla="*/ 431007 w 1002506"/>
                    <a:gd name="connsiteY12" fmla="*/ 785812 h 1152524"/>
                    <a:gd name="connsiteX13" fmla="*/ 423863 w 1002506"/>
                    <a:gd name="connsiteY13" fmla="*/ 885824 h 1152524"/>
                    <a:gd name="connsiteX14" fmla="*/ 428626 w 1002506"/>
                    <a:gd name="connsiteY14" fmla="*/ 988219 h 1152524"/>
                    <a:gd name="connsiteX15" fmla="*/ 459581 w 1002506"/>
                    <a:gd name="connsiteY15" fmla="*/ 1045368 h 1152524"/>
                    <a:gd name="connsiteX16" fmla="*/ 540544 w 1002506"/>
                    <a:gd name="connsiteY16" fmla="*/ 1078706 h 1152524"/>
                    <a:gd name="connsiteX17" fmla="*/ 604838 w 1002506"/>
                    <a:gd name="connsiteY17" fmla="*/ 1135856 h 1152524"/>
                    <a:gd name="connsiteX18" fmla="*/ 683419 w 1002506"/>
                    <a:gd name="connsiteY18" fmla="*/ 1112043 h 1152524"/>
                    <a:gd name="connsiteX19" fmla="*/ 762001 w 1002506"/>
                    <a:gd name="connsiteY19" fmla="*/ 1152524 h 1152524"/>
                    <a:gd name="connsiteX20" fmla="*/ 790576 w 1002506"/>
                    <a:gd name="connsiteY20" fmla="*/ 1131094 h 1152524"/>
                    <a:gd name="connsiteX21" fmla="*/ 1002506 w 1002506"/>
                    <a:gd name="connsiteY21" fmla="*/ 831056 h 1152524"/>
                    <a:gd name="connsiteX22" fmla="*/ 654844 w 1002506"/>
                    <a:gd name="connsiteY22" fmla="*/ 583406 h 1152524"/>
                    <a:gd name="connsiteX23" fmla="*/ 614363 w 1002506"/>
                    <a:gd name="connsiteY23" fmla="*/ 557212 h 1152524"/>
                    <a:gd name="connsiteX24" fmla="*/ 578644 w 1002506"/>
                    <a:gd name="connsiteY24" fmla="*/ 464344 h 1152524"/>
                    <a:gd name="connsiteX25" fmla="*/ 504826 w 1002506"/>
                    <a:gd name="connsiteY25" fmla="*/ 452437 h 1152524"/>
                    <a:gd name="connsiteX26" fmla="*/ 478632 w 1002506"/>
                    <a:gd name="connsiteY26" fmla="*/ 404812 h 1152524"/>
                    <a:gd name="connsiteX27" fmla="*/ 571501 w 1002506"/>
                    <a:gd name="connsiteY27" fmla="*/ 314325 h 1152524"/>
                    <a:gd name="connsiteX28" fmla="*/ 533400 w 1002506"/>
                    <a:gd name="connsiteY28" fmla="*/ 159543 h 1152524"/>
                    <a:gd name="connsiteX29" fmla="*/ 423863 w 1002506"/>
                    <a:gd name="connsiteY29" fmla="*/ 85725 h 1152524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</a:cxnLst>
                  <a:rect l="l" t="t" r="r" b="b"/>
                  <a:pathLst>
                    <a:path w="1002506" h="1152524">
                      <a:moveTo>
                        <a:pt x="423863" y="85725"/>
                      </a:moveTo>
                      <a:lnTo>
                        <a:pt x="207170" y="0"/>
                      </a:lnTo>
                      <a:lnTo>
                        <a:pt x="0" y="100012"/>
                      </a:lnTo>
                      <a:lnTo>
                        <a:pt x="88107" y="414338"/>
                      </a:lnTo>
                      <a:lnTo>
                        <a:pt x="152400" y="428625"/>
                      </a:lnTo>
                      <a:lnTo>
                        <a:pt x="197644" y="438150"/>
                      </a:lnTo>
                      <a:lnTo>
                        <a:pt x="247651" y="414337"/>
                      </a:lnTo>
                      <a:lnTo>
                        <a:pt x="307182" y="438149"/>
                      </a:lnTo>
                      <a:lnTo>
                        <a:pt x="309562" y="478631"/>
                      </a:lnTo>
                      <a:lnTo>
                        <a:pt x="357188" y="540544"/>
                      </a:lnTo>
                      <a:lnTo>
                        <a:pt x="407194" y="638174"/>
                      </a:lnTo>
                      <a:cubicBezTo>
                        <a:pt x="407988" y="669130"/>
                        <a:pt x="408781" y="700087"/>
                        <a:pt x="409575" y="731043"/>
                      </a:cubicBezTo>
                      <a:lnTo>
                        <a:pt x="431007" y="785812"/>
                      </a:lnTo>
                      <a:lnTo>
                        <a:pt x="423863" y="885824"/>
                      </a:lnTo>
                      <a:lnTo>
                        <a:pt x="428626" y="988219"/>
                      </a:lnTo>
                      <a:lnTo>
                        <a:pt x="459581" y="1045368"/>
                      </a:lnTo>
                      <a:lnTo>
                        <a:pt x="540544" y="1078706"/>
                      </a:lnTo>
                      <a:lnTo>
                        <a:pt x="604838" y="1135856"/>
                      </a:lnTo>
                      <a:lnTo>
                        <a:pt x="683419" y="1112043"/>
                      </a:lnTo>
                      <a:lnTo>
                        <a:pt x="762001" y="1152524"/>
                      </a:lnTo>
                      <a:lnTo>
                        <a:pt x="790576" y="1131094"/>
                      </a:lnTo>
                      <a:lnTo>
                        <a:pt x="1002506" y="831056"/>
                      </a:lnTo>
                      <a:lnTo>
                        <a:pt x="654844" y="583406"/>
                      </a:lnTo>
                      <a:lnTo>
                        <a:pt x="614363" y="557212"/>
                      </a:lnTo>
                      <a:lnTo>
                        <a:pt x="578644" y="464344"/>
                      </a:lnTo>
                      <a:lnTo>
                        <a:pt x="504826" y="452437"/>
                      </a:lnTo>
                      <a:lnTo>
                        <a:pt x="478632" y="404812"/>
                      </a:lnTo>
                      <a:lnTo>
                        <a:pt x="571501" y="314325"/>
                      </a:lnTo>
                      <a:lnTo>
                        <a:pt x="533400" y="159543"/>
                      </a:lnTo>
                      <a:lnTo>
                        <a:pt x="423863" y="85725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102" name="Freeform 101"/>
                <p:cNvSpPr/>
                <p:nvPr/>
              </p:nvSpPr>
              <p:spPr>
                <a:xfrm>
                  <a:off x="4469606" y="523875"/>
                  <a:ext cx="1702595" cy="1545431"/>
                </a:xfrm>
                <a:custGeom>
                  <a:avLst/>
                  <a:gdLst>
                    <a:gd name="connsiteX0" fmla="*/ 628650 w 1927225"/>
                    <a:gd name="connsiteY0" fmla="*/ 0 h 1670050"/>
                    <a:gd name="connsiteX1" fmla="*/ 415925 w 1927225"/>
                    <a:gd name="connsiteY1" fmla="*/ 3175 h 1670050"/>
                    <a:gd name="connsiteX2" fmla="*/ 285750 w 1927225"/>
                    <a:gd name="connsiteY2" fmla="*/ 568325 h 1670050"/>
                    <a:gd name="connsiteX3" fmla="*/ 19050 w 1927225"/>
                    <a:gd name="connsiteY3" fmla="*/ 987425 h 1670050"/>
                    <a:gd name="connsiteX4" fmla="*/ 0 w 1927225"/>
                    <a:gd name="connsiteY4" fmla="*/ 1387475 h 1670050"/>
                    <a:gd name="connsiteX5" fmla="*/ 152400 w 1927225"/>
                    <a:gd name="connsiteY5" fmla="*/ 1501775 h 1670050"/>
                    <a:gd name="connsiteX6" fmla="*/ 717550 w 1927225"/>
                    <a:gd name="connsiteY6" fmla="*/ 1520825 h 1670050"/>
                    <a:gd name="connsiteX7" fmla="*/ 933450 w 1927225"/>
                    <a:gd name="connsiteY7" fmla="*/ 1651000 h 1670050"/>
                    <a:gd name="connsiteX8" fmla="*/ 1285875 w 1927225"/>
                    <a:gd name="connsiteY8" fmla="*/ 1670050 h 1670050"/>
                    <a:gd name="connsiteX9" fmla="*/ 1419225 w 1927225"/>
                    <a:gd name="connsiteY9" fmla="*/ 1390650 h 1670050"/>
                    <a:gd name="connsiteX10" fmla="*/ 1644650 w 1927225"/>
                    <a:gd name="connsiteY10" fmla="*/ 1260475 h 1670050"/>
                    <a:gd name="connsiteX11" fmla="*/ 1676400 w 1927225"/>
                    <a:gd name="connsiteY11" fmla="*/ 1003300 h 1670050"/>
                    <a:gd name="connsiteX12" fmla="*/ 1927225 w 1927225"/>
                    <a:gd name="connsiteY12" fmla="*/ 835025 h 1670050"/>
                    <a:gd name="connsiteX13" fmla="*/ 1812925 w 1927225"/>
                    <a:gd name="connsiteY13" fmla="*/ 727075 h 1670050"/>
                    <a:gd name="connsiteX14" fmla="*/ 628650 w 1927225"/>
                    <a:gd name="connsiteY14" fmla="*/ 0 h 1670050"/>
                    <a:gd name="connsiteX0" fmla="*/ 628650 w 1927225"/>
                    <a:gd name="connsiteY0" fmla="*/ 0 h 1670050"/>
                    <a:gd name="connsiteX1" fmla="*/ 104775 w 1927225"/>
                    <a:gd name="connsiteY1" fmla="*/ 225425 h 1670050"/>
                    <a:gd name="connsiteX2" fmla="*/ 285750 w 1927225"/>
                    <a:gd name="connsiteY2" fmla="*/ 568325 h 1670050"/>
                    <a:gd name="connsiteX3" fmla="*/ 19050 w 1927225"/>
                    <a:gd name="connsiteY3" fmla="*/ 987425 h 1670050"/>
                    <a:gd name="connsiteX4" fmla="*/ 0 w 1927225"/>
                    <a:gd name="connsiteY4" fmla="*/ 1387475 h 1670050"/>
                    <a:gd name="connsiteX5" fmla="*/ 152400 w 1927225"/>
                    <a:gd name="connsiteY5" fmla="*/ 1501775 h 1670050"/>
                    <a:gd name="connsiteX6" fmla="*/ 717550 w 1927225"/>
                    <a:gd name="connsiteY6" fmla="*/ 1520825 h 1670050"/>
                    <a:gd name="connsiteX7" fmla="*/ 933450 w 1927225"/>
                    <a:gd name="connsiteY7" fmla="*/ 1651000 h 1670050"/>
                    <a:gd name="connsiteX8" fmla="*/ 1285875 w 1927225"/>
                    <a:gd name="connsiteY8" fmla="*/ 1670050 h 1670050"/>
                    <a:gd name="connsiteX9" fmla="*/ 1419225 w 1927225"/>
                    <a:gd name="connsiteY9" fmla="*/ 1390650 h 1670050"/>
                    <a:gd name="connsiteX10" fmla="*/ 1644650 w 1927225"/>
                    <a:gd name="connsiteY10" fmla="*/ 1260475 h 1670050"/>
                    <a:gd name="connsiteX11" fmla="*/ 1676400 w 1927225"/>
                    <a:gd name="connsiteY11" fmla="*/ 1003300 h 1670050"/>
                    <a:gd name="connsiteX12" fmla="*/ 1927225 w 1927225"/>
                    <a:gd name="connsiteY12" fmla="*/ 835025 h 1670050"/>
                    <a:gd name="connsiteX13" fmla="*/ 1812925 w 1927225"/>
                    <a:gd name="connsiteY13" fmla="*/ 727075 h 1670050"/>
                    <a:gd name="connsiteX14" fmla="*/ 628650 w 1927225"/>
                    <a:gd name="connsiteY14" fmla="*/ 0 h 1670050"/>
                    <a:gd name="connsiteX0" fmla="*/ 428625 w 1927225"/>
                    <a:gd name="connsiteY0" fmla="*/ 0 h 1609725"/>
                    <a:gd name="connsiteX1" fmla="*/ 104775 w 1927225"/>
                    <a:gd name="connsiteY1" fmla="*/ 165100 h 1609725"/>
                    <a:gd name="connsiteX2" fmla="*/ 285750 w 1927225"/>
                    <a:gd name="connsiteY2" fmla="*/ 508000 h 1609725"/>
                    <a:gd name="connsiteX3" fmla="*/ 19050 w 1927225"/>
                    <a:gd name="connsiteY3" fmla="*/ 927100 h 1609725"/>
                    <a:gd name="connsiteX4" fmla="*/ 0 w 1927225"/>
                    <a:gd name="connsiteY4" fmla="*/ 1327150 h 1609725"/>
                    <a:gd name="connsiteX5" fmla="*/ 152400 w 1927225"/>
                    <a:gd name="connsiteY5" fmla="*/ 1441450 h 1609725"/>
                    <a:gd name="connsiteX6" fmla="*/ 717550 w 1927225"/>
                    <a:gd name="connsiteY6" fmla="*/ 1460500 h 1609725"/>
                    <a:gd name="connsiteX7" fmla="*/ 933450 w 1927225"/>
                    <a:gd name="connsiteY7" fmla="*/ 1590675 h 1609725"/>
                    <a:gd name="connsiteX8" fmla="*/ 1285875 w 1927225"/>
                    <a:gd name="connsiteY8" fmla="*/ 1609725 h 1609725"/>
                    <a:gd name="connsiteX9" fmla="*/ 1419225 w 1927225"/>
                    <a:gd name="connsiteY9" fmla="*/ 1330325 h 1609725"/>
                    <a:gd name="connsiteX10" fmla="*/ 1644650 w 1927225"/>
                    <a:gd name="connsiteY10" fmla="*/ 1200150 h 1609725"/>
                    <a:gd name="connsiteX11" fmla="*/ 1676400 w 1927225"/>
                    <a:gd name="connsiteY11" fmla="*/ 942975 h 1609725"/>
                    <a:gd name="connsiteX12" fmla="*/ 1927225 w 1927225"/>
                    <a:gd name="connsiteY12" fmla="*/ 774700 h 1609725"/>
                    <a:gd name="connsiteX13" fmla="*/ 1812925 w 1927225"/>
                    <a:gd name="connsiteY13" fmla="*/ 666750 h 1609725"/>
                    <a:gd name="connsiteX14" fmla="*/ 428625 w 1927225"/>
                    <a:gd name="connsiteY14" fmla="*/ 0 h 1609725"/>
                    <a:gd name="connsiteX0" fmla="*/ 428625 w 1927225"/>
                    <a:gd name="connsiteY0" fmla="*/ 0 h 1609725"/>
                    <a:gd name="connsiteX1" fmla="*/ 104775 w 1927225"/>
                    <a:gd name="connsiteY1" fmla="*/ 165100 h 1609725"/>
                    <a:gd name="connsiteX2" fmla="*/ 285750 w 1927225"/>
                    <a:gd name="connsiteY2" fmla="*/ 508000 h 1609725"/>
                    <a:gd name="connsiteX3" fmla="*/ 19050 w 1927225"/>
                    <a:gd name="connsiteY3" fmla="*/ 927100 h 1609725"/>
                    <a:gd name="connsiteX4" fmla="*/ 0 w 1927225"/>
                    <a:gd name="connsiteY4" fmla="*/ 1327150 h 1609725"/>
                    <a:gd name="connsiteX5" fmla="*/ 152400 w 1927225"/>
                    <a:gd name="connsiteY5" fmla="*/ 1441450 h 1609725"/>
                    <a:gd name="connsiteX6" fmla="*/ 717550 w 1927225"/>
                    <a:gd name="connsiteY6" fmla="*/ 1460500 h 1609725"/>
                    <a:gd name="connsiteX7" fmla="*/ 933450 w 1927225"/>
                    <a:gd name="connsiteY7" fmla="*/ 1590675 h 1609725"/>
                    <a:gd name="connsiteX8" fmla="*/ 1285875 w 1927225"/>
                    <a:gd name="connsiteY8" fmla="*/ 1609725 h 1609725"/>
                    <a:gd name="connsiteX9" fmla="*/ 1419225 w 1927225"/>
                    <a:gd name="connsiteY9" fmla="*/ 1330325 h 1609725"/>
                    <a:gd name="connsiteX10" fmla="*/ 1644650 w 1927225"/>
                    <a:gd name="connsiteY10" fmla="*/ 1200150 h 1609725"/>
                    <a:gd name="connsiteX11" fmla="*/ 1676400 w 1927225"/>
                    <a:gd name="connsiteY11" fmla="*/ 942975 h 1609725"/>
                    <a:gd name="connsiteX12" fmla="*/ 1927225 w 1927225"/>
                    <a:gd name="connsiteY12" fmla="*/ 774700 h 1609725"/>
                    <a:gd name="connsiteX13" fmla="*/ 1819275 w 1927225"/>
                    <a:gd name="connsiteY13" fmla="*/ 774700 h 1609725"/>
                    <a:gd name="connsiteX14" fmla="*/ 428625 w 1927225"/>
                    <a:gd name="connsiteY14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676400 w 1819275"/>
                    <a:gd name="connsiteY11" fmla="*/ 942975 h 1609725"/>
                    <a:gd name="connsiteX12" fmla="*/ 1676400 w 1819275"/>
                    <a:gd name="connsiteY12" fmla="*/ 733425 h 1609725"/>
                    <a:gd name="connsiteX13" fmla="*/ 1819275 w 1819275"/>
                    <a:gd name="connsiteY13" fmla="*/ 774700 h 1609725"/>
                    <a:gd name="connsiteX14" fmla="*/ 428625 w 1819275"/>
                    <a:gd name="connsiteY14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676400 w 1819275"/>
                    <a:gd name="connsiteY12" fmla="*/ 733425 h 1609725"/>
                    <a:gd name="connsiteX13" fmla="*/ 1819275 w 1819275"/>
                    <a:gd name="connsiteY13" fmla="*/ 774700 h 1609725"/>
                    <a:gd name="connsiteX14" fmla="*/ 428625 w 1819275"/>
                    <a:gd name="connsiteY14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509713 w 1819275"/>
                    <a:gd name="connsiteY12" fmla="*/ 883444 h 1609725"/>
                    <a:gd name="connsiteX13" fmla="*/ 1676400 w 1819275"/>
                    <a:gd name="connsiteY13" fmla="*/ 733425 h 1609725"/>
                    <a:gd name="connsiteX14" fmla="*/ 1819275 w 1819275"/>
                    <a:gd name="connsiteY14" fmla="*/ 774700 h 1609725"/>
                    <a:gd name="connsiteX15" fmla="*/ 428625 w 1819275"/>
                    <a:gd name="connsiteY15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676400 w 1819275"/>
                    <a:gd name="connsiteY13" fmla="*/ 733425 h 1609725"/>
                    <a:gd name="connsiteX14" fmla="*/ 1819275 w 1819275"/>
                    <a:gd name="connsiteY14" fmla="*/ 774700 h 1609725"/>
                    <a:gd name="connsiteX15" fmla="*/ 428625 w 1819275"/>
                    <a:gd name="connsiteY15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545431 w 1819275"/>
                    <a:gd name="connsiteY13" fmla="*/ 800100 h 1609725"/>
                    <a:gd name="connsiteX14" fmla="*/ 1676400 w 1819275"/>
                    <a:gd name="connsiteY14" fmla="*/ 733425 h 1609725"/>
                    <a:gd name="connsiteX15" fmla="*/ 1819275 w 1819275"/>
                    <a:gd name="connsiteY15" fmla="*/ 774700 h 1609725"/>
                    <a:gd name="connsiteX16" fmla="*/ 428625 w 1819275"/>
                    <a:gd name="connsiteY16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676399 w 1819275"/>
                    <a:gd name="connsiteY13" fmla="*/ 950119 h 1609725"/>
                    <a:gd name="connsiteX14" fmla="*/ 1676400 w 1819275"/>
                    <a:gd name="connsiteY14" fmla="*/ 733425 h 1609725"/>
                    <a:gd name="connsiteX15" fmla="*/ 1819275 w 1819275"/>
                    <a:gd name="connsiteY15" fmla="*/ 774700 h 1609725"/>
                    <a:gd name="connsiteX16" fmla="*/ 428625 w 1819275"/>
                    <a:gd name="connsiteY16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202530 w 1819275"/>
                    <a:gd name="connsiteY13" fmla="*/ 673894 h 1609725"/>
                    <a:gd name="connsiteX14" fmla="*/ 1676400 w 1819275"/>
                    <a:gd name="connsiteY14" fmla="*/ 733425 h 1609725"/>
                    <a:gd name="connsiteX15" fmla="*/ 1819275 w 1819275"/>
                    <a:gd name="connsiteY15" fmla="*/ 774700 h 1609725"/>
                    <a:gd name="connsiteX16" fmla="*/ 428625 w 1819275"/>
                    <a:gd name="connsiteY16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202530 w 1819275"/>
                    <a:gd name="connsiteY13" fmla="*/ 673894 h 1609725"/>
                    <a:gd name="connsiteX14" fmla="*/ 1676400 w 1819275"/>
                    <a:gd name="connsiteY14" fmla="*/ 733425 h 1609725"/>
                    <a:gd name="connsiteX15" fmla="*/ 1819275 w 1819275"/>
                    <a:gd name="connsiteY15" fmla="*/ 774700 h 1609725"/>
                    <a:gd name="connsiteX16" fmla="*/ 428625 w 1819275"/>
                    <a:gd name="connsiteY16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612105 w 1819275"/>
                    <a:gd name="connsiteY13" fmla="*/ 726282 h 1609725"/>
                    <a:gd name="connsiteX14" fmla="*/ 1676400 w 1819275"/>
                    <a:gd name="connsiteY14" fmla="*/ 733425 h 1609725"/>
                    <a:gd name="connsiteX15" fmla="*/ 1819275 w 1819275"/>
                    <a:gd name="connsiteY15" fmla="*/ 774700 h 1609725"/>
                    <a:gd name="connsiteX16" fmla="*/ 428625 w 1819275"/>
                    <a:gd name="connsiteY16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533525 w 1819275"/>
                    <a:gd name="connsiteY13" fmla="*/ 785813 h 1609725"/>
                    <a:gd name="connsiteX14" fmla="*/ 1612105 w 1819275"/>
                    <a:gd name="connsiteY14" fmla="*/ 726282 h 1609725"/>
                    <a:gd name="connsiteX15" fmla="*/ 1676400 w 1819275"/>
                    <a:gd name="connsiteY15" fmla="*/ 733425 h 1609725"/>
                    <a:gd name="connsiteX16" fmla="*/ 1819275 w 1819275"/>
                    <a:gd name="connsiteY16" fmla="*/ 774700 h 1609725"/>
                    <a:gd name="connsiteX17" fmla="*/ 428625 w 1819275"/>
                    <a:gd name="connsiteY17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538288 w 1819275"/>
                    <a:gd name="connsiteY13" fmla="*/ 802482 h 1609725"/>
                    <a:gd name="connsiteX14" fmla="*/ 1612105 w 1819275"/>
                    <a:gd name="connsiteY14" fmla="*/ 726282 h 1609725"/>
                    <a:gd name="connsiteX15" fmla="*/ 1676400 w 1819275"/>
                    <a:gd name="connsiteY15" fmla="*/ 733425 h 1609725"/>
                    <a:gd name="connsiteX16" fmla="*/ 1819275 w 1819275"/>
                    <a:gd name="connsiteY16" fmla="*/ 774700 h 1609725"/>
                    <a:gd name="connsiteX17" fmla="*/ 428625 w 1819275"/>
                    <a:gd name="connsiteY17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488281 w 1819275"/>
                    <a:gd name="connsiteY13" fmla="*/ 831056 h 1609725"/>
                    <a:gd name="connsiteX14" fmla="*/ 1538288 w 1819275"/>
                    <a:gd name="connsiteY14" fmla="*/ 802482 h 1609725"/>
                    <a:gd name="connsiteX15" fmla="*/ 1612105 w 1819275"/>
                    <a:gd name="connsiteY15" fmla="*/ 726282 h 1609725"/>
                    <a:gd name="connsiteX16" fmla="*/ 1676400 w 1819275"/>
                    <a:gd name="connsiteY16" fmla="*/ 733425 h 1609725"/>
                    <a:gd name="connsiteX17" fmla="*/ 1819275 w 1819275"/>
                    <a:gd name="connsiteY17" fmla="*/ 774700 h 1609725"/>
                    <a:gd name="connsiteX18" fmla="*/ 428625 w 1819275"/>
                    <a:gd name="connsiteY18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644650 w 1819275"/>
                    <a:gd name="connsiteY10" fmla="*/ 1200150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466850 w 1819275"/>
                    <a:gd name="connsiteY13" fmla="*/ 802481 h 1609725"/>
                    <a:gd name="connsiteX14" fmla="*/ 1538288 w 1819275"/>
                    <a:gd name="connsiteY14" fmla="*/ 802482 h 1609725"/>
                    <a:gd name="connsiteX15" fmla="*/ 1612105 w 1819275"/>
                    <a:gd name="connsiteY15" fmla="*/ 726282 h 1609725"/>
                    <a:gd name="connsiteX16" fmla="*/ 1676400 w 1819275"/>
                    <a:gd name="connsiteY16" fmla="*/ 733425 h 1609725"/>
                    <a:gd name="connsiteX17" fmla="*/ 1819275 w 1819275"/>
                    <a:gd name="connsiteY17" fmla="*/ 774700 h 1609725"/>
                    <a:gd name="connsiteX18" fmla="*/ 428625 w 1819275"/>
                    <a:gd name="connsiteY18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554163 w 1819275"/>
                    <a:gd name="connsiteY10" fmla="*/ 1116806 h 1609725"/>
                    <a:gd name="connsiteX11" fmla="*/ 1457325 w 1819275"/>
                    <a:gd name="connsiteY11" fmla="*/ 931068 h 1609725"/>
                    <a:gd name="connsiteX12" fmla="*/ 1447801 w 1819275"/>
                    <a:gd name="connsiteY12" fmla="*/ 845344 h 1609725"/>
                    <a:gd name="connsiteX13" fmla="*/ 1466850 w 1819275"/>
                    <a:gd name="connsiteY13" fmla="*/ 802481 h 1609725"/>
                    <a:gd name="connsiteX14" fmla="*/ 1538288 w 1819275"/>
                    <a:gd name="connsiteY14" fmla="*/ 802482 h 1609725"/>
                    <a:gd name="connsiteX15" fmla="*/ 1612105 w 1819275"/>
                    <a:gd name="connsiteY15" fmla="*/ 726282 h 1609725"/>
                    <a:gd name="connsiteX16" fmla="*/ 1676400 w 1819275"/>
                    <a:gd name="connsiteY16" fmla="*/ 733425 h 1609725"/>
                    <a:gd name="connsiteX17" fmla="*/ 1819275 w 1819275"/>
                    <a:gd name="connsiteY17" fmla="*/ 774700 h 1609725"/>
                    <a:gd name="connsiteX18" fmla="*/ 428625 w 1819275"/>
                    <a:gd name="connsiteY18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554163 w 1819275"/>
                    <a:gd name="connsiteY10" fmla="*/ 1116806 h 1609725"/>
                    <a:gd name="connsiteX11" fmla="*/ 1500188 w 1819275"/>
                    <a:gd name="connsiteY11" fmla="*/ 1021556 h 1609725"/>
                    <a:gd name="connsiteX12" fmla="*/ 1457325 w 1819275"/>
                    <a:gd name="connsiteY12" fmla="*/ 931068 h 1609725"/>
                    <a:gd name="connsiteX13" fmla="*/ 1447801 w 1819275"/>
                    <a:gd name="connsiteY13" fmla="*/ 845344 h 1609725"/>
                    <a:gd name="connsiteX14" fmla="*/ 1466850 w 1819275"/>
                    <a:gd name="connsiteY14" fmla="*/ 802481 h 1609725"/>
                    <a:gd name="connsiteX15" fmla="*/ 1538288 w 1819275"/>
                    <a:gd name="connsiteY15" fmla="*/ 802482 h 1609725"/>
                    <a:gd name="connsiteX16" fmla="*/ 1612105 w 1819275"/>
                    <a:gd name="connsiteY16" fmla="*/ 726282 h 1609725"/>
                    <a:gd name="connsiteX17" fmla="*/ 1676400 w 1819275"/>
                    <a:gd name="connsiteY17" fmla="*/ 733425 h 1609725"/>
                    <a:gd name="connsiteX18" fmla="*/ 1819275 w 1819275"/>
                    <a:gd name="connsiteY18" fmla="*/ 774700 h 1609725"/>
                    <a:gd name="connsiteX19" fmla="*/ 428625 w 1819275"/>
                    <a:gd name="connsiteY19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419225 w 1819275"/>
                    <a:gd name="connsiteY9" fmla="*/ 1330325 h 1609725"/>
                    <a:gd name="connsiteX10" fmla="*/ 1554163 w 1819275"/>
                    <a:gd name="connsiteY10" fmla="*/ 1116806 h 1609725"/>
                    <a:gd name="connsiteX11" fmla="*/ 1554957 w 1819275"/>
                    <a:gd name="connsiteY11" fmla="*/ 983456 h 1609725"/>
                    <a:gd name="connsiteX12" fmla="*/ 1457325 w 1819275"/>
                    <a:gd name="connsiteY12" fmla="*/ 931068 h 1609725"/>
                    <a:gd name="connsiteX13" fmla="*/ 1447801 w 1819275"/>
                    <a:gd name="connsiteY13" fmla="*/ 845344 h 1609725"/>
                    <a:gd name="connsiteX14" fmla="*/ 1466850 w 1819275"/>
                    <a:gd name="connsiteY14" fmla="*/ 802481 h 1609725"/>
                    <a:gd name="connsiteX15" fmla="*/ 1538288 w 1819275"/>
                    <a:gd name="connsiteY15" fmla="*/ 802482 h 1609725"/>
                    <a:gd name="connsiteX16" fmla="*/ 1612105 w 1819275"/>
                    <a:gd name="connsiteY16" fmla="*/ 726282 h 1609725"/>
                    <a:gd name="connsiteX17" fmla="*/ 1676400 w 1819275"/>
                    <a:gd name="connsiteY17" fmla="*/ 733425 h 1609725"/>
                    <a:gd name="connsiteX18" fmla="*/ 1819275 w 1819275"/>
                    <a:gd name="connsiteY18" fmla="*/ 774700 h 1609725"/>
                    <a:gd name="connsiteX19" fmla="*/ 428625 w 1819275"/>
                    <a:gd name="connsiteY19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397794 w 1819275"/>
                    <a:gd name="connsiteY9" fmla="*/ 1237456 h 1609725"/>
                    <a:gd name="connsiteX10" fmla="*/ 1554163 w 1819275"/>
                    <a:gd name="connsiteY10" fmla="*/ 1116806 h 1609725"/>
                    <a:gd name="connsiteX11" fmla="*/ 1554957 w 1819275"/>
                    <a:gd name="connsiteY11" fmla="*/ 983456 h 1609725"/>
                    <a:gd name="connsiteX12" fmla="*/ 1457325 w 1819275"/>
                    <a:gd name="connsiteY12" fmla="*/ 931068 h 1609725"/>
                    <a:gd name="connsiteX13" fmla="*/ 1447801 w 1819275"/>
                    <a:gd name="connsiteY13" fmla="*/ 845344 h 1609725"/>
                    <a:gd name="connsiteX14" fmla="*/ 1466850 w 1819275"/>
                    <a:gd name="connsiteY14" fmla="*/ 802481 h 1609725"/>
                    <a:gd name="connsiteX15" fmla="*/ 1538288 w 1819275"/>
                    <a:gd name="connsiteY15" fmla="*/ 802482 h 1609725"/>
                    <a:gd name="connsiteX16" fmla="*/ 1612105 w 1819275"/>
                    <a:gd name="connsiteY16" fmla="*/ 726282 h 1609725"/>
                    <a:gd name="connsiteX17" fmla="*/ 1676400 w 1819275"/>
                    <a:gd name="connsiteY17" fmla="*/ 733425 h 1609725"/>
                    <a:gd name="connsiteX18" fmla="*/ 1819275 w 1819275"/>
                    <a:gd name="connsiteY18" fmla="*/ 774700 h 1609725"/>
                    <a:gd name="connsiteX19" fmla="*/ 428625 w 1819275"/>
                    <a:gd name="connsiteY19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397794 w 1819275"/>
                    <a:gd name="connsiteY9" fmla="*/ 1237456 h 1609725"/>
                    <a:gd name="connsiteX10" fmla="*/ 1471613 w 1819275"/>
                    <a:gd name="connsiteY10" fmla="*/ 1185863 h 1609725"/>
                    <a:gd name="connsiteX11" fmla="*/ 1554163 w 1819275"/>
                    <a:gd name="connsiteY11" fmla="*/ 1116806 h 1609725"/>
                    <a:gd name="connsiteX12" fmla="*/ 1554957 w 1819275"/>
                    <a:gd name="connsiteY12" fmla="*/ 983456 h 1609725"/>
                    <a:gd name="connsiteX13" fmla="*/ 1457325 w 1819275"/>
                    <a:gd name="connsiteY13" fmla="*/ 931068 h 1609725"/>
                    <a:gd name="connsiteX14" fmla="*/ 1447801 w 1819275"/>
                    <a:gd name="connsiteY14" fmla="*/ 845344 h 1609725"/>
                    <a:gd name="connsiteX15" fmla="*/ 1466850 w 1819275"/>
                    <a:gd name="connsiteY15" fmla="*/ 802481 h 1609725"/>
                    <a:gd name="connsiteX16" fmla="*/ 1538288 w 1819275"/>
                    <a:gd name="connsiteY16" fmla="*/ 802482 h 1609725"/>
                    <a:gd name="connsiteX17" fmla="*/ 1612105 w 1819275"/>
                    <a:gd name="connsiteY17" fmla="*/ 726282 h 1609725"/>
                    <a:gd name="connsiteX18" fmla="*/ 1676400 w 1819275"/>
                    <a:gd name="connsiteY18" fmla="*/ 733425 h 1609725"/>
                    <a:gd name="connsiteX19" fmla="*/ 1819275 w 1819275"/>
                    <a:gd name="connsiteY19" fmla="*/ 774700 h 1609725"/>
                    <a:gd name="connsiteX20" fmla="*/ 428625 w 1819275"/>
                    <a:gd name="connsiteY20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397794 w 1819275"/>
                    <a:gd name="connsiteY9" fmla="*/ 1237456 h 1609725"/>
                    <a:gd name="connsiteX10" fmla="*/ 1445419 w 1819275"/>
                    <a:gd name="connsiteY10" fmla="*/ 1171575 h 1609725"/>
                    <a:gd name="connsiteX11" fmla="*/ 1554163 w 1819275"/>
                    <a:gd name="connsiteY11" fmla="*/ 1116806 h 1609725"/>
                    <a:gd name="connsiteX12" fmla="*/ 1554957 w 1819275"/>
                    <a:gd name="connsiteY12" fmla="*/ 983456 h 1609725"/>
                    <a:gd name="connsiteX13" fmla="*/ 1457325 w 1819275"/>
                    <a:gd name="connsiteY13" fmla="*/ 931068 h 1609725"/>
                    <a:gd name="connsiteX14" fmla="*/ 1447801 w 1819275"/>
                    <a:gd name="connsiteY14" fmla="*/ 845344 h 1609725"/>
                    <a:gd name="connsiteX15" fmla="*/ 1466850 w 1819275"/>
                    <a:gd name="connsiteY15" fmla="*/ 802481 h 1609725"/>
                    <a:gd name="connsiteX16" fmla="*/ 1538288 w 1819275"/>
                    <a:gd name="connsiteY16" fmla="*/ 802482 h 1609725"/>
                    <a:gd name="connsiteX17" fmla="*/ 1612105 w 1819275"/>
                    <a:gd name="connsiteY17" fmla="*/ 726282 h 1609725"/>
                    <a:gd name="connsiteX18" fmla="*/ 1676400 w 1819275"/>
                    <a:gd name="connsiteY18" fmla="*/ 733425 h 1609725"/>
                    <a:gd name="connsiteX19" fmla="*/ 1819275 w 1819275"/>
                    <a:gd name="connsiteY19" fmla="*/ 774700 h 1609725"/>
                    <a:gd name="connsiteX20" fmla="*/ 428625 w 1819275"/>
                    <a:gd name="connsiteY20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397794 w 1819275"/>
                    <a:gd name="connsiteY9" fmla="*/ 1237456 h 1609725"/>
                    <a:gd name="connsiteX10" fmla="*/ 1445419 w 1819275"/>
                    <a:gd name="connsiteY10" fmla="*/ 1171575 h 1609725"/>
                    <a:gd name="connsiteX11" fmla="*/ 1504950 w 1819275"/>
                    <a:gd name="connsiteY11" fmla="*/ 1145381 h 1609725"/>
                    <a:gd name="connsiteX12" fmla="*/ 1554163 w 1819275"/>
                    <a:gd name="connsiteY12" fmla="*/ 1116806 h 1609725"/>
                    <a:gd name="connsiteX13" fmla="*/ 1554957 w 1819275"/>
                    <a:gd name="connsiteY13" fmla="*/ 983456 h 1609725"/>
                    <a:gd name="connsiteX14" fmla="*/ 1457325 w 1819275"/>
                    <a:gd name="connsiteY14" fmla="*/ 931068 h 1609725"/>
                    <a:gd name="connsiteX15" fmla="*/ 1447801 w 1819275"/>
                    <a:gd name="connsiteY15" fmla="*/ 845344 h 1609725"/>
                    <a:gd name="connsiteX16" fmla="*/ 1466850 w 1819275"/>
                    <a:gd name="connsiteY16" fmla="*/ 802481 h 1609725"/>
                    <a:gd name="connsiteX17" fmla="*/ 1538288 w 1819275"/>
                    <a:gd name="connsiteY17" fmla="*/ 802482 h 1609725"/>
                    <a:gd name="connsiteX18" fmla="*/ 1612105 w 1819275"/>
                    <a:gd name="connsiteY18" fmla="*/ 726282 h 1609725"/>
                    <a:gd name="connsiteX19" fmla="*/ 1676400 w 1819275"/>
                    <a:gd name="connsiteY19" fmla="*/ 733425 h 1609725"/>
                    <a:gd name="connsiteX20" fmla="*/ 1819275 w 1819275"/>
                    <a:gd name="connsiteY20" fmla="*/ 774700 h 1609725"/>
                    <a:gd name="connsiteX21" fmla="*/ 428625 w 1819275"/>
                    <a:gd name="connsiteY21" fmla="*/ 0 h 1609725"/>
                    <a:gd name="connsiteX0" fmla="*/ 428625 w 1819275"/>
                    <a:gd name="connsiteY0" fmla="*/ 0 h 1609725"/>
                    <a:gd name="connsiteX1" fmla="*/ 104775 w 1819275"/>
                    <a:gd name="connsiteY1" fmla="*/ 165100 h 1609725"/>
                    <a:gd name="connsiteX2" fmla="*/ 285750 w 1819275"/>
                    <a:gd name="connsiteY2" fmla="*/ 508000 h 1609725"/>
                    <a:gd name="connsiteX3" fmla="*/ 19050 w 1819275"/>
                    <a:gd name="connsiteY3" fmla="*/ 927100 h 1609725"/>
                    <a:gd name="connsiteX4" fmla="*/ 0 w 1819275"/>
                    <a:gd name="connsiteY4" fmla="*/ 1327150 h 1609725"/>
                    <a:gd name="connsiteX5" fmla="*/ 152400 w 1819275"/>
                    <a:gd name="connsiteY5" fmla="*/ 1441450 h 1609725"/>
                    <a:gd name="connsiteX6" fmla="*/ 717550 w 1819275"/>
                    <a:gd name="connsiteY6" fmla="*/ 1460500 h 1609725"/>
                    <a:gd name="connsiteX7" fmla="*/ 933450 w 1819275"/>
                    <a:gd name="connsiteY7" fmla="*/ 1590675 h 1609725"/>
                    <a:gd name="connsiteX8" fmla="*/ 1285875 w 1819275"/>
                    <a:gd name="connsiteY8" fmla="*/ 1609725 h 1609725"/>
                    <a:gd name="connsiteX9" fmla="*/ 1397794 w 1819275"/>
                    <a:gd name="connsiteY9" fmla="*/ 1237456 h 1609725"/>
                    <a:gd name="connsiteX10" fmla="*/ 1445419 w 1819275"/>
                    <a:gd name="connsiteY10" fmla="*/ 1171575 h 1609725"/>
                    <a:gd name="connsiteX11" fmla="*/ 1504950 w 1819275"/>
                    <a:gd name="connsiteY11" fmla="*/ 1178719 h 1609725"/>
                    <a:gd name="connsiteX12" fmla="*/ 1554163 w 1819275"/>
                    <a:gd name="connsiteY12" fmla="*/ 1116806 h 1609725"/>
                    <a:gd name="connsiteX13" fmla="*/ 1554957 w 1819275"/>
                    <a:gd name="connsiteY13" fmla="*/ 983456 h 1609725"/>
                    <a:gd name="connsiteX14" fmla="*/ 1457325 w 1819275"/>
                    <a:gd name="connsiteY14" fmla="*/ 931068 h 1609725"/>
                    <a:gd name="connsiteX15" fmla="*/ 1447801 w 1819275"/>
                    <a:gd name="connsiteY15" fmla="*/ 845344 h 1609725"/>
                    <a:gd name="connsiteX16" fmla="*/ 1466850 w 1819275"/>
                    <a:gd name="connsiteY16" fmla="*/ 802481 h 1609725"/>
                    <a:gd name="connsiteX17" fmla="*/ 1538288 w 1819275"/>
                    <a:gd name="connsiteY17" fmla="*/ 802482 h 1609725"/>
                    <a:gd name="connsiteX18" fmla="*/ 1612105 w 1819275"/>
                    <a:gd name="connsiteY18" fmla="*/ 726282 h 1609725"/>
                    <a:gd name="connsiteX19" fmla="*/ 1676400 w 1819275"/>
                    <a:gd name="connsiteY19" fmla="*/ 733425 h 1609725"/>
                    <a:gd name="connsiteX20" fmla="*/ 1819275 w 1819275"/>
                    <a:gd name="connsiteY20" fmla="*/ 774700 h 1609725"/>
                    <a:gd name="connsiteX21" fmla="*/ 428625 w 1819275"/>
                    <a:gd name="connsiteY21" fmla="*/ 0 h 160972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14425 w 1819275"/>
                    <a:gd name="connsiteY8" fmla="*/ 1538288 h 1590675"/>
                    <a:gd name="connsiteX9" fmla="*/ 1397794 w 1819275"/>
                    <a:gd name="connsiteY9" fmla="*/ 1237456 h 1590675"/>
                    <a:gd name="connsiteX10" fmla="*/ 1445419 w 1819275"/>
                    <a:gd name="connsiteY10" fmla="*/ 1171575 h 1590675"/>
                    <a:gd name="connsiteX11" fmla="*/ 1504950 w 1819275"/>
                    <a:gd name="connsiteY11" fmla="*/ 1178719 h 1590675"/>
                    <a:gd name="connsiteX12" fmla="*/ 1554163 w 1819275"/>
                    <a:gd name="connsiteY12" fmla="*/ 1116806 h 1590675"/>
                    <a:gd name="connsiteX13" fmla="*/ 1554957 w 1819275"/>
                    <a:gd name="connsiteY13" fmla="*/ 983456 h 1590675"/>
                    <a:gd name="connsiteX14" fmla="*/ 1457325 w 1819275"/>
                    <a:gd name="connsiteY14" fmla="*/ 931068 h 1590675"/>
                    <a:gd name="connsiteX15" fmla="*/ 1447801 w 1819275"/>
                    <a:gd name="connsiteY15" fmla="*/ 845344 h 1590675"/>
                    <a:gd name="connsiteX16" fmla="*/ 1466850 w 1819275"/>
                    <a:gd name="connsiteY16" fmla="*/ 802481 h 1590675"/>
                    <a:gd name="connsiteX17" fmla="*/ 1538288 w 1819275"/>
                    <a:gd name="connsiteY17" fmla="*/ 802482 h 1590675"/>
                    <a:gd name="connsiteX18" fmla="*/ 1612105 w 1819275"/>
                    <a:gd name="connsiteY18" fmla="*/ 726282 h 1590675"/>
                    <a:gd name="connsiteX19" fmla="*/ 1676400 w 1819275"/>
                    <a:gd name="connsiteY19" fmla="*/ 733425 h 1590675"/>
                    <a:gd name="connsiteX20" fmla="*/ 1819275 w 1819275"/>
                    <a:gd name="connsiteY20" fmla="*/ 774700 h 1590675"/>
                    <a:gd name="connsiteX21" fmla="*/ 428625 w 1819275"/>
                    <a:gd name="connsiteY21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397794 w 1819275"/>
                    <a:gd name="connsiteY9" fmla="*/ 1237456 h 1590675"/>
                    <a:gd name="connsiteX10" fmla="*/ 1445419 w 1819275"/>
                    <a:gd name="connsiteY10" fmla="*/ 1171575 h 1590675"/>
                    <a:gd name="connsiteX11" fmla="*/ 1504950 w 1819275"/>
                    <a:gd name="connsiteY11" fmla="*/ 1178719 h 1590675"/>
                    <a:gd name="connsiteX12" fmla="*/ 1554163 w 1819275"/>
                    <a:gd name="connsiteY12" fmla="*/ 1116806 h 1590675"/>
                    <a:gd name="connsiteX13" fmla="*/ 1554957 w 1819275"/>
                    <a:gd name="connsiteY13" fmla="*/ 983456 h 1590675"/>
                    <a:gd name="connsiteX14" fmla="*/ 1457325 w 1819275"/>
                    <a:gd name="connsiteY14" fmla="*/ 931068 h 1590675"/>
                    <a:gd name="connsiteX15" fmla="*/ 1447801 w 1819275"/>
                    <a:gd name="connsiteY15" fmla="*/ 845344 h 1590675"/>
                    <a:gd name="connsiteX16" fmla="*/ 1466850 w 1819275"/>
                    <a:gd name="connsiteY16" fmla="*/ 802481 h 1590675"/>
                    <a:gd name="connsiteX17" fmla="*/ 1538288 w 1819275"/>
                    <a:gd name="connsiteY17" fmla="*/ 802482 h 1590675"/>
                    <a:gd name="connsiteX18" fmla="*/ 1612105 w 1819275"/>
                    <a:gd name="connsiteY18" fmla="*/ 726282 h 1590675"/>
                    <a:gd name="connsiteX19" fmla="*/ 1676400 w 1819275"/>
                    <a:gd name="connsiteY19" fmla="*/ 733425 h 1590675"/>
                    <a:gd name="connsiteX20" fmla="*/ 1819275 w 1819275"/>
                    <a:gd name="connsiteY20" fmla="*/ 774700 h 1590675"/>
                    <a:gd name="connsiteX21" fmla="*/ 428625 w 1819275"/>
                    <a:gd name="connsiteY21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271588 w 1819275"/>
                    <a:gd name="connsiteY9" fmla="*/ 1271588 h 1590675"/>
                    <a:gd name="connsiteX10" fmla="*/ 1397794 w 1819275"/>
                    <a:gd name="connsiteY10" fmla="*/ 1237456 h 1590675"/>
                    <a:gd name="connsiteX11" fmla="*/ 1445419 w 1819275"/>
                    <a:gd name="connsiteY11" fmla="*/ 1171575 h 1590675"/>
                    <a:gd name="connsiteX12" fmla="*/ 1504950 w 1819275"/>
                    <a:gd name="connsiteY12" fmla="*/ 1178719 h 1590675"/>
                    <a:gd name="connsiteX13" fmla="*/ 1554163 w 1819275"/>
                    <a:gd name="connsiteY13" fmla="*/ 1116806 h 1590675"/>
                    <a:gd name="connsiteX14" fmla="*/ 1554957 w 1819275"/>
                    <a:gd name="connsiteY14" fmla="*/ 983456 h 1590675"/>
                    <a:gd name="connsiteX15" fmla="*/ 1457325 w 1819275"/>
                    <a:gd name="connsiteY15" fmla="*/ 931068 h 1590675"/>
                    <a:gd name="connsiteX16" fmla="*/ 1447801 w 1819275"/>
                    <a:gd name="connsiteY16" fmla="*/ 845344 h 1590675"/>
                    <a:gd name="connsiteX17" fmla="*/ 1466850 w 1819275"/>
                    <a:gd name="connsiteY17" fmla="*/ 802481 h 1590675"/>
                    <a:gd name="connsiteX18" fmla="*/ 1538288 w 1819275"/>
                    <a:gd name="connsiteY18" fmla="*/ 802482 h 1590675"/>
                    <a:gd name="connsiteX19" fmla="*/ 1612105 w 1819275"/>
                    <a:gd name="connsiteY19" fmla="*/ 726282 h 1590675"/>
                    <a:gd name="connsiteX20" fmla="*/ 1676400 w 1819275"/>
                    <a:gd name="connsiteY20" fmla="*/ 733425 h 1590675"/>
                    <a:gd name="connsiteX21" fmla="*/ 1819275 w 1819275"/>
                    <a:gd name="connsiteY21" fmla="*/ 774700 h 1590675"/>
                    <a:gd name="connsiteX22" fmla="*/ 428625 w 1819275"/>
                    <a:gd name="connsiteY22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373982 w 1819275"/>
                    <a:gd name="connsiteY9" fmla="*/ 1193006 h 1590675"/>
                    <a:gd name="connsiteX10" fmla="*/ 1397794 w 1819275"/>
                    <a:gd name="connsiteY10" fmla="*/ 1237456 h 1590675"/>
                    <a:gd name="connsiteX11" fmla="*/ 1445419 w 1819275"/>
                    <a:gd name="connsiteY11" fmla="*/ 1171575 h 1590675"/>
                    <a:gd name="connsiteX12" fmla="*/ 1504950 w 1819275"/>
                    <a:gd name="connsiteY12" fmla="*/ 1178719 h 1590675"/>
                    <a:gd name="connsiteX13" fmla="*/ 1554163 w 1819275"/>
                    <a:gd name="connsiteY13" fmla="*/ 1116806 h 1590675"/>
                    <a:gd name="connsiteX14" fmla="*/ 1554957 w 1819275"/>
                    <a:gd name="connsiteY14" fmla="*/ 983456 h 1590675"/>
                    <a:gd name="connsiteX15" fmla="*/ 1457325 w 1819275"/>
                    <a:gd name="connsiteY15" fmla="*/ 931068 h 1590675"/>
                    <a:gd name="connsiteX16" fmla="*/ 1447801 w 1819275"/>
                    <a:gd name="connsiteY16" fmla="*/ 845344 h 1590675"/>
                    <a:gd name="connsiteX17" fmla="*/ 1466850 w 1819275"/>
                    <a:gd name="connsiteY17" fmla="*/ 802481 h 1590675"/>
                    <a:gd name="connsiteX18" fmla="*/ 1538288 w 1819275"/>
                    <a:gd name="connsiteY18" fmla="*/ 802482 h 1590675"/>
                    <a:gd name="connsiteX19" fmla="*/ 1612105 w 1819275"/>
                    <a:gd name="connsiteY19" fmla="*/ 726282 h 1590675"/>
                    <a:gd name="connsiteX20" fmla="*/ 1676400 w 1819275"/>
                    <a:gd name="connsiteY20" fmla="*/ 733425 h 1590675"/>
                    <a:gd name="connsiteX21" fmla="*/ 1819275 w 1819275"/>
                    <a:gd name="connsiteY21" fmla="*/ 774700 h 1590675"/>
                    <a:gd name="connsiteX22" fmla="*/ 428625 w 1819275"/>
                    <a:gd name="connsiteY22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343025 w 1819275"/>
                    <a:gd name="connsiteY9" fmla="*/ 1212056 h 1590675"/>
                    <a:gd name="connsiteX10" fmla="*/ 1373982 w 1819275"/>
                    <a:gd name="connsiteY10" fmla="*/ 1193006 h 1590675"/>
                    <a:gd name="connsiteX11" fmla="*/ 1397794 w 1819275"/>
                    <a:gd name="connsiteY11" fmla="*/ 1237456 h 1590675"/>
                    <a:gd name="connsiteX12" fmla="*/ 1445419 w 1819275"/>
                    <a:gd name="connsiteY12" fmla="*/ 1171575 h 1590675"/>
                    <a:gd name="connsiteX13" fmla="*/ 1504950 w 1819275"/>
                    <a:gd name="connsiteY13" fmla="*/ 1178719 h 1590675"/>
                    <a:gd name="connsiteX14" fmla="*/ 1554163 w 1819275"/>
                    <a:gd name="connsiteY14" fmla="*/ 1116806 h 1590675"/>
                    <a:gd name="connsiteX15" fmla="*/ 1554957 w 1819275"/>
                    <a:gd name="connsiteY15" fmla="*/ 983456 h 1590675"/>
                    <a:gd name="connsiteX16" fmla="*/ 1457325 w 1819275"/>
                    <a:gd name="connsiteY16" fmla="*/ 931068 h 1590675"/>
                    <a:gd name="connsiteX17" fmla="*/ 1447801 w 1819275"/>
                    <a:gd name="connsiteY17" fmla="*/ 845344 h 1590675"/>
                    <a:gd name="connsiteX18" fmla="*/ 1466850 w 1819275"/>
                    <a:gd name="connsiteY18" fmla="*/ 802481 h 1590675"/>
                    <a:gd name="connsiteX19" fmla="*/ 1538288 w 1819275"/>
                    <a:gd name="connsiteY19" fmla="*/ 802482 h 1590675"/>
                    <a:gd name="connsiteX20" fmla="*/ 1612105 w 1819275"/>
                    <a:gd name="connsiteY20" fmla="*/ 726282 h 1590675"/>
                    <a:gd name="connsiteX21" fmla="*/ 1676400 w 1819275"/>
                    <a:gd name="connsiteY21" fmla="*/ 733425 h 1590675"/>
                    <a:gd name="connsiteX22" fmla="*/ 1819275 w 1819275"/>
                    <a:gd name="connsiteY22" fmla="*/ 774700 h 1590675"/>
                    <a:gd name="connsiteX23" fmla="*/ 428625 w 1819275"/>
                    <a:gd name="connsiteY23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226344 w 1819275"/>
                    <a:gd name="connsiteY9" fmla="*/ 1312069 h 1590675"/>
                    <a:gd name="connsiteX10" fmla="*/ 1373982 w 1819275"/>
                    <a:gd name="connsiteY10" fmla="*/ 1193006 h 1590675"/>
                    <a:gd name="connsiteX11" fmla="*/ 1397794 w 1819275"/>
                    <a:gd name="connsiteY11" fmla="*/ 1237456 h 1590675"/>
                    <a:gd name="connsiteX12" fmla="*/ 1445419 w 1819275"/>
                    <a:gd name="connsiteY12" fmla="*/ 1171575 h 1590675"/>
                    <a:gd name="connsiteX13" fmla="*/ 1504950 w 1819275"/>
                    <a:gd name="connsiteY13" fmla="*/ 1178719 h 1590675"/>
                    <a:gd name="connsiteX14" fmla="*/ 1554163 w 1819275"/>
                    <a:gd name="connsiteY14" fmla="*/ 1116806 h 1590675"/>
                    <a:gd name="connsiteX15" fmla="*/ 1554957 w 1819275"/>
                    <a:gd name="connsiteY15" fmla="*/ 983456 h 1590675"/>
                    <a:gd name="connsiteX16" fmla="*/ 1457325 w 1819275"/>
                    <a:gd name="connsiteY16" fmla="*/ 931068 h 1590675"/>
                    <a:gd name="connsiteX17" fmla="*/ 1447801 w 1819275"/>
                    <a:gd name="connsiteY17" fmla="*/ 845344 h 1590675"/>
                    <a:gd name="connsiteX18" fmla="*/ 1466850 w 1819275"/>
                    <a:gd name="connsiteY18" fmla="*/ 802481 h 1590675"/>
                    <a:gd name="connsiteX19" fmla="*/ 1538288 w 1819275"/>
                    <a:gd name="connsiteY19" fmla="*/ 802482 h 1590675"/>
                    <a:gd name="connsiteX20" fmla="*/ 1612105 w 1819275"/>
                    <a:gd name="connsiteY20" fmla="*/ 726282 h 1590675"/>
                    <a:gd name="connsiteX21" fmla="*/ 1676400 w 1819275"/>
                    <a:gd name="connsiteY21" fmla="*/ 733425 h 1590675"/>
                    <a:gd name="connsiteX22" fmla="*/ 1819275 w 1819275"/>
                    <a:gd name="connsiteY22" fmla="*/ 774700 h 1590675"/>
                    <a:gd name="connsiteX23" fmla="*/ 428625 w 1819275"/>
                    <a:gd name="connsiteY23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226344 w 1819275"/>
                    <a:gd name="connsiteY9" fmla="*/ 1312069 h 1590675"/>
                    <a:gd name="connsiteX10" fmla="*/ 1316831 w 1819275"/>
                    <a:gd name="connsiteY10" fmla="*/ 1243013 h 1590675"/>
                    <a:gd name="connsiteX11" fmla="*/ 1373982 w 1819275"/>
                    <a:gd name="connsiteY11" fmla="*/ 1193006 h 1590675"/>
                    <a:gd name="connsiteX12" fmla="*/ 1397794 w 1819275"/>
                    <a:gd name="connsiteY12" fmla="*/ 1237456 h 1590675"/>
                    <a:gd name="connsiteX13" fmla="*/ 1445419 w 1819275"/>
                    <a:gd name="connsiteY13" fmla="*/ 1171575 h 1590675"/>
                    <a:gd name="connsiteX14" fmla="*/ 1504950 w 1819275"/>
                    <a:gd name="connsiteY14" fmla="*/ 1178719 h 1590675"/>
                    <a:gd name="connsiteX15" fmla="*/ 1554163 w 1819275"/>
                    <a:gd name="connsiteY15" fmla="*/ 1116806 h 1590675"/>
                    <a:gd name="connsiteX16" fmla="*/ 1554957 w 1819275"/>
                    <a:gd name="connsiteY16" fmla="*/ 983456 h 1590675"/>
                    <a:gd name="connsiteX17" fmla="*/ 1457325 w 1819275"/>
                    <a:gd name="connsiteY17" fmla="*/ 931068 h 1590675"/>
                    <a:gd name="connsiteX18" fmla="*/ 1447801 w 1819275"/>
                    <a:gd name="connsiteY18" fmla="*/ 845344 h 1590675"/>
                    <a:gd name="connsiteX19" fmla="*/ 1466850 w 1819275"/>
                    <a:gd name="connsiteY19" fmla="*/ 802481 h 1590675"/>
                    <a:gd name="connsiteX20" fmla="*/ 1538288 w 1819275"/>
                    <a:gd name="connsiteY20" fmla="*/ 802482 h 1590675"/>
                    <a:gd name="connsiteX21" fmla="*/ 1612105 w 1819275"/>
                    <a:gd name="connsiteY21" fmla="*/ 726282 h 1590675"/>
                    <a:gd name="connsiteX22" fmla="*/ 1676400 w 1819275"/>
                    <a:gd name="connsiteY22" fmla="*/ 733425 h 1590675"/>
                    <a:gd name="connsiteX23" fmla="*/ 1819275 w 1819275"/>
                    <a:gd name="connsiteY23" fmla="*/ 774700 h 1590675"/>
                    <a:gd name="connsiteX24" fmla="*/ 428625 w 1819275"/>
                    <a:gd name="connsiteY24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226344 w 1819275"/>
                    <a:gd name="connsiteY9" fmla="*/ 1312069 h 1590675"/>
                    <a:gd name="connsiteX10" fmla="*/ 1321594 w 1819275"/>
                    <a:gd name="connsiteY10" fmla="*/ 1185863 h 1590675"/>
                    <a:gd name="connsiteX11" fmla="*/ 1373982 w 1819275"/>
                    <a:gd name="connsiteY11" fmla="*/ 1193006 h 1590675"/>
                    <a:gd name="connsiteX12" fmla="*/ 1397794 w 1819275"/>
                    <a:gd name="connsiteY12" fmla="*/ 1237456 h 1590675"/>
                    <a:gd name="connsiteX13" fmla="*/ 1445419 w 1819275"/>
                    <a:gd name="connsiteY13" fmla="*/ 1171575 h 1590675"/>
                    <a:gd name="connsiteX14" fmla="*/ 1504950 w 1819275"/>
                    <a:gd name="connsiteY14" fmla="*/ 1178719 h 1590675"/>
                    <a:gd name="connsiteX15" fmla="*/ 1554163 w 1819275"/>
                    <a:gd name="connsiteY15" fmla="*/ 1116806 h 1590675"/>
                    <a:gd name="connsiteX16" fmla="*/ 1554957 w 1819275"/>
                    <a:gd name="connsiteY16" fmla="*/ 983456 h 1590675"/>
                    <a:gd name="connsiteX17" fmla="*/ 1457325 w 1819275"/>
                    <a:gd name="connsiteY17" fmla="*/ 931068 h 1590675"/>
                    <a:gd name="connsiteX18" fmla="*/ 1447801 w 1819275"/>
                    <a:gd name="connsiteY18" fmla="*/ 845344 h 1590675"/>
                    <a:gd name="connsiteX19" fmla="*/ 1466850 w 1819275"/>
                    <a:gd name="connsiteY19" fmla="*/ 802481 h 1590675"/>
                    <a:gd name="connsiteX20" fmla="*/ 1538288 w 1819275"/>
                    <a:gd name="connsiteY20" fmla="*/ 802482 h 1590675"/>
                    <a:gd name="connsiteX21" fmla="*/ 1612105 w 1819275"/>
                    <a:gd name="connsiteY21" fmla="*/ 726282 h 1590675"/>
                    <a:gd name="connsiteX22" fmla="*/ 1676400 w 1819275"/>
                    <a:gd name="connsiteY22" fmla="*/ 733425 h 1590675"/>
                    <a:gd name="connsiteX23" fmla="*/ 1819275 w 1819275"/>
                    <a:gd name="connsiteY23" fmla="*/ 774700 h 1590675"/>
                    <a:gd name="connsiteX24" fmla="*/ 428625 w 1819275"/>
                    <a:gd name="connsiteY24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226344 w 1819275"/>
                    <a:gd name="connsiteY9" fmla="*/ 1312069 h 1590675"/>
                    <a:gd name="connsiteX10" fmla="*/ 1262063 w 1819275"/>
                    <a:gd name="connsiteY10" fmla="*/ 1252538 h 1590675"/>
                    <a:gd name="connsiteX11" fmla="*/ 1321594 w 1819275"/>
                    <a:gd name="connsiteY11" fmla="*/ 1185863 h 1590675"/>
                    <a:gd name="connsiteX12" fmla="*/ 1373982 w 1819275"/>
                    <a:gd name="connsiteY12" fmla="*/ 1193006 h 1590675"/>
                    <a:gd name="connsiteX13" fmla="*/ 1397794 w 1819275"/>
                    <a:gd name="connsiteY13" fmla="*/ 1237456 h 1590675"/>
                    <a:gd name="connsiteX14" fmla="*/ 1445419 w 1819275"/>
                    <a:gd name="connsiteY14" fmla="*/ 1171575 h 1590675"/>
                    <a:gd name="connsiteX15" fmla="*/ 1504950 w 1819275"/>
                    <a:gd name="connsiteY15" fmla="*/ 1178719 h 1590675"/>
                    <a:gd name="connsiteX16" fmla="*/ 1554163 w 1819275"/>
                    <a:gd name="connsiteY16" fmla="*/ 1116806 h 1590675"/>
                    <a:gd name="connsiteX17" fmla="*/ 1554957 w 1819275"/>
                    <a:gd name="connsiteY17" fmla="*/ 983456 h 1590675"/>
                    <a:gd name="connsiteX18" fmla="*/ 1457325 w 1819275"/>
                    <a:gd name="connsiteY18" fmla="*/ 931068 h 1590675"/>
                    <a:gd name="connsiteX19" fmla="*/ 1447801 w 1819275"/>
                    <a:gd name="connsiteY19" fmla="*/ 845344 h 1590675"/>
                    <a:gd name="connsiteX20" fmla="*/ 1466850 w 1819275"/>
                    <a:gd name="connsiteY20" fmla="*/ 802481 h 1590675"/>
                    <a:gd name="connsiteX21" fmla="*/ 1538288 w 1819275"/>
                    <a:gd name="connsiteY21" fmla="*/ 802482 h 1590675"/>
                    <a:gd name="connsiteX22" fmla="*/ 1612105 w 1819275"/>
                    <a:gd name="connsiteY22" fmla="*/ 726282 h 1590675"/>
                    <a:gd name="connsiteX23" fmla="*/ 1676400 w 1819275"/>
                    <a:gd name="connsiteY23" fmla="*/ 733425 h 1590675"/>
                    <a:gd name="connsiteX24" fmla="*/ 1819275 w 1819275"/>
                    <a:gd name="connsiteY24" fmla="*/ 774700 h 1590675"/>
                    <a:gd name="connsiteX25" fmla="*/ 428625 w 1819275"/>
                    <a:gd name="connsiteY25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226344 w 1819275"/>
                    <a:gd name="connsiteY9" fmla="*/ 1312069 h 1590675"/>
                    <a:gd name="connsiteX10" fmla="*/ 1257301 w 1819275"/>
                    <a:gd name="connsiteY10" fmla="*/ 1231107 h 1590675"/>
                    <a:gd name="connsiteX11" fmla="*/ 1321594 w 1819275"/>
                    <a:gd name="connsiteY11" fmla="*/ 1185863 h 1590675"/>
                    <a:gd name="connsiteX12" fmla="*/ 1373982 w 1819275"/>
                    <a:gd name="connsiteY12" fmla="*/ 1193006 h 1590675"/>
                    <a:gd name="connsiteX13" fmla="*/ 1397794 w 1819275"/>
                    <a:gd name="connsiteY13" fmla="*/ 1237456 h 1590675"/>
                    <a:gd name="connsiteX14" fmla="*/ 1445419 w 1819275"/>
                    <a:gd name="connsiteY14" fmla="*/ 1171575 h 1590675"/>
                    <a:gd name="connsiteX15" fmla="*/ 1504950 w 1819275"/>
                    <a:gd name="connsiteY15" fmla="*/ 1178719 h 1590675"/>
                    <a:gd name="connsiteX16" fmla="*/ 1554163 w 1819275"/>
                    <a:gd name="connsiteY16" fmla="*/ 1116806 h 1590675"/>
                    <a:gd name="connsiteX17" fmla="*/ 1554957 w 1819275"/>
                    <a:gd name="connsiteY17" fmla="*/ 983456 h 1590675"/>
                    <a:gd name="connsiteX18" fmla="*/ 1457325 w 1819275"/>
                    <a:gd name="connsiteY18" fmla="*/ 931068 h 1590675"/>
                    <a:gd name="connsiteX19" fmla="*/ 1447801 w 1819275"/>
                    <a:gd name="connsiteY19" fmla="*/ 845344 h 1590675"/>
                    <a:gd name="connsiteX20" fmla="*/ 1466850 w 1819275"/>
                    <a:gd name="connsiteY20" fmla="*/ 802481 h 1590675"/>
                    <a:gd name="connsiteX21" fmla="*/ 1538288 w 1819275"/>
                    <a:gd name="connsiteY21" fmla="*/ 802482 h 1590675"/>
                    <a:gd name="connsiteX22" fmla="*/ 1612105 w 1819275"/>
                    <a:gd name="connsiteY22" fmla="*/ 726282 h 1590675"/>
                    <a:gd name="connsiteX23" fmla="*/ 1676400 w 1819275"/>
                    <a:gd name="connsiteY23" fmla="*/ 733425 h 1590675"/>
                    <a:gd name="connsiteX24" fmla="*/ 1819275 w 1819275"/>
                    <a:gd name="connsiteY24" fmla="*/ 774700 h 1590675"/>
                    <a:gd name="connsiteX25" fmla="*/ 428625 w 1819275"/>
                    <a:gd name="connsiteY25" fmla="*/ 0 h 1590675"/>
                    <a:gd name="connsiteX0" fmla="*/ 428625 w 1819275"/>
                    <a:gd name="connsiteY0" fmla="*/ 0 h 1590675"/>
                    <a:gd name="connsiteX1" fmla="*/ 104775 w 1819275"/>
                    <a:gd name="connsiteY1" fmla="*/ 165100 h 1590675"/>
                    <a:gd name="connsiteX2" fmla="*/ 285750 w 1819275"/>
                    <a:gd name="connsiteY2" fmla="*/ 508000 h 1590675"/>
                    <a:gd name="connsiteX3" fmla="*/ 19050 w 1819275"/>
                    <a:gd name="connsiteY3" fmla="*/ 927100 h 1590675"/>
                    <a:gd name="connsiteX4" fmla="*/ 0 w 1819275"/>
                    <a:gd name="connsiteY4" fmla="*/ 1327150 h 1590675"/>
                    <a:gd name="connsiteX5" fmla="*/ 152400 w 1819275"/>
                    <a:gd name="connsiteY5" fmla="*/ 1441450 h 1590675"/>
                    <a:gd name="connsiteX6" fmla="*/ 717550 w 1819275"/>
                    <a:gd name="connsiteY6" fmla="*/ 1460500 h 1590675"/>
                    <a:gd name="connsiteX7" fmla="*/ 933450 w 1819275"/>
                    <a:gd name="connsiteY7" fmla="*/ 1590675 h 1590675"/>
                    <a:gd name="connsiteX8" fmla="*/ 1104900 w 1819275"/>
                    <a:gd name="connsiteY8" fmla="*/ 1319213 h 1590675"/>
                    <a:gd name="connsiteX9" fmla="*/ 1207294 w 1819275"/>
                    <a:gd name="connsiteY9" fmla="*/ 1314450 h 1590675"/>
                    <a:gd name="connsiteX10" fmla="*/ 1257301 w 1819275"/>
                    <a:gd name="connsiteY10" fmla="*/ 1231107 h 1590675"/>
                    <a:gd name="connsiteX11" fmla="*/ 1321594 w 1819275"/>
                    <a:gd name="connsiteY11" fmla="*/ 1185863 h 1590675"/>
                    <a:gd name="connsiteX12" fmla="*/ 1373982 w 1819275"/>
                    <a:gd name="connsiteY12" fmla="*/ 1193006 h 1590675"/>
                    <a:gd name="connsiteX13" fmla="*/ 1397794 w 1819275"/>
                    <a:gd name="connsiteY13" fmla="*/ 1237456 h 1590675"/>
                    <a:gd name="connsiteX14" fmla="*/ 1445419 w 1819275"/>
                    <a:gd name="connsiteY14" fmla="*/ 1171575 h 1590675"/>
                    <a:gd name="connsiteX15" fmla="*/ 1504950 w 1819275"/>
                    <a:gd name="connsiteY15" fmla="*/ 1178719 h 1590675"/>
                    <a:gd name="connsiteX16" fmla="*/ 1554163 w 1819275"/>
                    <a:gd name="connsiteY16" fmla="*/ 1116806 h 1590675"/>
                    <a:gd name="connsiteX17" fmla="*/ 1554957 w 1819275"/>
                    <a:gd name="connsiteY17" fmla="*/ 983456 h 1590675"/>
                    <a:gd name="connsiteX18" fmla="*/ 1457325 w 1819275"/>
                    <a:gd name="connsiteY18" fmla="*/ 931068 h 1590675"/>
                    <a:gd name="connsiteX19" fmla="*/ 1447801 w 1819275"/>
                    <a:gd name="connsiteY19" fmla="*/ 845344 h 1590675"/>
                    <a:gd name="connsiteX20" fmla="*/ 1466850 w 1819275"/>
                    <a:gd name="connsiteY20" fmla="*/ 802481 h 1590675"/>
                    <a:gd name="connsiteX21" fmla="*/ 1538288 w 1819275"/>
                    <a:gd name="connsiteY21" fmla="*/ 802482 h 1590675"/>
                    <a:gd name="connsiteX22" fmla="*/ 1612105 w 1819275"/>
                    <a:gd name="connsiteY22" fmla="*/ 726282 h 1590675"/>
                    <a:gd name="connsiteX23" fmla="*/ 1676400 w 1819275"/>
                    <a:gd name="connsiteY23" fmla="*/ 733425 h 1590675"/>
                    <a:gd name="connsiteX24" fmla="*/ 1819275 w 1819275"/>
                    <a:gd name="connsiteY24" fmla="*/ 774700 h 1590675"/>
                    <a:gd name="connsiteX25" fmla="*/ 428625 w 1819275"/>
                    <a:gd name="connsiteY25" fmla="*/ 0 h 1590675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17550 w 1819275"/>
                    <a:gd name="connsiteY6" fmla="*/ 1460500 h 1545431"/>
                    <a:gd name="connsiteX7" fmla="*/ 1090612 w 1819275"/>
                    <a:gd name="connsiteY7" fmla="*/ 1545431 h 1545431"/>
                    <a:gd name="connsiteX8" fmla="*/ 1104900 w 1819275"/>
                    <a:gd name="connsiteY8" fmla="*/ 1319213 h 1545431"/>
                    <a:gd name="connsiteX9" fmla="*/ 1207294 w 1819275"/>
                    <a:gd name="connsiteY9" fmla="*/ 1314450 h 1545431"/>
                    <a:gd name="connsiteX10" fmla="*/ 1257301 w 1819275"/>
                    <a:gd name="connsiteY10" fmla="*/ 1231107 h 1545431"/>
                    <a:gd name="connsiteX11" fmla="*/ 1321594 w 1819275"/>
                    <a:gd name="connsiteY11" fmla="*/ 1185863 h 1545431"/>
                    <a:gd name="connsiteX12" fmla="*/ 1373982 w 1819275"/>
                    <a:gd name="connsiteY12" fmla="*/ 1193006 h 1545431"/>
                    <a:gd name="connsiteX13" fmla="*/ 1397794 w 1819275"/>
                    <a:gd name="connsiteY13" fmla="*/ 1237456 h 1545431"/>
                    <a:gd name="connsiteX14" fmla="*/ 1445419 w 1819275"/>
                    <a:gd name="connsiteY14" fmla="*/ 1171575 h 1545431"/>
                    <a:gd name="connsiteX15" fmla="*/ 1504950 w 1819275"/>
                    <a:gd name="connsiteY15" fmla="*/ 1178719 h 1545431"/>
                    <a:gd name="connsiteX16" fmla="*/ 1554163 w 1819275"/>
                    <a:gd name="connsiteY16" fmla="*/ 1116806 h 1545431"/>
                    <a:gd name="connsiteX17" fmla="*/ 1554957 w 1819275"/>
                    <a:gd name="connsiteY17" fmla="*/ 983456 h 1545431"/>
                    <a:gd name="connsiteX18" fmla="*/ 1457325 w 1819275"/>
                    <a:gd name="connsiteY18" fmla="*/ 931068 h 1545431"/>
                    <a:gd name="connsiteX19" fmla="*/ 1447801 w 1819275"/>
                    <a:gd name="connsiteY19" fmla="*/ 845344 h 1545431"/>
                    <a:gd name="connsiteX20" fmla="*/ 1466850 w 1819275"/>
                    <a:gd name="connsiteY20" fmla="*/ 802481 h 1545431"/>
                    <a:gd name="connsiteX21" fmla="*/ 1538288 w 1819275"/>
                    <a:gd name="connsiteY21" fmla="*/ 802482 h 1545431"/>
                    <a:gd name="connsiteX22" fmla="*/ 1612105 w 1819275"/>
                    <a:gd name="connsiteY22" fmla="*/ 726282 h 1545431"/>
                    <a:gd name="connsiteX23" fmla="*/ 1676400 w 1819275"/>
                    <a:gd name="connsiteY23" fmla="*/ 733425 h 1545431"/>
                    <a:gd name="connsiteX24" fmla="*/ 1819275 w 1819275"/>
                    <a:gd name="connsiteY24" fmla="*/ 774700 h 1545431"/>
                    <a:gd name="connsiteX25" fmla="*/ 428625 w 1819275"/>
                    <a:gd name="connsiteY25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17550 w 1819275"/>
                    <a:gd name="connsiteY6" fmla="*/ 1460500 h 1545431"/>
                    <a:gd name="connsiteX7" fmla="*/ 1090612 w 1819275"/>
                    <a:gd name="connsiteY7" fmla="*/ 1545431 h 1545431"/>
                    <a:gd name="connsiteX8" fmla="*/ 1102519 w 1819275"/>
                    <a:gd name="connsiteY8" fmla="*/ 1407319 h 1545431"/>
                    <a:gd name="connsiteX9" fmla="*/ 1104900 w 1819275"/>
                    <a:gd name="connsiteY9" fmla="*/ 1319213 h 1545431"/>
                    <a:gd name="connsiteX10" fmla="*/ 1207294 w 1819275"/>
                    <a:gd name="connsiteY10" fmla="*/ 1314450 h 1545431"/>
                    <a:gd name="connsiteX11" fmla="*/ 1257301 w 1819275"/>
                    <a:gd name="connsiteY11" fmla="*/ 1231107 h 1545431"/>
                    <a:gd name="connsiteX12" fmla="*/ 1321594 w 1819275"/>
                    <a:gd name="connsiteY12" fmla="*/ 1185863 h 1545431"/>
                    <a:gd name="connsiteX13" fmla="*/ 1373982 w 1819275"/>
                    <a:gd name="connsiteY13" fmla="*/ 1193006 h 1545431"/>
                    <a:gd name="connsiteX14" fmla="*/ 1397794 w 1819275"/>
                    <a:gd name="connsiteY14" fmla="*/ 1237456 h 1545431"/>
                    <a:gd name="connsiteX15" fmla="*/ 1445419 w 1819275"/>
                    <a:gd name="connsiteY15" fmla="*/ 1171575 h 1545431"/>
                    <a:gd name="connsiteX16" fmla="*/ 1504950 w 1819275"/>
                    <a:gd name="connsiteY16" fmla="*/ 1178719 h 1545431"/>
                    <a:gd name="connsiteX17" fmla="*/ 1554163 w 1819275"/>
                    <a:gd name="connsiteY17" fmla="*/ 1116806 h 1545431"/>
                    <a:gd name="connsiteX18" fmla="*/ 1554957 w 1819275"/>
                    <a:gd name="connsiteY18" fmla="*/ 983456 h 1545431"/>
                    <a:gd name="connsiteX19" fmla="*/ 1457325 w 1819275"/>
                    <a:gd name="connsiteY19" fmla="*/ 931068 h 1545431"/>
                    <a:gd name="connsiteX20" fmla="*/ 1447801 w 1819275"/>
                    <a:gd name="connsiteY20" fmla="*/ 845344 h 1545431"/>
                    <a:gd name="connsiteX21" fmla="*/ 1466850 w 1819275"/>
                    <a:gd name="connsiteY21" fmla="*/ 802481 h 1545431"/>
                    <a:gd name="connsiteX22" fmla="*/ 1538288 w 1819275"/>
                    <a:gd name="connsiteY22" fmla="*/ 802482 h 1545431"/>
                    <a:gd name="connsiteX23" fmla="*/ 1612105 w 1819275"/>
                    <a:gd name="connsiteY23" fmla="*/ 726282 h 1545431"/>
                    <a:gd name="connsiteX24" fmla="*/ 1676400 w 1819275"/>
                    <a:gd name="connsiteY24" fmla="*/ 733425 h 1545431"/>
                    <a:gd name="connsiteX25" fmla="*/ 1819275 w 1819275"/>
                    <a:gd name="connsiteY25" fmla="*/ 774700 h 1545431"/>
                    <a:gd name="connsiteX26" fmla="*/ 428625 w 1819275"/>
                    <a:gd name="connsiteY26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17550 w 1819275"/>
                    <a:gd name="connsiteY6" fmla="*/ 1460500 h 1545431"/>
                    <a:gd name="connsiteX7" fmla="*/ 1090612 w 1819275"/>
                    <a:gd name="connsiteY7" fmla="*/ 1545431 h 1545431"/>
                    <a:gd name="connsiteX8" fmla="*/ 1102519 w 1819275"/>
                    <a:gd name="connsiteY8" fmla="*/ 1428750 h 1545431"/>
                    <a:gd name="connsiteX9" fmla="*/ 1104900 w 1819275"/>
                    <a:gd name="connsiteY9" fmla="*/ 1319213 h 1545431"/>
                    <a:gd name="connsiteX10" fmla="*/ 1207294 w 1819275"/>
                    <a:gd name="connsiteY10" fmla="*/ 1314450 h 1545431"/>
                    <a:gd name="connsiteX11" fmla="*/ 1257301 w 1819275"/>
                    <a:gd name="connsiteY11" fmla="*/ 1231107 h 1545431"/>
                    <a:gd name="connsiteX12" fmla="*/ 1321594 w 1819275"/>
                    <a:gd name="connsiteY12" fmla="*/ 1185863 h 1545431"/>
                    <a:gd name="connsiteX13" fmla="*/ 1373982 w 1819275"/>
                    <a:gd name="connsiteY13" fmla="*/ 1193006 h 1545431"/>
                    <a:gd name="connsiteX14" fmla="*/ 1397794 w 1819275"/>
                    <a:gd name="connsiteY14" fmla="*/ 1237456 h 1545431"/>
                    <a:gd name="connsiteX15" fmla="*/ 1445419 w 1819275"/>
                    <a:gd name="connsiteY15" fmla="*/ 1171575 h 1545431"/>
                    <a:gd name="connsiteX16" fmla="*/ 1504950 w 1819275"/>
                    <a:gd name="connsiteY16" fmla="*/ 1178719 h 1545431"/>
                    <a:gd name="connsiteX17" fmla="*/ 1554163 w 1819275"/>
                    <a:gd name="connsiteY17" fmla="*/ 1116806 h 1545431"/>
                    <a:gd name="connsiteX18" fmla="*/ 1554957 w 1819275"/>
                    <a:gd name="connsiteY18" fmla="*/ 983456 h 1545431"/>
                    <a:gd name="connsiteX19" fmla="*/ 1457325 w 1819275"/>
                    <a:gd name="connsiteY19" fmla="*/ 931068 h 1545431"/>
                    <a:gd name="connsiteX20" fmla="*/ 1447801 w 1819275"/>
                    <a:gd name="connsiteY20" fmla="*/ 845344 h 1545431"/>
                    <a:gd name="connsiteX21" fmla="*/ 1466850 w 1819275"/>
                    <a:gd name="connsiteY21" fmla="*/ 802481 h 1545431"/>
                    <a:gd name="connsiteX22" fmla="*/ 1538288 w 1819275"/>
                    <a:gd name="connsiteY22" fmla="*/ 802482 h 1545431"/>
                    <a:gd name="connsiteX23" fmla="*/ 1612105 w 1819275"/>
                    <a:gd name="connsiteY23" fmla="*/ 726282 h 1545431"/>
                    <a:gd name="connsiteX24" fmla="*/ 1676400 w 1819275"/>
                    <a:gd name="connsiteY24" fmla="*/ 733425 h 1545431"/>
                    <a:gd name="connsiteX25" fmla="*/ 1819275 w 1819275"/>
                    <a:gd name="connsiteY25" fmla="*/ 774700 h 1545431"/>
                    <a:gd name="connsiteX26" fmla="*/ 428625 w 1819275"/>
                    <a:gd name="connsiteY26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17550 w 1819275"/>
                    <a:gd name="connsiteY6" fmla="*/ 1460500 h 1545431"/>
                    <a:gd name="connsiteX7" fmla="*/ 1090612 w 1819275"/>
                    <a:gd name="connsiteY7" fmla="*/ 1545431 h 1545431"/>
                    <a:gd name="connsiteX8" fmla="*/ 1095375 w 1819275"/>
                    <a:gd name="connsiteY8" fmla="*/ 1493044 h 1545431"/>
                    <a:gd name="connsiteX9" fmla="*/ 1102519 w 1819275"/>
                    <a:gd name="connsiteY9" fmla="*/ 1428750 h 1545431"/>
                    <a:gd name="connsiteX10" fmla="*/ 1104900 w 1819275"/>
                    <a:gd name="connsiteY10" fmla="*/ 1319213 h 1545431"/>
                    <a:gd name="connsiteX11" fmla="*/ 1207294 w 1819275"/>
                    <a:gd name="connsiteY11" fmla="*/ 1314450 h 1545431"/>
                    <a:gd name="connsiteX12" fmla="*/ 1257301 w 1819275"/>
                    <a:gd name="connsiteY12" fmla="*/ 1231107 h 1545431"/>
                    <a:gd name="connsiteX13" fmla="*/ 1321594 w 1819275"/>
                    <a:gd name="connsiteY13" fmla="*/ 1185863 h 1545431"/>
                    <a:gd name="connsiteX14" fmla="*/ 1373982 w 1819275"/>
                    <a:gd name="connsiteY14" fmla="*/ 1193006 h 1545431"/>
                    <a:gd name="connsiteX15" fmla="*/ 1397794 w 1819275"/>
                    <a:gd name="connsiteY15" fmla="*/ 1237456 h 1545431"/>
                    <a:gd name="connsiteX16" fmla="*/ 1445419 w 1819275"/>
                    <a:gd name="connsiteY16" fmla="*/ 1171575 h 1545431"/>
                    <a:gd name="connsiteX17" fmla="*/ 1504950 w 1819275"/>
                    <a:gd name="connsiteY17" fmla="*/ 1178719 h 1545431"/>
                    <a:gd name="connsiteX18" fmla="*/ 1554163 w 1819275"/>
                    <a:gd name="connsiteY18" fmla="*/ 1116806 h 1545431"/>
                    <a:gd name="connsiteX19" fmla="*/ 1554957 w 1819275"/>
                    <a:gd name="connsiteY19" fmla="*/ 983456 h 1545431"/>
                    <a:gd name="connsiteX20" fmla="*/ 1457325 w 1819275"/>
                    <a:gd name="connsiteY20" fmla="*/ 931068 h 1545431"/>
                    <a:gd name="connsiteX21" fmla="*/ 1447801 w 1819275"/>
                    <a:gd name="connsiteY21" fmla="*/ 845344 h 1545431"/>
                    <a:gd name="connsiteX22" fmla="*/ 1466850 w 1819275"/>
                    <a:gd name="connsiteY22" fmla="*/ 802481 h 1545431"/>
                    <a:gd name="connsiteX23" fmla="*/ 1538288 w 1819275"/>
                    <a:gd name="connsiteY23" fmla="*/ 802482 h 1545431"/>
                    <a:gd name="connsiteX24" fmla="*/ 1612105 w 1819275"/>
                    <a:gd name="connsiteY24" fmla="*/ 726282 h 1545431"/>
                    <a:gd name="connsiteX25" fmla="*/ 1676400 w 1819275"/>
                    <a:gd name="connsiteY25" fmla="*/ 733425 h 1545431"/>
                    <a:gd name="connsiteX26" fmla="*/ 1819275 w 1819275"/>
                    <a:gd name="connsiteY26" fmla="*/ 774700 h 1545431"/>
                    <a:gd name="connsiteX27" fmla="*/ 428625 w 1819275"/>
                    <a:gd name="connsiteY27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17550 w 1819275"/>
                    <a:gd name="connsiteY6" fmla="*/ 1460500 h 1545431"/>
                    <a:gd name="connsiteX7" fmla="*/ 1090612 w 1819275"/>
                    <a:gd name="connsiteY7" fmla="*/ 1545431 h 1545431"/>
                    <a:gd name="connsiteX8" fmla="*/ 1126331 w 1819275"/>
                    <a:gd name="connsiteY8" fmla="*/ 1459706 h 1545431"/>
                    <a:gd name="connsiteX9" fmla="*/ 1102519 w 1819275"/>
                    <a:gd name="connsiteY9" fmla="*/ 1428750 h 1545431"/>
                    <a:gd name="connsiteX10" fmla="*/ 1104900 w 1819275"/>
                    <a:gd name="connsiteY10" fmla="*/ 1319213 h 1545431"/>
                    <a:gd name="connsiteX11" fmla="*/ 1207294 w 1819275"/>
                    <a:gd name="connsiteY11" fmla="*/ 1314450 h 1545431"/>
                    <a:gd name="connsiteX12" fmla="*/ 1257301 w 1819275"/>
                    <a:gd name="connsiteY12" fmla="*/ 1231107 h 1545431"/>
                    <a:gd name="connsiteX13" fmla="*/ 1321594 w 1819275"/>
                    <a:gd name="connsiteY13" fmla="*/ 1185863 h 1545431"/>
                    <a:gd name="connsiteX14" fmla="*/ 1373982 w 1819275"/>
                    <a:gd name="connsiteY14" fmla="*/ 1193006 h 1545431"/>
                    <a:gd name="connsiteX15" fmla="*/ 1397794 w 1819275"/>
                    <a:gd name="connsiteY15" fmla="*/ 1237456 h 1545431"/>
                    <a:gd name="connsiteX16" fmla="*/ 1445419 w 1819275"/>
                    <a:gd name="connsiteY16" fmla="*/ 1171575 h 1545431"/>
                    <a:gd name="connsiteX17" fmla="*/ 1504950 w 1819275"/>
                    <a:gd name="connsiteY17" fmla="*/ 1178719 h 1545431"/>
                    <a:gd name="connsiteX18" fmla="*/ 1554163 w 1819275"/>
                    <a:gd name="connsiteY18" fmla="*/ 1116806 h 1545431"/>
                    <a:gd name="connsiteX19" fmla="*/ 1554957 w 1819275"/>
                    <a:gd name="connsiteY19" fmla="*/ 983456 h 1545431"/>
                    <a:gd name="connsiteX20" fmla="*/ 1457325 w 1819275"/>
                    <a:gd name="connsiteY20" fmla="*/ 931068 h 1545431"/>
                    <a:gd name="connsiteX21" fmla="*/ 1447801 w 1819275"/>
                    <a:gd name="connsiteY21" fmla="*/ 845344 h 1545431"/>
                    <a:gd name="connsiteX22" fmla="*/ 1466850 w 1819275"/>
                    <a:gd name="connsiteY22" fmla="*/ 802481 h 1545431"/>
                    <a:gd name="connsiteX23" fmla="*/ 1538288 w 1819275"/>
                    <a:gd name="connsiteY23" fmla="*/ 802482 h 1545431"/>
                    <a:gd name="connsiteX24" fmla="*/ 1612105 w 1819275"/>
                    <a:gd name="connsiteY24" fmla="*/ 726282 h 1545431"/>
                    <a:gd name="connsiteX25" fmla="*/ 1676400 w 1819275"/>
                    <a:gd name="connsiteY25" fmla="*/ 733425 h 1545431"/>
                    <a:gd name="connsiteX26" fmla="*/ 1819275 w 1819275"/>
                    <a:gd name="connsiteY26" fmla="*/ 774700 h 1545431"/>
                    <a:gd name="connsiteX27" fmla="*/ 428625 w 1819275"/>
                    <a:gd name="connsiteY27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17550 w 1819275"/>
                    <a:gd name="connsiteY6" fmla="*/ 1460500 h 1545431"/>
                    <a:gd name="connsiteX7" fmla="*/ 1090612 w 1819275"/>
                    <a:gd name="connsiteY7" fmla="*/ 1545431 h 1545431"/>
                    <a:gd name="connsiteX8" fmla="*/ 1104900 w 1819275"/>
                    <a:gd name="connsiteY8" fmla="*/ 1509713 h 1545431"/>
                    <a:gd name="connsiteX9" fmla="*/ 1126331 w 1819275"/>
                    <a:gd name="connsiteY9" fmla="*/ 1459706 h 1545431"/>
                    <a:gd name="connsiteX10" fmla="*/ 1102519 w 1819275"/>
                    <a:gd name="connsiteY10" fmla="*/ 1428750 h 1545431"/>
                    <a:gd name="connsiteX11" fmla="*/ 1104900 w 1819275"/>
                    <a:gd name="connsiteY11" fmla="*/ 1319213 h 1545431"/>
                    <a:gd name="connsiteX12" fmla="*/ 1207294 w 1819275"/>
                    <a:gd name="connsiteY12" fmla="*/ 1314450 h 1545431"/>
                    <a:gd name="connsiteX13" fmla="*/ 1257301 w 1819275"/>
                    <a:gd name="connsiteY13" fmla="*/ 1231107 h 1545431"/>
                    <a:gd name="connsiteX14" fmla="*/ 1321594 w 1819275"/>
                    <a:gd name="connsiteY14" fmla="*/ 1185863 h 1545431"/>
                    <a:gd name="connsiteX15" fmla="*/ 1373982 w 1819275"/>
                    <a:gd name="connsiteY15" fmla="*/ 1193006 h 1545431"/>
                    <a:gd name="connsiteX16" fmla="*/ 1397794 w 1819275"/>
                    <a:gd name="connsiteY16" fmla="*/ 1237456 h 1545431"/>
                    <a:gd name="connsiteX17" fmla="*/ 1445419 w 1819275"/>
                    <a:gd name="connsiteY17" fmla="*/ 1171575 h 1545431"/>
                    <a:gd name="connsiteX18" fmla="*/ 1504950 w 1819275"/>
                    <a:gd name="connsiteY18" fmla="*/ 1178719 h 1545431"/>
                    <a:gd name="connsiteX19" fmla="*/ 1554163 w 1819275"/>
                    <a:gd name="connsiteY19" fmla="*/ 1116806 h 1545431"/>
                    <a:gd name="connsiteX20" fmla="*/ 1554957 w 1819275"/>
                    <a:gd name="connsiteY20" fmla="*/ 983456 h 1545431"/>
                    <a:gd name="connsiteX21" fmla="*/ 1457325 w 1819275"/>
                    <a:gd name="connsiteY21" fmla="*/ 931068 h 1545431"/>
                    <a:gd name="connsiteX22" fmla="*/ 1447801 w 1819275"/>
                    <a:gd name="connsiteY22" fmla="*/ 845344 h 1545431"/>
                    <a:gd name="connsiteX23" fmla="*/ 1466850 w 1819275"/>
                    <a:gd name="connsiteY23" fmla="*/ 802481 h 1545431"/>
                    <a:gd name="connsiteX24" fmla="*/ 1538288 w 1819275"/>
                    <a:gd name="connsiteY24" fmla="*/ 802482 h 1545431"/>
                    <a:gd name="connsiteX25" fmla="*/ 1612105 w 1819275"/>
                    <a:gd name="connsiteY25" fmla="*/ 726282 h 1545431"/>
                    <a:gd name="connsiteX26" fmla="*/ 1676400 w 1819275"/>
                    <a:gd name="connsiteY26" fmla="*/ 733425 h 1545431"/>
                    <a:gd name="connsiteX27" fmla="*/ 1819275 w 1819275"/>
                    <a:gd name="connsiteY27" fmla="*/ 774700 h 1545431"/>
                    <a:gd name="connsiteX28" fmla="*/ 428625 w 1819275"/>
                    <a:gd name="connsiteY28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17550 w 1819275"/>
                    <a:gd name="connsiteY6" fmla="*/ 1460500 h 1545431"/>
                    <a:gd name="connsiteX7" fmla="*/ 1090612 w 1819275"/>
                    <a:gd name="connsiteY7" fmla="*/ 1545431 h 1545431"/>
                    <a:gd name="connsiteX8" fmla="*/ 1121569 w 1819275"/>
                    <a:gd name="connsiteY8" fmla="*/ 1528763 h 1545431"/>
                    <a:gd name="connsiteX9" fmla="*/ 1126331 w 1819275"/>
                    <a:gd name="connsiteY9" fmla="*/ 1459706 h 1545431"/>
                    <a:gd name="connsiteX10" fmla="*/ 1102519 w 1819275"/>
                    <a:gd name="connsiteY10" fmla="*/ 1428750 h 1545431"/>
                    <a:gd name="connsiteX11" fmla="*/ 1104900 w 1819275"/>
                    <a:gd name="connsiteY11" fmla="*/ 1319213 h 1545431"/>
                    <a:gd name="connsiteX12" fmla="*/ 1207294 w 1819275"/>
                    <a:gd name="connsiteY12" fmla="*/ 1314450 h 1545431"/>
                    <a:gd name="connsiteX13" fmla="*/ 1257301 w 1819275"/>
                    <a:gd name="connsiteY13" fmla="*/ 1231107 h 1545431"/>
                    <a:gd name="connsiteX14" fmla="*/ 1321594 w 1819275"/>
                    <a:gd name="connsiteY14" fmla="*/ 1185863 h 1545431"/>
                    <a:gd name="connsiteX15" fmla="*/ 1373982 w 1819275"/>
                    <a:gd name="connsiteY15" fmla="*/ 1193006 h 1545431"/>
                    <a:gd name="connsiteX16" fmla="*/ 1397794 w 1819275"/>
                    <a:gd name="connsiteY16" fmla="*/ 1237456 h 1545431"/>
                    <a:gd name="connsiteX17" fmla="*/ 1445419 w 1819275"/>
                    <a:gd name="connsiteY17" fmla="*/ 1171575 h 1545431"/>
                    <a:gd name="connsiteX18" fmla="*/ 1504950 w 1819275"/>
                    <a:gd name="connsiteY18" fmla="*/ 1178719 h 1545431"/>
                    <a:gd name="connsiteX19" fmla="*/ 1554163 w 1819275"/>
                    <a:gd name="connsiteY19" fmla="*/ 1116806 h 1545431"/>
                    <a:gd name="connsiteX20" fmla="*/ 1554957 w 1819275"/>
                    <a:gd name="connsiteY20" fmla="*/ 983456 h 1545431"/>
                    <a:gd name="connsiteX21" fmla="*/ 1457325 w 1819275"/>
                    <a:gd name="connsiteY21" fmla="*/ 931068 h 1545431"/>
                    <a:gd name="connsiteX22" fmla="*/ 1447801 w 1819275"/>
                    <a:gd name="connsiteY22" fmla="*/ 845344 h 1545431"/>
                    <a:gd name="connsiteX23" fmla="*/ 1466850 w 1819275"/>
                    <a:gd name="connsiteY23" fmla="*/ 802481 h 1545431"/>
                    <a:gd name="connsiteX24" fmla="*/ 1538288 w 1819275"/>
                    <a:gd name="connsiteY24" fmla="*/ 802482 h 1545431"/>
                    <a:gd name="connsiteX25" fmla="*/ 1612105 w 1819275"/>
                    <a:gd name="connsiteY25" fmla="*/ 726282 h 1545431"/>
                    <a:gd name="connsiteX26" fmla="*/ 1676400 w 1819275"/>
                    <a:gd name="connsiteY26" fmla="*/ 733425 h 1545431"/>
                    <a:gd name="connsiteX27" fmla="*/ 1819275 w 1819275"/>
                    <a:gd name="connsiteY27" fmla="*/ 774700 h 1545431"/>
                    <a:gd name="connsiteX28" fmla="*/ 428625 w 1819275"/>
                    <a:gd name="connsiteY28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860425 w 1819275"/>
                    <a:gd name="connsiteY6" fmla="*/ 1215231 h 1545431"/>
                    <a:gd name="connsiteX7" fmla="*/ 1090612 w 1819275"/>
                    <a:gd name="connsiteY7" fmla="*/ 1545431 h 1545431"/>
                    <a:gd name="connsiteX8" fmla="*/ 1121569 w 1819275"/>
                    <a:gd name="connsiteY8" fmla="*/ 1528763 h 1545431"/>
                    <a:gd name="connsiteX9" fmla="*/ 1126331 w 1819275"/>
                    <a:gd name="connsiteY9" fmla="*/ 1459706 h 1545431"/>
                    <a:gd name="connsiteX10" fmla="*/ 1102519 w 1819275"/>
                    <a:gd name="connsiteY10" fmla="*/ 1428750 h 1545431"/>
                    <a:gd name="connsiteX11" fmla="*/ 1104900 w 1819275"/>
                    <a:gd name="connsiteY11" fmla="*/ 1319213 h 1545431"/>
                    <a:gd name="connsiteX12" fmla="*/ 1207294 w 1819275"/>
                    <a:gd name="connsiteY12" fmla="*/ 1314450 h 1545431"/>
                    <a:gd name="connsiteX13" fmla="*/ 1257301 w 1819275"/>
                    <a:gd name="connsiteY13" fmla="*/ 1231107 h 1545431"/>
                    <a:gd name="connsiteX14" fmla="*/ 1321594 w 1819275"/>
                    <a:gd name="connsiteY14" fmla="*/ 1185863 h 1545431"/>
                    <a:gd name="connsiteX15" fmla="*/ 1373982 w 1819275"/>
                    <a:gd name="connsiteY15" fmla="*/ 1193006 h 1545431"/>
                    <a:gd name="connsiteX16" fmla="*/ 1397794 w 1819275"/>
                    <a:gd name="connsiteY16" fmla="*/ 1237456 h 1545431"/>
                    <a:gd name="connsiteX17" fmla="*/ 1445419 w 1819275"/>
                    <a:gd name="connsiteY17" fmla="*/ 1171575 h 1545431"/>
                    <a:gd name="connsiteX18" fmla="*/ 1504950 w 1819275"/>
                    <a:gd name="connsiteY18" fmla="*/ 1178719 h 1545431"/>
                    <a:gd name="connsiteX19" fmla="*/ 1554163 w 1819275"/>
                    <a:gd name="connsiteY19" fmla="*/ 1116806 h 1545431"/>
                    <a:gd name="connsiteX20" fmla="*/ 1554957 w 1819275"/>
                    <a:gd name="connsiteY20" fmla="*/ 983456 h 1545431"/>
                    <a:gd name="connsiteX21" fmla="*/ 1457325 w 1819275"/>
                    <a:gd name="connsiteY21" fmla="*/ 931068 h 1545431"/>
                    <a:gd name="connsiteX22" fmla="*/ 1447801 w 1819275"/>
                    <a:gd name="connsiteY22" fmla="*/ 845344 h 1545431"/>
                    <a:gd name="connsiteX23" fmla="*/ 1466850 w 1819275"/>
                    <a:gd name="connsiteY23" fmla="*/ 802481 h 1545431"/>
                    <a:gd name="connsiteX24" fmla="*/ 1538288 w 1819275"/>
                    <a:gd name="connsiteY24" fmla="*/ 802482 h 1545431"/>
                    <a:gd name="connsiteX25" fmla="*/ 1612105 w 1819275"/>
                    <a:gd name="connsiteY25" fmla="*/ 726282 h 1545431"/>
                    <a:gd name="connsiteX26" fmla="*/ 1676400 w 1819275"/>
                    <a:gd name="connsiteY26" fmla="*/ 733425 h 1545431"/>
                    <a:gd name="connsiteX27" fmla="*/ 1819275 w 1819275"/>
                    <a:gd name="connsiteY27" fmla="*/ 774700 h 1545431"/>
                    <a:gd name="connsiteX28" fmla="*/ 428625 w 1819275"/>
                    <a:gd name="connsiteY28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471488 w 1819275"/>
                    <a:gd name="connsiteY6" fmla="*/ 1335881 h 1545431"/>
                    <a:gd name="connsiteX7" fmla="*/ 860425 w 1819275"/>
                    <a:gd name="connsiteY7" fmla="*/ 1215231 h 1545431"/>
                    <a:gd name="connsiteX8" fmla="*/ 1090612 w 1819275"/>
                    <a:gd name="connsiteY8" fmla="*/ 1545431 h 1545431"/>
                    <a:gd name="connsiteX9" fmla="*/ 1121569 w 1819275"/>
                    <a:gd name="connsiteY9" fmla="*/ 1528763 h 1545431"/>
                    <a:gd name="connsiteX10" fmla="*/ 1126331 w 1819275"/>
                    <a:gd name="connsiteY10" fmla="*/ 1459706 h 1545431"/>
                    <a:gd name="connsiteX11" fmla="*/ 1102519 w 1819275"/>
                    <a:gd name="connsiteY11" fmla="*/ 1428750 h 1545431"/>
                    <a:gd name="connsiteX12" fmla="*/ 1104900 w 1819275"/>
                    <a:gd name="connsiteY12" fmla="*/ 1319213 h 1545431"/>
                    <a:gd name="connsiteX13" fmla="*/ 1207294 w 1819275"/>
                    <a:gd name="connsiteY13" fmla="*/ 1314450 h 1545431"/>
                    <a:gd name="connsiteX14" fmla="*/ 1257301 w 1819275"/>
                    <a:gd name="connsiteY14" fmla="*/ 1231107 h 1545431"/>
                    <a:gd name="connsiteX15" fmla="*/ 1321594 w 1819275"/>
                    <a:gd name="connsiteY15" fmla="*/ 1185863 h 1545431"/>
                    <a:gd name="connsiteX16" fmla="*/ 1373982 w 1819275"/>
                    <a:gd name="connsiteY16" fmla="*/ 1193006 h 1545431"/>
                    <a:gd name="connsiteX17" fmla="*/ 1397794 w 1819275"/>
                    <a:gd name="connsiteY17" fmla="*/ 1237456 h 1545431"/>
                    <a:gd name="connsiteX18" fmla="*/ 1445419 w 1819275"/>
                    <a:gd name="connsiteY18" fmla="*/ 1171575 h 1545431"/>
                    <a:gd name="connsiteX19" fmla="*/ 1504950 w 1819275"/>
                    <a:gd name="connsiteY19" fmla="*/ 1178719 h 1545431"/>
                    <a:gd name="connsiteX20" fmla="*/ 1554163 w 1819275"/>
                    <a:gd name="connsiteY20" fmla="*/ 1116806 h 1545431"/>
                    <a:gd name="connsiteX21" fmla="*/ 1554957 w 1819275"/>
                    <a:gd name="connsiteY21" fmla="*/ 983456 h 1545431"/>
                    <a:gd name="connsiteX22" fmla="*/ 1457325 w 1819275"/>
                    <a:gd name="connsiteY22" fmla="*/ 931068 h 1545431"/>
                    <a:gd name="connsiteX23" fmla="*/ 1447801 w 1819275"/>
                    <a:gd name="connsiteY23" fmla="*/ 845344 h 1545431"/>
                    <a:gd name="connsiteX24" fmla="*/ 1466850 w 1819275"/>
                    <a:gd name="connsiteY24" fmla="*/ 802481 h 1545431"/>
                    <a:gd name="connsiteX25" fmla="*/ 1538288 w 1819275"/>
                    <a:gd name="connsiteY25" fmla="*/ 802482 h 1545431"/>
                    <a:gd name="connsiteX26" fmla="*/ 1612105 w 1819275"/>
                    <a:gd name="connsiteY26" fmla="*/ 726282 h 1545431"/>
                    <a:gd name="connsiteX27" fmla="*/ 1676400 w 1819275"/>
                    <a:gd name="connsiteY27" fmla="*/ 733425 h 1545431"/>
                    <a:gd name="connsiteX28" fmla="*/ 1819275 w 1819275"/>
                    <a:gd name="connsiteY28" fmla="*/ 774700 h 1545431"/>
                    <a:gd name="connsiteX29" fmla="*/ 428625 w 1819275"/>
                    <a:gd name="connsiteY29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47713 w 1819275"/>
                    <a:gd name="connsiteY6" fmla="*/ 1347787 h 1545431"/>
                    <a:gd name="connsiteX7" fmla="*/ 860425 w 1819275"/>
                    <a:gd name="connsiteY7" fmla="*/ 1215231 h 1545431"/>
                    <a:gd name="connsiteX8" fmla="*/ 1090612 w 1819275"/>
                    <a:gd name="connsiteY8" fmla="*/ 1545431 h 1545431"/>
                    <a:gd name="connsiteX9" fmla="*/ 1121569 w 1819275"/>
                    <a:gd name="connsiteY9" fmla="*/ 1528763 h 1545431"/>
                    <a:gd name="connsiteX10" fmla="*/ 1126331 w 1819275"/>
                    <a:gd name="connsiteY10" fmla="*/ 1459706 h 1545431"/>
                    <a:gd name="connsiteX11" fmla="*/ 1102519 w 1819275"/>
                    <a:gd name="connsiteY11" fmla="*/ 1428750 h 1545431"/>
                    <a:gd name="connsiteX12" fmla="*/ 1104900 w 1819275"/>
                    <a:gd name="connsiteY12" fmla="*/ 1319213 h 1545431"/>
                    <a:gd name="connsiteX13" fmla="*/ 1207294 w 1819275"/>
                    <a:gd name="connsiteY13" fmla="*/ 1314450 h 1545431"/>
                    <a:gd name="connsiteX14" fmla="*/ 1257301 w 1819275"/>
                    <a:gd name="connsiteY14" fmla="*/ 1231107 h 1545431"/>
                    <a:gd name="connsiteX15" fmla="*/ 1321594 w 1819275"/>
                    <a:gd name="connsiteY15" fmla="*/ 1185863 h 1545431"/>
                    <a:gd name="connsiteX16" fmla="*/ 1373982 w 1819275"/>
                    <a:gd name="connsiteY16" fmla="*/ 1193006 h 1545431"/>
                    <a:gd name="connsiteX17" fmla="*/ 1397794 w 1819275"/>
                    <a:gd name="connsiteY17" fmla="*/ 1237456 h 1545431"/>
                    <a:gd name="connsiteX18" fmla="*/ 1445419 w 1819275"/>
                    <a:gd name="connsiteY18" fmla="*/ 1171575 h 1545431"/>
                    <a:gd name="connsiteX19" fmla="*/ 1504950 w 1819275"/>
                    <a:gd name="connsiteY19" fmla="*/ 1178719 h 1545431"/>
                    <a:gd name="connsiteX20" fmla="*/ 1554163 w 1819275"/>
                    <a:gd name="connsiteY20" fmla="*/ 1116806 h 1545431"/>
                    <a:gd name="connsiteX21" fmla="*/ 1554957 w 1819275"/>
                    <a:gd name="connsiteY21" fmla="*/ 983456 h 1545431"/>
                    <a:gd name="connsiteX22" fmla="*/ 1457325 w 1819275"/>
                    <a:gd name="connsiteY22" fmla="*/ 931068 h 1545431"/>
                    <a:gd name="connsiteX23" fmla="*/ 1447801 w 1819275"/>
                    <a:gd name="connsiteY23" fmla="*/ 845344 h 1545431"/>
                    <a:gd name="connsiteX24" fmla="*/ 1466850 w 1819275"/>
                    <a:gd name="connsiteY24" fmla="*/ 802481 h 1545431"/>
                    <a:gd name="connsiteX25" fmla="*/ 1538288 w 1819275"/>
                    <a:gd name="connsiteY25" fmla="*/ 802482 h 1545431"/>
                    <a:gd name="connsiteX26" fmla="*/ 1612105 w 1819275"/>
                    <a:gd name="connsiteY26" fmla="*/ 726282 h 1545431"/>
                    <a:gd name="connsiteX27" fmla="*/ 1676400 w 1819275"/>
                    <a:gd name="connsiteY27" fmla="*/ 733425 h 1545431"/>
                    <a:gd name="connsiteX28" fmla="*/ 1819275 w 1819275"/>
                    <a:gd name="connsiteY28" fmla="*/ 774700 h 1545431"/>
                    <a:gd name="connsiteX29" fmla="*/ 428625 w 1819275"/>
                    <a:gd name="connsiteY29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02456 w 1819275"/>
                    <a:gd name="connsiteY6" fmla="*/ 1364456 h 1545431"/>
                    <a:gd name="connsiteX7" fmla="*/ 747713 w 1819275"/>
                    <a:gd name="connsiteY7" fmla="*/ 1347787 h 1545431"/>
                    <a:gd name="connsiteX8" fmla="*/ 860425 w 1819275"/>
                    <a:gd name="connsiteY8" fmla="*/ 1215231 h 1545431"/>
                    <a:gd name="connsiteX9" fmla="*/ 1090612 w 1819275"/>
                    <a:gd name="connsiteY9" fmla="*/ 1545431 h 1545431"/>
                    <a:gd name="connsiteX10" fmla="*/ 1121569 w 1819275"/>
                    <a:gd name="connsiteY10" fmla="*/ 1528763 h 1545431"/>
                    <a:gd name="connsiteX11" fmla="*/ 1126331 w 1819275"/>
                    <a:gd name="connsiteY11" fmla="*/ 1459706 h 1545431"/>
                    <a:gd name="connsiteX12" fmla="*/ 1102519 w 1819275"/>
                    <a:gd name="connsiteY12" fmla="*/ 1428750 h 1545431"/>
                    <a:gd name="connsiteX13" fmla="*/ 1104900 w 1819275"/>
                    <a:gd name="connsiteY13" fmla="*/ 1319213 h 1545431"/>
                    <a:gd name="connsiteX14" fmla="*/ 1207294 w 1819275"/>
                    <a:gd name="connsiteY14" fmla="*/ 1314450 h 1545431"/>
                    <a:gd name="connsiteX15" fmla="*/ 1257301 w 1819275"/>
                    <a:gd name="connsiteY15" fmla="*/ 1231107 h 1545431"/>
                    <a:gd name="connsiteX16" fmla="*/ 1321594 w 1819275"/>
                    <a:gd name="connsiteY16" fmla="*/ 1185863 h 1545431"/>
                    <a:gd name="connsiteX17" fmla="*/ 1373982 w 1819275"/>
                    <a:gd name="connsiteY17" fmla="*/ 1193006 h 1545431"/>
                    <a:gd name="connsiteX18" fmla="*/ 1397794 w 1819275"/>
                    <a:gd name="connsiteY18" fmla="*/ 1237456 h 1545431"/>
                    <a:gd name="connsiteX19" fmla="*/ 1445419 w 1819275"/>
                    <a:gd name="connsiteY19" fmla="*/ 1171575 h 1545431"/>
                    <a:gd name="connsiteX20" fmla="*/ 1504950 w 1819275"/>
                    <a:gd name="connsiteY20" fmla="*/ 1178719 h 1545431"/>
                    <a:gd name="connsiteX21" fmla="*/ 1554163 w 1819275"/>
                    <a:gd name="connsiteY21" fmla="*/ 1116806 h 1545431"/>
                    <a:gd name="connsiteX22" fmla="*/ 1554957 w 1819275"/>
                    <a:gd name="connsiteY22" fmla="*/ 983456 h 1545431"/>
                    <a:gd name="connsiteX23" fmla="*/ 1457325 w 1819275"/>
                    <a:gd name="connsiteY23" fmla="*/ 931068 h 1545431"/>
                    <a:gd name="connsiteX24" fmla="*/ 1447801 w 1819275"/>
                    <a:gd name="connsiteY24" fmla="*/ 845344 h 1545431"/>
                    <a:gd name="connsiteX25" fmla="*/ 1466850 w 1819275"/>
                    <a:gd name="connsiteY25" fmla="*/ 802481 h 1545431"/>
                    <a:gd name="connsiteX26" fmla="*/ 1538288 w 1819275"/>
                    <a:gd name="connsiteY26" fmla="*/ 802482 h 1545431"/>
                    <a:gd name="connsiteX27" fmla="*/ 1612105 w 1819275"/>
                    <a:gd name="connsiteY27" fmla="*/ 726282 h 1545431"/>
                    <a:gd name="connsiteX28" fmla="*/ 1676400 w 1819275"/>
                    <a:gd name="connsiteY28" fmla="*/ 733425 h 1545431"/>
                    <a:gd name="connsiteX29" fmla="*/ 1819275 w 1819275"/>
                    <a:gd name="connsiteY29" fmla="*/ 774700 h 1545431"/>
                    <a:gd name="connsiteX30" fmla="*/ 428625 w 1819275"/>
                    <a:gd name="connsiteY30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38188 w 1819275"/>
                    <a:gd name="connsiteY6" fmla="*/ 1309687 h 1545431"/>
                    <a:gd name="connsiteX7" fmla="*/ 747713 w 1819275"/>
                    <a:gd name="connsiteY7" fmla="*/ 1347787 h 1545431"/>
                    <a:gd name="connsiteX8" fmla="*/ 860425 w 1819275"/>
                    <a:gd name="connsiteY8" fmla="*/ 1215231 h 1545431"/>
                    <a:gd name="connsiteX9" fmla="*/ 1090612 w 1819275"/>
                    <a:gd name="connsiteY9" fmla="*/ 1545431 h 1545431"/>
                    <a:gd name="connsiteX10" fmla="*/ 1121569 w 1819275"/>
                    <a:gd name="connsiteY10" fmla="*/ 1528763 h 1545431"/>
                    <a:gd name="connsiteX11" fmla="*/ 1126331 w 1819275"/>
                    <a:gd name="connsiteY11" fmla="*/ 1459706 h 1545431"/>
                    <a:gd name="connsiteX12" fmla="*/ 1102519 w 1819275"/>
                    <a:gd name="connsiteY12" fmla="*/ 1428750 h 1545431"/>
                    <a:gd name="connsiteX13" fmla="*/ 1104900 w 1819275"/>
                    <a:gd name="connsiteY13" fmla="*/ 1319213 h 1545431"/>
                    <a:gd name="connsiteX14" fmla="*/ 1207294 w 1819275"/>
                    <a:gd name="connsiteY14" fmla="*/ 1314450 h 1545431"/>
                    <a:gd name="connsiteX15" fmla="*/ 1257301 w 1819275"/>
                    <a:gd name="connsiteY15" fmla="*/ 1231107 h 1545431"/>
                    <a:gd name="connsiteX16" fmla="*/ 1321594 w 1819275"/>
                    <a:gd name="connsiteY16" fmla="*/ 1185863 h 1545431"/>
                    <a:gd name="connsiteX17" fmla="*/ 1373982 w 1819275"/>
                    <a:gd name="connsiteY17" fmla="*/ 1193006 h 1545431"/>
                    <a:gd name="connsiteX18" fmla="*/ 1397794 w 1819275"/>
                    <a:gd name="connsiteY18" fmla="*/ 1237456 h 1545431"/>
                    <a:gd name="connsiteX19" fmla="*/ 1445419 w 1819275"/>
                    <a:gd name="connsiteY19" fmla="*/ 1171575 h 1545431"/>
                    <a:gd name="connsiteX20" fmla="*/ 1504950 w 1819275"/>
                    <a:gd name="connsiteY20" fmla="*/ 1178719 h 1545431"/>
                    <a:gd name="connsiteX21" fmla="*/ 1554163 w 1819275"/>
                    <a:gd name="connsiteY21" fmla="*/ 1116806 h 1545431"/>
                    <a:gd name="connsiteX22" fmla="*/ 1554957 w 1819275"/>
                    <a:gd name="connsiteY22" fmla="*/ 983456 h 1545431"/>
                    <a:gd name="connsiteX23" fmla="*/ 1457325 w 1819275"/>
                    <a:gd name="connsiteY23" fmla="*/ 931068 h 1545431"/>
                    <a:gd name="connsiteX24" fmla="*/ 1447801 w 1819275"/>
                    <a:gd name="connsiteY24" fmla="*/ 845344 h 1545431"/>
                    <a:gd name="connsiteX25" fmla="*/ 1466850 w 1819275"/>
                    <a:gd name="connsiteY25" fmla="*/ 802481 h 1545431"/>
                    <a:gd name="connsiteX26" fmla="*/ 1538288 w 1819275"/>
                    <a:gd name="connsiteY26" fmla="*/ 802482 h 1545431"/>
                    <a:gd name="connsiteX27" fmla="*/ 1612105 w 1819275"/>
                    <a:gd name="connsiteY27" fmla="*/ 726282 h 1545431"/>
                    <a:gd name="connsiteX28" fmla="*/ 1676400 w 1819275"/>
                    <a:gd name="connsiteY28" fmla="*/ 733425 h 1545431"/>
                    <a:gd name="connsiteX29" fmla="*/ 1819275 w 1819275"/>
                    <a:gd name="connsiteY29" fmla="*/ 774700 h 1545431"/>
                    <a:gd name="connsiteX30" fmla="*/ 428625 w 1819275"/>
                    <a:gd name="connsiteY30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07219 w 1819275"/>
                    <a:gd name="connsiteY6" fmla="*/ 1338263 h 1545431"/>
                    <a:gd name="connsiteX7" fmla="*/ 738188 w 1819275"/>
                    <a:gd name="connsiteY7" fmla="*/ 1309687 h 1545431"/>
                    <a:gd name="connsiteX8" fmla="*/ 747713 w 1819275"/>
                    <a:gd name="connsiteY8" fmla="*/ 1347787 h 1545431"/>
                    <a:gd name="connsiteX9" fmla="*/ 860425 w 1819275"/>
                    <a:gd name="connsiteY9" fmla="*/ 1215231 h 1545431"/>
                    <a:gd name="connsiteX10" fmla="*/ 1090612 w 1819275"/>
                    <a:gd name="connsiteY10" fmla="*/ 1545431 h 1545431"/>
                    <a:gd name="connsiteX11" fmla="*/ 1121569 w 1819275"/>
                    <a:gd name="connsiteY11" fmla="*/ 1528763 h 1545431"/>
                    <a:gd name="connsiteX12" fmla="*/ 1126331 w 1819275"/>
                    <a:gd name="connsiteY12" fmla="*/ 1459706 h 1545431"/>
                    <a:gd name="connsiteX13" fmla="*/ 1102519 w 1819275"/>
                    <a:gd name="connsiteY13" fmla="*/ 1428750 h 1545431"/>
                    <a:gd name="connsiteX14" fmla="*/ 1104900 w 1819275"/>
                    <a:gd name="connsiteY14" fmla="*/ 1319213 h 1545431"/>
                    <a:gd name="connsiteX15" fmla="*/ 1207294 w 1819275"/>
                    <a:gd name="connsiteY15" fmla="*/ 1314450 h 1545431"/>
                    <a:gd name="connsiteX16" fmla="*/ 1257301 w 1819275"/>
                    <a:gd name="connsiteY16" fmla="*/ 1231107 h 1545431"/>
                    <a:gd name="connsiteX17" fmla="*/ 1321594 w 1819275"/>
                    <a:gd name="connsiteY17" fmla="*/ 1185863 h 1545431"/>
                    <a:gd name="connsiteX18" fmla="*/ 1373982 w 1819275"/>
                    <a:gd name="connsiteY18" fmla="*/ 1193006 h 1545431"/>
                    <a:gd name="connsiteX19" fmla="*/ 1397794 w 1819275"/>
                    <a:gd name="connsiteY19" fmla="*/ 1237456 h 1545431"/>
                    <a:gd name="connsiteX20" fmla="*/ 1445419 w 1819275"/>
                    <a:gd name="connsiteY20" fmla="*/ 1171575 h 1545431"/>
                    <a:gd name="connsiteX21" fmla="*/ 1504950 w 1819275"/>
                    <a:gd name="connsiteY21" fmla="*/ 1178719 h 1545431"/>
                    <a:gd name="connsiteX22" fmla="*/ 1554163 w 1819275"/>
                    <a:gd name="connsiteY22" fmla="*/ 1116806 h 1545431"/>
                    <a:gd name="connsiteX23" fmla="*/ 1554957 w 1819275"/>
                    <a:gd name="connsiteY23" fmla="*/ 983456 h 1545431"/>
                    <a:gd name="connsiteX24" fmla="*/ 1457325 w 1819275"/>
                    <a:gd name="connsiteY24" fmla="*/ 931068 h 1545431"/>
                    <a:gd name="connsiteX25" fmla="*/ 1447801 w 1819275"/>
                    <a:gd name="connsiteY25" fmla="*/ 845344 h 1545431"/>
                    <a:gd name="connsiteX26" fmla="*/ 1466850 w 1819275"/>
                    <a:gd name="connsiteY26" fmla="*/ 802481 h 1545431"/>
                    <a:gd name="connsiteX27" fmla="*/ 1538288 w 1819275"/>
                    <a:gd name="connsiteY27" fmla="*/ 802482 h 1545431"/>
                    <a:gd name="connsiteX28" fmla="*/ 1612105 w 1819275"/>
                    <a:gd name="connsiteY28" fmla="*/ 726282 h 1545431"/>
                    <a:gd name="connsiteX29" fmla="*/ 1676400 w 1819275"/>
                    <a:gd name="connsiteY29" fmla="*/ 733425 h 1545431"/>
                    <a:gd name="connsiteX30" fmla="*/ 1819275 w 1819275"/>
                    <a:gd name="connsiteY30" fmla="*/ 774700 h 1545431"/>
                    <a:gd name="connsiteX31" fmla="*/ 428625 w 1819275"/>
                    <a:gd name="connsiteY31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766763 w 1819275"/>
                    <a:gd name="connsiteY6" fmla="*/ 1173956 h 1545431"/>
                    <a:gd name="connsiteX7" fmla="*/ 738188 w 1819275"/>
                    <a:gd name="connsiteY7" fmla="*/ 1309687 h 1545431"/>
                    <a:gd name="connsiteX8" fmla="*/ 747713 w 1819275"/>
                    <a:gd name="connsiteY8" fmla="*/ 1347787 h 1545431"/>
                    <a:gd name="connsiteX9" fmla="*/ 860425 w 1819275"/>
                    <a:gd name="connsiteY9" fmla="*/ 1215231 h 1545431"/>
                    <a:gd name="connsiteX10" fmla="*/ 1090612 w 1819275"/>
                    <a:gd name="connsiteY10" fmla="*/ 1545431 h 1545431"/>
                    <a:gd name="connsiteX11" fmla="*/ 1121569 w 1819275"/>
                    <a:gd name="connsiteY11" fmla="*/ 1528763 h 1545431"/>
                    <a:gd name="connsiteX12" fmla="*/ 1126331 w 1819275"/>
                    <a:gd name="connsiteY12" fmla="*/ 1459706 h 1545431"/>
                    <a:gd name="connsiteX13" fmla="*/ 1102519 w 1819275"/>
                    <a:gd name="connsiteY13" fmla="*/ 1428750 h 1545431"/>
                    <a:gd name="connsiteX14" fmla="*/ 1104900 w 1819275"/>
                    <a:gd name="connsiteY14" fmla="*/ 1319213 h 1545431"/>
                    <a:gd name="connsiteX15" fmla="*/ 1207294 w 1819275"/>
                    <a:gd name="connsiteY15" fmla="*/ 1314450 h 1545431"/>
                    <a:gd name="connsiteX16" fmla="*/ 1257301 w 1819275"/>
                    <a:gd name="connsiteY16" fmla="*/ 1231107 h 1545431"/>
                    <a:gd name="connsiteX17" fmla="*/ 1321594 w 1819275"/>
                    <a:gd name="connsiteY17" fmla="*/ 1185863 h 1545431"/>
                    <a:gd name="connsiteX18" fmla="*/ 1373982 w 1819275"/>
                    <a:gd name="connsiteY18" fmla="*/ 1193006 h 1545431"/>
                    <a:gd name="connsiteX19" fmla="*/ 1397794 w 1819275"/>
                    <a:gd name="connsiteY19" fmla="*/ 1237456 h 1545431"/>
                    <a:gd name="connsiteX20" fmla="*/ 1445419 w 1819275"/>
                    <a:gd name="connsiteY20" fmla="*/ 1171575 h 1545431"/>
                    <a:gd name="connsiteX21" fmla="*/ 1504950 w 1819275"/>
                    <a:gd name="connsiteY21" fmla="*/ 1178719 h 1545431"/>
                    <a:gd name="connsiteX22" fmla="*/ 1554163 w 1819275"/>
                    <a:gd name="connsiteY22" fmla="*/ 1116806 h 1545431"/>
                    <a:gd name="connsiteX23" fmla="*/ 1554957 w 1819275"/>
                    <a:gd name="connsiteY23" fmla="*/ 983456 h 1545431"/>
                    <a:gd name="connsiteX24" fmla="*/ 1457325 w 1819275"/>
                    <a:gd name="connsiteY24" fmla="*/ 931068 h 1545431"/>
                    <a:gd name="connsiteX25" fmla="*/ 1447801 w 1819275"/>
                    <a:gd name="connsiteY25" fmla="*/ 845344 h 1545431"/>
                    <a:gd name="connsiteX26" fmla="*/ 1466850 w 1819275"/>
                    <a:gd name="connsiteY26" fmla="*/ 802481 h 1545431"/>
                    <a:gd name="connsiteX27" fmla="*/ 1538288 w 1819275"/>
                    <a:gd name="connsiteY27" fmla="*/ 802482 h 1545431"/>
                    <a:gd name="connsiteX28" fmla="*/ 1612105 w 1819275"/>
                    <a:gd name="connsiteY28" fmla="*/ 726282 h 1545431"/>
                    <a:gd name="connsiteX29" fmla="*/ 1676400 w 1819275"/>
                    <a:gd name="connsiteY29" fmla="*/ 733425 h 1545431"/>
                    <a:gd name="connsiteX30" fmla="*/ 1819275 w 1819275"/>
                    <a:gd name="connsiteY30" fmla="*/ 774700 h 1545431"/>
                    <a:gd name="connsiteX31" fmla="*/ 428625 w 1819275"/>
                    <a:gd name="connsiteY31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78656 w 1819275"/>
                    <a:gd name="connsiteY6" fmla="*/ 1212056 h 1545431"/>
                    <a:gd name="connsiteX7" fmla="*/ 766763 w 1819275"/>
                    <a:gd name="connsiteY7" fmla="*/ 1173956 h 1545431"/>
                    <a:gd name="connsiteX8" fmla="*/ 738188 w 1819275"/>
                    <a:gd name="connsiteY8" fmla="*/ 1309687 h 1545431"/>
                    <a:gd name="connsiteX9" fmla="*/ 747713 w 1819275"/>
                    <a:gd name="connsiteY9" fmla="*/ 1347787 h 1545431"/>
                    <a:gd name="connsiteX10" fmla="*/ 860425 w 1819275"/>
                    <a:gd name="connsiteY10" fmla="*/ 1215231 h 1545431"/>
                    <a:gd name="connsiteX11" fmla="*/ 1090612 w 1819275"/>
                    <a:gd name="connsiteY11" fmla="*/ 1545431 h 1545431"/>
                    <a:gd name="connsiteX12" fmla="*/ 1121569 w 1819275"/>
                    <a:gd name="connsiteY12" fmla="*/ 1528763 h 1545431"/>
                    <a:gd name="connsiteX13" fmla="*/ 1126331 w 1819275"/>
                    <a:gd name="connsiteY13" fmla="*/ 1459706 h 1545431"/>
                    <a:gd name="connsiteX14" fmla="*/ 1102519 w 1819275"/>
                    <a:gd name="connsiteY14" fmla="*/ 1428750 h 1545431"/>
                    <a:gd name="connsiteX15" fmla="*/ 1104900 w 1819275"/>
                    <a:gd name="connsiteY15" fmla="*/ 1319213 h 1545431"/>
                    <a:gd name="connsiteX16" fmla="*/ 1207294 w 1819275"/>
                    <a:gd name="connsiteY16" fmla="*/ 1314450 h 1545431"/>
                    <a:gd name="connsiteX17" fmla="*/ 1257301 w 1819275"/>
                    <a:gd name="connsiteY17" fmla="*/ 1231107 h 1545431"/>
                    <a:gd name="connsiteX18" fmla="*/ 1321594 w 1819275"/>
                    <a:gd name="connsiteY18" fmla="*/ 1185863 h 1545431"/>
                    <a:gd name="connsiteX19" fmla="*/ 1373982 w 1819275"/>
                    <a:gd name="connsiteY19" fmla="*/ 1193006 h 1545431"/>
                    <a:gd name="connsiteX20" fmla="*/ 1397794 w 1819275"/>
                    <a:gd name="connsiteY20" fmla="*/ 1237456 h 1545431"/>
                    <a:gd name="connsiteX21" fmla="*/ 1445419 w 1819275"/>
                    <a:gd name="connsiteY21" fmla="*/ 1171575 h 1545431"/>
                    <a:gd name="connsiteX22" fmla="*/ 1504950 w 1819275"/>
                    <a:gd name="connsiteY22" fmla="*/ 1178719 h 1545431"/>
                    <a:gd name="connsiteX23" fmla="*/ 1554163 w 1819275"/>
                    <a:gd name="connsiteY23" fmla="*/ 1116806 h 1545431"/>
                    <a:gd name="connsiteX24" fmla="*/ 1554957 w 1819275"/>
                    <a:gd name="connsiteY24" fmla="*/ 983456 h 1545431"/>
                    <a:gd name="connsiteX25" fmla="*/ 1457325 w 1819275"/>
                    <a:gd name="connsiteY25" fmla="*/ 931068 h 1545431"/>
                    <a:gd name="connsiteX26" fmla="*/ 1447801 w 1819275"/>
                    <a:gd name="connsiteY26" fmla="*/ 845344 h 1545431"/>
                    <a:gd name="connsiteX27" fmla="*/ 1466850 w 1819275"/>
                    <a:gd name="connsiteY27" fmla="*/ 802481 h 1545431"/>
                    <a:gd name="connsiteX28" fmla="*/ 1538288 w 1819275"/>
                    <a:gd name="connsiteY28" fmla="*/ 802482 h 1545431"/>
                    <a:gd name="connsiteX29" fmla="*/ 1612105 w 1819275"/>
                    <a:gd name="connsiteY29" fmla="*/ 726282 h 1545431"/>
                    <a:gd name="connsiteX30" fmla="*/ 1676400 w 1819275"/>
                    <a:gd name="connsiteY30" fmla="*/ 733425 h 1545431"/>
                    <a:gd name="connsiteX31" fmla="*/ 1819275 w 1819275"/>
                    <a:gd name="connsiteY31" fmla="*/ 774700 h 1545431"/>
                    <a:gd name="connsiteX32" fmla="*/ 428625 w 1819275"/>
                    <a:gd name="connsiteY32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40556 w 1819275"/>
                    <a:gd name="connsiteY6" fmla="*/ 1302544 h 1545431"/>
                    <a:gd name="connsiteX7" fmla="*/ 766763 w 1819275"/>
                    <a:gd name="connsiteY7" fmla="*/ 1173956 h 1545431"/>
                    <a:gd name="connsiteX8" fmla="*/ 738188 w 1819275"/>
                    <a:gd name="connsiteY8" fmla="*/ 1309687 h 1545431"/>
                    <a:gd name="connsiteX9" fmla="*/ 747713 w 1819275"/>
                    <a:gd name="connsiteY9" fmla="*/ 1347787 h 1545431"/>
                    <a:gd name="connsiteX10" fmla="*/ 860425 w 1819275"/>
                    <a:gd name="connsiteY10" fmla="*/ 1215231 h 1545431"/>
                    <a:gd name="connsiteX11" fmla="*/ 1090612 w 1819275"/>
                    <a:gd name="connsiteY11" fmla="*/ 1545431 h 1545431"/>
                    <a:gd name="connsiteX12" fmla="*/ 1121569 w 1819275"/>
                    <a:gd name="connsiteY12" fmla="*/ 1528763 h 1545431"/>
                    <a:gd name="connsiteX13" fmla="*/ 1126331 w 1819275"/>
                    <a:gd name="connsiteY13" fmla="*/ 1459706 h 1545431"/>
                    <a:gd name="connsiteX14" fmla="*/ 1102519 w 1819275"/>
                    <a:gd name="connsiteY14" fmla="*/ 1428750 h 1545431"/>
                    <a:gd name="connsiteX15" fmla="*/ 1104900 w 1819275"/>
                    <a:gd name="connsiteY15" fmla="*/ 1319213 h 1545431"/>
                    <a:gd name="connsiteX16" fmla="*/ 1207294 w 1819275"/>
                    <a:gd name="connsiteY16" fmla="*/ 1314450 h 1545431"/>
                    <a:gd name="connsiteX17" fmla="*/ 1257301 w 1819275"/>
                    <a:gd name="connsiteY17" fmla="*/ 1231107 h 1545431"/>
                    <a:gd name="connsiteX18" fmla="*/ 1321594 w 1819275"/>
                    <a:gd name="connsiteY18" fmla="*/ 1185863 h 1545431"/>
                    <a:gd name="connsiteX19" fmla="*/ 1373982 w 1819275"/>
                    <a:gd name="connsiteY19" fmla="*/ 1193006 h 1545431"/>
                    <a:gd name="connsiteX20" fmla="*/ 1397794 w 1819275"/>
                    <a:gd name="connsiteY20" fmla="*/ 1237456 h 1545431"/>
                    <a:gd name="connsiteX21" fmla="*/ 1445419 w 1819275"/>
                    <a:gd name="connsiteY21" fmla="*/ 1171575 h 1545431"/>
                    <a:gd name="connsiteX22" fmla="*/ 1504950 w 1819275"/>
                    <a:gd name="connsiteY22" fmla="*/ 1178719 h 1545431"/>
                    <a:gd name="connsiteX23" fmla="*/ 1554163 w 1819275"/>
                    <a:gd name="connsiteY23" fmla="*/ 1116806 h 1545431"/>
                    <a:gd name="connsiteX24" fmla="*/ 1554957 w 1819275"/>
                    <a:gd name="connsiteY24" fmla="*/ 983456 h 1545431"/>
                    <a:gd name="connsiteX25" fmla="*/ 1457325 w 1819275"/>
                    <a:gd name="connsiteY25" fmla="*/ 931068 h 1545431"/>
                    <a:gd name="connsiteX26" fmla="*/ 1447801 w 1819275"/>
                    <a:gd name="connsiteY26" fmla="*/ 845344 h 1545431"/>
                    <a:gd name="connsiteX27" fmla="*/ 1466850 w 1819275"/>
                    <a:gd name="connsiteY27" fmla="*/ 802481 h 1545431"/>
                    <a:gd name="connsiteX28" fmla="*/ 1538288 w 1819275"/>
                    <a:gd name="connsiteY28" fmla="*/ 802482 h 1545431"/>
                    <a:gd name="connsiteX29" fmla="*/ 1612105 w 1819275"/>
                    <a:gd name="connsiteY29" fmla="*/ 726282 h 1545431"/>
                    <a:gd name="connsiteX30" fmla="*/ 1676400 w 1819275"/>
                    <a:gd name="connsiteY30" fmla="*/ 733425 h 1545431"/>
                    <a:gd name="connsiteX31" fmla="*/ 1819275 w 1819275"/>
                    <a:gd name="connsiteY31" fmla="*/ 774700 h 1545431"/>
                    <a:gd name="connsiteX32" fmla="*/ 428625 w 1819275"/>
                    <a:gd name="connsiteY32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40556 w 1819275"/>
                    <a:gd name="connsiteY6" fmla="*/ 1302544 h 1545431"/>
                    <a:gd name="connsiteX7" fmla="*/ 700088 w 1819275"/>
                    <a:gd name="connsiteY7" fmla="*/ 1245394 h 1545431"/>
                    <a:gd name="connsiteX8" fmla="*/ 766763 w 1819275"/>
                    <a:gd name="connsiteY8" fmla="*/ 1173956 h 1545431"/>
                    <a:gd name="connsiteX9" fmla="*/ 738188 w 1819275"/>
                    <a:gd name="connsiteY9" fmla="*/ 1309687 h 1545431"/>
                    <a:gd name="connsiteX10" fmla="*/ 747713 w 1819275"/>
                    <a:gd name="connsiteY10" fmla="*/ 1347787 h 1545431"/>
                    <a:gd name="connsiteX11" fmla="*/ 860425 w 1819275"/>
                    <a:gd name="connsiteY11" fmla="*/ 1215231 h 1545431"/>
                    <a:gd name="connsiteX12" fmla="*/ 1090612 w 1819275"/>
                    <a:gd name="connsiteY12" fmla="*/ 1545431 h 1545431"/>
                    <a:gd name="connsiteX13" fmla="*/ 1121569 w 1819275"/>
                    <a:gd name="connsiteY13" fmla="*/ 1528763 h 1545431"/>
                    <a:gd name="connsiteX14" fmla="*/ 1126331 w 1819275"/>
                    <a:gd name="connsiteY14" fmla="*/ 1459706 h 1545431"/>
                    <a:gd name="connsiteX15" fmla="*/ 1102519 w 1819275"/>
                    <a:gd name="connsiteY15" fmla="*/ 1428750 h 1545431"/>
                    <a:gd name="connsiteX16" fmla="*/ 1104900 w 1819275"/>
                    <a:gd name="connsiteY16" fmla="*/ 1319213 h 1545431"/>
                    <a:gd name="connsiteX17" fmla="*/ 1207294 w 1819275"/>
                    <a:gd name="connsiteY17" fmla="*/ 1314450 h 1545431"/>
                    <a:gd name="connsiteX18" fmla="*/ 1257301 w 1819275"/>
                    <a:gd name="connsiteY18" fmla="*/ 1231107 h 1545431"/>
                    <a:gd name="connsiteX19" fmla="*/ 1321594 w 1819275"/>
                    <a:gd name="connsiteY19" fmla="*/ 1185863 h 1545431"/>
                    <a:gd name="connsiteX20" fmla="*/ 1373982 w 1819275"/>
                    <a:gd name="connsiteY20" fmla="*/ 1193006 h 1545431"/>
                    <a:gd name="connsiteX21" fmla="*/ 1397794 w 1819275"/>
                    <a:gd name="connsiteY21" fmla="*/ 1237456 h 1545431"/>
                    <a:gd name="connsiteX22" fmla="*/ 1445419 w 1819275"/>
                    <a:gd name="connsiteY22" fmla="*/ 1171575 h 1545431"/>
                    <a:gd name="connsiteX23" fmla="*/ 1504950 w 1819275"/>
                    <a:gd name="connsiteY23" fmla="*/ 1178719 h 1545431"/>
                    <a:gd name="connsiteX24" fmla="*/ 1554163 w 1819275"/>
                    <a:gd name="connsiteY24" fmla="*/ 1116806 h 1545431"/>
                    <a:gd name="connsiteX25" fmla="*/ 1554957 w 1819275"/>
                    <a:gd name="connsiteY25" fmla="*/ 983456 h 1545431"/>
                    <a:gd name="connsiteX26" fmla="*/ 1457325 w 1819275"/>
                    <a:gd name="connsiteY26" fmla="*/ 931068 h 1545431"/>
                    <a:gd name="connsiteX27" fmla="*/ 1447801 w 1819275"/>
                    <a:gd name="connsiteY27" fmla="*/ 845344 h 1545431"/>
                    <a:gd name="connsiteX28" fmla="*/ 1466850 w 1819275"/>
                    <a:gd name="connsiteY28" fmla="*/ 802481 h 1545431"/>
                    <a:gd name="connsiteX29" fmla="*/ 1538288 w 1819275"/>
                    <a:gd name="connsiteY29" fmla="*/ 802482 h 1545431"/>
                    <a:gd name="connsiteX30" fmla="*/ 1612105 w 1819275"/>
                    <a:gd name="connsiteY30" fmla="*/ 726282 h 1545431"/>
                    <a:gd name="connsiteX31" fmla="*/ 1676400 w 1819275"/>
                    <a:gd name="connsiteY31" fmla="*/ 733425 h 1545431"/>
                    <a:gd name="connsiteX32" fmla="*/ 1819275 w 1819275"/>
                    <a:gd name="connsiteY32" fmla="*/ 774700 h 1545431"/>
                    <a:gd name="connsiteX33" fmla="*/ 428625 w 1819275"/>
                    <a:gd name="connsiteY33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40556 w 1819275"/>
                    <a:gd name="connsiteY6" fmla="*/ 1302544 h 1545431"/>
                    <a:gd name="connsiteX7" fmla="*/ 723901 w 1819275"/>
                    <a:gd name="connsiteY7" fmla="*/ 1162050 h 1545431"/>
                    <a:gd name="connsiteX8" fmla="*/ 766763 w 1819275"/>
                    <a:gd name="connsiteY8" fmla="*/ 1173956 h 1545431"/>
                    <a:gd name="connsiteX9" fmla="*/ 738188 w 1819275"/>
                    <a:gd name="connsiteY9" fmla="*/ 1309687 h 1545431"/>
                    <a:gd name="connsiteX10" fmla="*/ 747713 w 1819275"/>
                    <a:gd name="connsiteY10" fmla="*/ 1347787 h 1545431"/>
                    <a:gd name="connsiteX11" fmla="*/ 860425 w 1819275"/>
                    <a:gd name="connsiteY11" fmla="*/ 1215231 h 1545431"/>
                    <a:gd name="connsiteX12" fmla="*/ 1090612 w 1819275"/>
                    <a:gd name="connsiteY12" fmla="*/ 1545431 h 1545431"/>
                    <a:gd name="connsiteX13" fmla="*/ 1121569 w 1819275"/>
                    <a:gd name="connsiteY13" fmla="*/ 1528763 h 1545431"/>
                    <a:gd name="connsiteX14" fmla="*/ 1126331 w 1819275"/>
                    <a:gd name="connsiteY14" fmla="*/ 1459706 h 1545431"/>
                    <a:gd name="connsiteX15" fmla="*/ 1102519 w 1819275"/>
                    <a:gd name="connsiteY15" fmla="*/ 1428750 h 1545431"/>
                    <a:gd name="connsiteX16" fmla="*/ 1104900 w 1819275"/>
                    <a:gd name="connsiteY16" fmla="*/ 1319213 h 1545431"/>
                    <a:gd name="connsiteX17" fmla="*/ 1207294 w 1819275"/>
                    <a:gd name="connsiteY17" fmla="*/ 1314450 h 1545431"/>
                    <a:gd name="connsiteX18" fmla="*/ 1257301 w 1819275"/>
                    <a:gd name="connsiteY18" fmla="*/ 1231107 h 1545431"/>
                    <a:gd name="connsiteX19" fmla="*/ 1321594 w 1819275"/>
                    <a:gd name="connsiteY19" fmla="*/ 1185863 h 1545431"/>
                    <a:gd name="connsiteX20" fmla="*/ 1373982 w 1819275"/>
                    <a:gd name="connsiteY20" fmla="*/ 1193006 h 1545431"/>
                    <a:gd name="connsiteX21" fmla="*/ 1397794 w 1819275"/>
                    <a:gd name="connsiteY21" fmla="*/ 1237456 h 1545431"/>
                    <a:gd name="connsiteX22" fmla="*/ 1445419 w 1819275"/>
                    <a:gd name="connsiteY22" fmla="*/ 1171575 h 1545431"/>
                    <a:gd name="connsiteX23" fmla="*/ 1504950 w 1819275"/>
                    <a:gd name="connsiteY23" fmla="*/ 1178719 h 1545431"/>
                    <a:gd name="connsiteX24" fmla="*/ 1554163 w 1819275"/>
                    <a:gd name="connsiteY24" fmla="*/ 1116806 h 1545431"/>
                    <a:gd name="connsiteX25" fmla="*/ 1554957 w 1819275"/>
                    <a:gd name="connsiteY25" fmla="*/ 983456 h 1545431"/>
                    <a:gd name="connsiteX26" fmla="*/ 1457325 w 1819275"/>
                    <a:gd name="connsiteY26" fmla="*/ 931068 h 1545431"/>
                    <a:gd name="connsiteX27" fmla="*/ 1447801 w 1819275"/>
                    <a:gd name="connsiteY27" fmla="*/ 845344 h 1545431"/>
                    <a:gd name="connsiteX28" fmla="*/ 1466850 w 1819275"/>
                    <a:gd name="connsiteY28" fmla="*/ 802481 h 1545431"/>
                    <a:gd name="connsiteX29" fmla="*/ 1538288 w 1819275"/>
                    <a:gd name="connsiteY29" fmla="*/ 802482 h 1545431"/>
                    <a:gd name="connsiteX30" fmla="*/ 1612105 w 1819275"/>
                    <a:gd name="connsiteY30" fmla="*/ 726282 h 1545431"/>
                    <a:gd name="connsiteX31" fmla="*/ 1676400 w 1819275"/>
                    <a:gd name="connsiteY31" fmla="*/ 733425 h 1545431"/>
                    <a:gd name="connsiteX32" fmla="*/ 1819275 w 1819275"/>
                    <a:gd name="connsiteY32" fmla="*/ 774700 h 1545431"/>
                    <a:gd name="connsiteX33" fmla="*/ 428625 w 1819275"/>
                    <a:gd name="connsiteY33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40556 w 1819275"/>
                    <a:gd name="connsiteY6" fmla="*/ 1302544 h 1545431"/>
                    <a:gd name="connsiteX7" fmla="*/ 671513 w 1819275"/>
                    <a:gd name="connsiteY7" fmla="*/ 1235869 h 1545431"/>
                    <a:gd name="connsiteX8" fmla="*/ 723901 w 1819275"/>
                    <a:gd name="connsiteY8" fmla="*/ 1162050 h 1545431"/>
                    <a:gd name="connsiteX9" fmla="*/ 766763 w 1819275"/>
                    <a:gd name="connsiteY9" fmla="*/ 1173956 h 1545431"/>
                    <a:gd name="connsiteX10" fmla="*/ 738188 w 1819275"/>
                    <a:gd name="connsiteY10" fmla="*/ 1309687 h 1545431"/>
                    <a:gd name="connsiteX11" fmla="*/ 747713 w 1819275"/>
                    <a:gd name="connsiteY11" fmla="*/ 1347787 h 1545431"/>
                    <a:gd name="connsiteX12" fmla="*/ 860425 w 1819275"/>
                    <a:gd name="connsiteY12" fmla="*/ 1215231 h 1545431"/>
                    <a:gd name="connsiteX13" fmla="*/ 1090612 w 1819275"/>
                    <a:gd name="connsiteY13" fmla="*/ 1545431 h 1545431"/>
                    <a:gd name="connsiteX14" fmla="*/ 1121569 w 1819275"/>
                    <a:gd name="connsiteY14" fmla="*/ 1528763 h 1545431"/>
                    <a:gd name="connsiteX15" fmla="*/ 1126331 w 1819275"/>
                    <a:gd name="connsiteY15" fmla="*/ 1459706 h 1545431"/>
                    <a:gd name="connsiteX16" fmla="*/ 1102519 w 1819275"/>
                    <a:gd name="connsiteY16" fmla="*/ 1428750 h 1545431"/>
                    <a:gd name="connsiteX17" fmla="*/ 1104900 w 1819275"/>
                    <a:gd name="connsiteY17" fmla="*/ 1319213 h 1545431"/>
                    <a:gd name="connsiteX18" fmla="*/ 1207294 w 1819275"/>
                    <a:gd name="connsiteY18" fmla="*/ 1314450 h 1545431"/>
                    <a:gd name="connsiteX19" fmla="*/ 1257301 w 1819275"/>
                    <a:gd name="connsiteY19" fmla="*/ 1231107 h 1545431"/>
                    <a:gd name="connsiteX20" fmla="*/ 1321594 w 1819275"/>
                    <a:gd name="connsiteY20" fmla="*/ 1185863 h 1545431"/>
                    <a:gd name="connsiteX21" fmla="*/ 1373982 w 1819275"/>
                    <a:gd name="connsiteY21" fmla="*/ 1193006 h 1545431"/>
                    <a:gd name="connsiteX22" fmla="*/ 1397794 w 1819275"/>
                    <a:gd name="connsiteY22" fmla="*/ 1237456 h 1545431"/>
                    <a:gd name="connsiteX23" fmla="*/ 1445419 w 1819275"/>
                    <a:gd name="connsiteY23" fmla="*/ 1171575 h 1545431"/>
                    <a:gd name="connsiteX24" fmla="*/ 1504950 w 1819275"/>
                    <a:gd name="connsiteY24" fmla="*/ 1178719 h 1545431"/>
                    <a:gd name="connsiteX25" fmla="*/ 1554163 w 1819275"/>
                    <a:gd name="connsiteY25" fmla="*/ 1116806 h 1545431"/>
                    <a:gd name="connsiteX26" fmla="*/ 1554957 w 1819275"/>
                    <a:gd name="connsiteY26" fmla="*/ 983456 h 1545431"/>
                    <a:gd name="connsiteX27" fmla="*/ 1457325 w 1819275"/>
                    <a:gd name="connsiteY27" fmla="*/ 931068 h 1545431"/>
                    <a:gd name="connsiteX28" fmla="*/ 1447801 w 1819275"/>
                    <a:gd name="connsiteY28" fmla="*/ 845344 h 1545431"/>
                    <a:gd name="connsiteX29" fmla="*/ 1466850 w 1819275"/>
                    <a:gd name="connsiteY29" fmla="*/ 802481 h 1545431"/>
                    <a:gd name="connsiteX30" fmla="*/ 1538288 w 1819275"/>
                    <a:gd name="connsiteY30" fmla="*/ 802482 h 1545431"/>
                    <a:gd name="connsiteX31" fmla="*/ 1612105 w 1819275"/>
                    <a:gd name="connsiteY31" fmla="*/ 726282 h 1545431"/>
                    <a:gd name="connsiteX32" fmla="*/ 1676400 w 1819275"/>
                    <a:gd name="connsiteY32" fmla="*/ 733425 h 1545431"/>
                    <a:gd name="connsiteX33" fmla="*/ 1819275 w 1819275"/>
                    <a:gd name="connsiteY33" fmla="*/ 774700 h 1545431"/>
                    <a:gd name="connsiteX34" fmla="*/ 428625 w 1819275"/>
                    <a:gd name="connsiteY34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40556 w 1819275"/>
                    <a:gd name="connsiteY6" fmla="*/ 1302544 h 1545431"/>
                    <a:gd name="connsiteX7" fmla="*/ 723900 w 1819275"/>
                    <a:gd name="connsiteY7" fmla="*/ 1283494 h 1545431"/>
                    <a:gd name="connsiteX8" fmla="*/ 723901 w 1819275"/>
                    <a:gd name="connsiteY8" fmla="*/ 1162050 h 1545431"/>
                    <a:gd name="connsiteX9" fmla="*/ 766763 w 1819275"/>
                    <a:gd name="connsiteY9" fmla="*/ 1173956 h 1545431"/>
                    <a:gd name="connsiteX10" fmla="*/ 738188 w 1819275"/>
                    <a:gd name="connsiteY10" fmla="*/ 1309687 h 1545431"/>
                    <a:gd name="connsiteX11" fmla="*/ 747713 w 1819275"/>
                    <a:gd name="connsiteY11" fmla="*/ 1347787 h 1545431"/>
                    <a:gd name="connsiteX12" fmla="*/ 860425 w 1819275"/>
                    <a:gd name="connsiteY12" fmla="*/ 1215231 h 1545431"/>
                    <a:gd name="connsiteX13" fmla="*/ 1090612 w 1819275"/>
                    <a:gd name="connsiteY13" fmla="*/ 1545431 h 1545431"/>
                    <a:gd name="connsiteX14" fmla="*/ 1121569 w 1819275"/>
                    <a:gd name="connsiteY14" fmla="*/ 1528763 h 1545431"/>
                    <a:gd name="connsiteX15" fmla="*/ 1126331 w 1819275"/>
                    <a:gd name="connsiteY15" fmla="*/ 1459706 h 1545431"/>
                    <a:gd name="connsiteX16" fmla="*/ 1102519 w 1819275"/>
                    <a:gd name="connsiteY16" fmla="*/ 1428750 h 1545431"/>
                    <a:gd name="connsiteX17" fmla="*/ 1104900 w 1819275"/>
                    <a:gd name="connsiteY17" fmla="*/ 1319213 h 1545431"/>
                    <a:gd name="connsiteX18" fmla="*/ 1207294 w 1819275"/>
                    <a:gd name="connsiteY18" fmla="*/ 1314450 h 1545431"/>
                    <a:gd name="connsiteX19" fmla="*/ 1257301 w 1819275"/>
                    <a:gd name="connsiteY19" fmla="*/ 1231107 h 1545431"/>
                    <a:gd name="connsiteX20" fmla="*/ 1321594 w 1819275"/>
                    <a:gd name="connsiteY20" fmla="*/ 1185863 h 1545431"/>
                    <a:gd name="connsiteX21" fmla="*/ 1373982 w 1819275"/>
                    <a:gd name="connsiteY21" fmla="*/ 1193006 h 1545431"/>
                    <a:gd name="connsiteX22" fmla="*/ 1397794 w 1819275"/>
                    <a:gd name="connsiteY22" fmla="*/ 1237456 h 1545431"/>
                    <a:gd name="connsiteX23" fmla="*/ 1445419 w 1819275"/>
                    <a:gd name="connsiteY23" fmla="*/ 1171575 h 1545431"/>
                    <a:gd name="connsiteX24" fmla="*/ 1504950 w 1819275"/>
                    <a:gd name="connsiteY24" fmla="*/ 1178719 h 1545431"/>
                    <a:gd name="connsiteX25" fmla="*/ 1554163 w 1819275"/>
                    <a:gd name="connsiteY25" fmla="*/ 1116806 h 1545431"/>
                    <a:gd name="connsiteX26" fmla="*/ 1554957 w 1819275"/>
                    <a:gd name="connsiteY26" fmla="*/ 983456 h 1545431"/>
                    <a:gd name="connsiteX27" fmla="*/ 1457325 w 1819275"/>
                    <a:gd name="connsiteY27" fmla="*/ 931068 h 1545431"/>
                    <a:gd name="connsiteX28" fmla="*/ 1447801 w 1819275"/>
                    <a:gd name="connsiteY28" fmla="*/ 845344 h 1545431"/>
                    <a:gd name="connsiteX29" fmla="*/ 1466850 w 1819275"/>
                    <a:gd name="connsiteY29" fmla="*/ 802481 h 1545431"/>
                    <a:gd name="connsiteX30" fmla="*/ 1538288 w 1819275"/>
                    <a:gd name="connsiteY30" fmla="*/ 802482 h 1545431"/>
                    <a:gd name="connsiteX31" fmla="*/ 1612105 w 1819275"/>
                    <a:gd name="connsiteY31" fmla="*/ 726282 h 1545431"/>
                    <a:gd name="connsiteX32" fmla="*/ 1676400 w 1819275"/>
                    <a:gd name="connsiteY32" fmla="*/ 733425 h 1545431"/>
                    <a:gd name="connsiteX33" fmla="*/ 1819275 w 1819275"/>
                    <a:gd name="connsiteY33" fmla="*/ 774700 h 1545431"/>
                    <a:gd name="connsiteX34" fmla="*/ 428625 w 1819275"/>
                    <a:gd name="connsiteY34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40556 w 1819275"/>
                    <a:gd name="connsiteY6" fmla="*/ 1302544 h 1545431"/>
                    <a:gd name="connsiteX7" fmla="*/ 723900 w 1819275"/>
                    <a:gd name="connsiteY7" fmla="*/ 1283494 h 1545431"/>
                    <a:gd name="connsiteX8" fmla="*/ 723901 w 1819275"/>
                    <a:gd name="connsiteY8" fmla="*/ 1162050 h 1545431"/>
                    <a:gd name="connsiteX9" fmla="*/ 766763 w 1819275"/>
                    <a:gd name="connsiteY9" fmla="*/ 1173956 h 1545431"/>
                    <a:gd name="connsiteX10" fmla="*/ 738188 w 1819275"/>
                    <a:gd name="connsiteY10" fmla="*/ 1309687 h 1545431"/>
                    <a:gd name="connsiteX11" fmla="*/ 747713 w 1819275"/>
                    <a:gd name="connsiteY11" fmla="*/ 1347787 h 1545431"/>
                    <a:gd name="connsiteX12" fmla="*/ 860425 w 1819275"/>
                    <a:gd name="connsiteY12" fmla="*/ 1215231 h 1545431"/>
                    <a:gd name="connsiteX13" fmla="*/ 1090612 w 1819275"/>
                    <a:gd name="connsiteY13" fmla="*/ 1545431 h 1545431"/>
                    <a:gd name="connsiteX14" fmla="*/ 1121569 w 1819275"/>
                    <a:gd name="connsiteY14" fmla="*/ 1528763 h 1545431"/>
                    <a:gd name="connsiteX15" fmla="*/ 1126331 w 1819275"/>
                    <a:gd name="connsiteY15" fmla="*/ 1459706 h 1545431"/>
                    <a:gd name="connsiteX16" fmla="*/ 1102519 w 1819275"/>
                    <a:gd name="connsiteY16" fmla="*/ 1428750 h 1545431"/>
                    <a:gd name="connsiteX17" fmla="*/ 1104900 w 1819275"/>
                    <a:gd name="connsiteY17" fmla="*/ 1319213 h 1545431"/>
                    <a:gd name="connsiteX18" fmla="*/ 1207294 w 1819275"/>
                    <a:gd name="connsiteY18" fmla="*/ 1314450 h 1545431"/>
                    <a:gd name="connsiteX19" fmla="*/ 1257301 w 1819275"/>
                    <a:gd name="connsiteY19" fmla="*/ 1231107 h 1545431"/>
                    <a:gd name="connsiteX20" fmla="*/ 1321594 w 1819275"/>
                    <a:gd name="connsiteY20" fmla="*/ 1185863 h 1545431"/>
                    <a:gd name="connsiteX21" fmla="*/ 1373982 w 1819275"/>
                    <a:gd name="connsiteY21" fmla="*/ 1193006 h 1545431"/>
                    <a:gd name="connsiteX22" fmla="*/ 1397794 w 1819275"/>
                    <a:gd name="connsiteY22" fmla="*/ 1237456 h 1545431"/>
                    <a:gd name="connsiteX23" fmla="*/ 1445419 w 1819275"/>
                    <a:gd name="connsiteY23" fmla="*/ 1171575 h 1545431"/>
                    <a:gd name="connsiteX24" fmla="*/ 1504950 w 1819275"/>
                    <a:gd name="connsiteY24" fmla="*/ 1178719 h 1545431"/>
                    <a:gd name="connsiteX25" fmla="*/ 1554163 w 1819275"/>
                    <a:gd name="connsiteY25" fmla="*/ 1116806 h 1545431"/>
                    <a:gd name="connsiteX26" fmla="*/ 1554957 w 1819275"/>
                    <a:gd name="connsiteY26" fmla="*/ 983456 h 1545431"/>
                    <a:gd name="connsiteX27" fmla="*/ 1457325 w 1819275"/>
                    <a:gd name="connsiteY27" fmla="*/ 931068 h 1545431"/>
                    <a:gd name="connsiteX28" fmla="*/ 1447801 w 1819275"/>
                    <a:gd name="connsiteY28" fmla="*/ 845344 h 1545431"/>
                    <a:gd name="connsiteX29" fmla="*/ 1466850 w 1819275"/>
                    <a:gd name="connsiteY29" fmla="*/ 802481 h 1545431"/>
                    <a:gd name="connsiteX30" fmla="*/ 1538288 w 1819275"/>
                    <a:gd name="connsiteY30" fmla="*/ 802482 h 1545431"/>
                    <a:gd name="connsiteX31" fmla="*/ 1612105 w 1819275"/>
                    <a:gd name="connsiteY31" fmla="*/ 726282 h 1545431"/>
                    <a:gd name="connsiteX32" fmla="*/ 1676400 w 1819275"/>
                    <a:gd name="connsiteY32" fmla="*/ 733425 h 1545431"/>
                    <a:gd name="connsiteX33" fmla="*/ 1819275 w 1819275"/>
                    <a:gd name="connsiteY33" fmla="*/ 774700 h 1545431"/>
                    <a:gd name="connsiteX34" fmla="*/ 428625 w 1819275"/>
                    <a:gd name="connsiteY34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316706 w 1819275"/>
                    <a:gd name="connsiteY6" fmla="*/ 1397794 h 1545431"/>
                    <a:gd name="connsiteX7" fmla="*/ 640556 w 1819275"/>
                    <a:gd name="connsiteY7" fmla="*/ 1302544 h 1545431"/>
                    <a:gd name="connsiteX8" fmla="*/ 723900 w 1819275"/>
                    <a:gd name="connsiteY8" fmla="*/ 1283494 h 1545431"/>
                    <a:gd name="connsiteX9" fmla="*/ 723901 w 1819275"/>
                    <a:gd name="connsiteY9" fmla="*/ 1162050 h 1545431"/>
                    <a:gd name="connsiteX10" fmla="*/ 766763 w 1819275"/>
                    <a:gd name="connsiteY10" fmla="*/ 1173956 h 1545431"/>
                    <a:gd name="connsiteX11" fmla="*/ 738188 w 1819275"/>
                    <a:gd name="connsiteY11" fmla="*/ 1309687 h 1545431"/>
                    <a:gd name="connsiteX12" fmla="*/ 747713 w 1819275"/>
                    <a:gd name="connsiteY12" fmla="*/ 1347787 h 1545431"/>
                    <a:gd name="connsiteX13" fmla="*/ 860425 w 1819275"/>
                    <a:gd name="connsiteY13" fmla="*/ 1215231 h 1545431"/>
                    <a:gd name="connsiteX14" fmla="*/ 1090612 w 1819275"/>
                    <a:gd name="connsiteY14" fmla="*/ 1545431 h 1545431"/>
                    <a:gd name="connsiteX15" fmla="*/ 1121569 w 1819275"/>
                    <a:gd name="connsiteY15" fmla="*/ 1528763 h 1545431"/>
                    <a:gd name="connsiteX16" fmla="*/ 1126331 w 1819275"/>
                    <a:gd name="connsiteY16" fmla="*/ 1459706 h 1545431"/>
                    <a:gd name="connsiteX17" fmla="*/ 1102519 w 1819275"/>
                    <a:gd name="connsiteY17" fmla="*/ 1428750 h 1545431"/>
                    <a:gd name="connsiteX18" fmla="*/ 1104900 w 1819275"/>
                    <a:gd name="connsiteY18" fmla="*/ 1319213 h 1545431"/>
                    <a:gd name="connsiteX19" fmla="*/ 1207294 w 1819275"/>
                    <a:gd name="connsiteY19" fmla="*/ 1314450 h 1545431"/>
                    <a:gd name="connsiteX20" fmla="*/ 1257301 w 1819275"/>
                    <a:gd name="connsiteY20" fmla="*/ 1231107 h 1545431"/>
                    <a:gd name="connsiteX21" fmla="*/ 1321594 w 1819275"/>
                    <a:gd name="connsiteY21" fmla="*/ 1185863 h 1545431"/>
                    <a:gd name="connsiteX22" fmla="*/ 1373982 w 1819275"/>
                    <a:gd name="connsiteY22" fmla="*/ 1193006 h 1545431"/>
                    <a:gd name="connsiteX23" fmla="*/ 1397794 w 1819275"/>
                    <a:gd name="connsiteY23" fmla="*/ 1237456 h 1545431"/>
                    <a:gd name="connsiteX24" fmla="*/ 1445419 w 1819275"/>
                    <a:gd name="connsiteY24" fmla="*/ 1171575 h 1545431"/>
                    <a:gd name="connsiteX25" fmla="*/ 1504950 w 1819275"/>
                    <a:gd name="connsiteY25" fmla="*/ 1178719 h 1545431"/>
                    <a:gd name="connsiteX26" fmla="*/ 1554163 w 1819275"/>
                    <a:gd name="connsiteY26" fmla="*/ 1116806 h 1545431"/>
                    <a:gd name="connsiteX27" fmla="*/ 1554957 w 1819275"/>
                    <a:gd name="connsiteY27" fmla="*/ 983456 h 1545431"/>
                    <a:gd name="connsiteX28" fmla="*/ 1457325 w 1819275"/>
                    <a:gd name="connsiteY28" fmla="*/ 931068 h 1545431"/>
                    <a:gd name="connsiteX29" fmla="*/ 1447801 w 1819275"/>
                    <a:gd name="connsiteY29" fmla="*/ 845344 h 1545431"/>
                    <a:gd name="connsiteX30" fmla="*/ 1466850 w 1819275"/>
                    <a:gd name="connsiteY30" fmla="*/ 802481 h 1545431"/>
                    <a:gd name="connsiteX31" fmla="*/ 1538288 w 1819275"/>
                    <a:gd name="connsiteY31" fmla="*/ 802482 h 1545431"/>
                    <a:gd name="connsiteX32" fmla="*/ 1612105 w 1819275"/>
                    <a:gd name="connsiteY32" fmla="*/ 726282 h 1545431"/>
                    <a:gd name="connsiteX33" fmla="*/ 1676400 w 1819275"/>
                    <a:gd name="connsiteY33" fmla="*/ 733425 h 1545431"/>
                    <a:gd name="connsiteX34" fmla="*/ 1819275 w 1819275"/>
                    <a:gd name="connsiteY34" fmla="*/ 774700 h 1545431"/>
                    <a:gd name="connsiteX35" fmla="*/ 428625 w 1819275"/>
                    <a:gd name="connsiteY35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631031 w 1819275"/>
                    <a:gd name="connsiteY6" fmla="*/ 1245394 h 1545431"/>
                    <a:gd name="connsiteX7" fmla="*/ 640556 w 1819275"/>
                    <a:gd name="connsiteY7" fmla="*/ 1302544 h 1545431"/>
                    <a:gd name="connsiteX8" fmla="*/ 723900 w 1819275"/>
                    <a:gd name="connsiteY8" fmla="*/ 1283494 h 1545431"/>
                    <a:gd name="connsiteX9" fmla="*/ 723901 w 1819275"/>
                    <a:gd name="connsiteY9" fmla="*/ 1162050 h 1545431"/>
                    <a:gd name="connsiteX10" fmla="*/ 766763 w 1819275"/>
                    <a:gd name="connsiteY10" fmla="*/ 1173956 h 1545431"/>
                    <a:gd name="connsiteX11" fmla="*/ 738188 w 1819275"/>
                    <a:gd name="connsiteY11" fmla="*/ 1309687 h 1545431"/>
                    <a:gd name="connsiteX12" fmla="*/ 747713 w 1819275"/>
                    <a:gd name="connsiteY12" fmla="*/ 1347787 h 1545431"/>
                    <a:gd name="connsiteX13" fmla="*/ 860425 w 1819275"/>
                    <a:gd name="connsiteY13" fmla="*/ 1215231 h 1545431"/>
                    <a:gd name="connsiteX14" fmla="*/ 1090612 w 1819275"/>
                    <a:gd name="connsiteY14" fmla="*/ 1545431 h 1545431"/>
                    <a:gd name="connsiteX15" fmla="*/ 1121569 w 1819275"/>
                    <a:gd name="connsiteY15" fmla="*/ 1528763 h 1545431"/>
                    <a:gd name="connsiteX16" fmla="*/ 1126331 w 1819275"/>
                    <a:gd name="connsiteY16" fmla="*/ 1459706 h 1545431"/>
                    <a:gd name="connsiteX17" fmla="*/ 1102519 w 1819275"/>
                    <a:gd name="connsiteY17" fmla="*/ 1428750 h 1545431"/>
                    <a:gd name="connsiteX18" fmla="*/ 1104900 w 1819275"/>
                    <a:gd name="connsiteY18" fmla="*/ 1319213 h 1545431"/>
                    <a:gd name="connsiteX19" fmla="*/ 1207294 w 1819275"/>
                    <a:gd name="connsiteY19" fmla="*/ 1314450 h 1545431"/>
                    <a:gd name="connsiteX20" fmla="*/ 1257301 w 1819275"/>
                    <a:gd name="connsiteY20" fmla="*/ 1231107 h 1545431"/>
                    <a:gd name="connsiteX21" fmla="*/ 1321594 w 1819275"/>
                    <a:gd name="connsiteY21" fmla="*/ 1185863 h 1545431"/>
                    <a:gd name="connsiteX22" fmla="*/ 1373982 w 1819275"/>
                    <a:gd name="connsiteY22" fmla="*/ 1193006 h 1545431"/>
                    <a:gd name="connsiteX23" fmla="*/ 1397794 w 1819275"/>
                    <a:gd name="connsiteY23" fmla="*/ 1237456 h 1545431"/>
                    <a:gd name="connsiteX24" fmla="*/ 1445419 w 1819275"/>
                    <a:gd name="connsiteY24" fmla="*/ 1171575 h 1545431"/>
                    <a:gd name="connsiteX25" fmla="*/ 1504950 w 1819275"/>
                    <a:gd name="connsiteY25" fmla="*/ 1178719 h 1545431"/>
                    <a:gd name="connsiteX26" fmla="*/ 1554163 w 1819275"/>
                    <a:gd name="connsiteY26" fmla="*/ 1116806 h 1545431"/>
                    <a:gd name="connsiteX27" fmla="*/ 1554957 w 1819275"/>
                    <a:gd name="connsiteY27" fmla="*/ 983456 h 1545431"/>
                    <a:gd name="connsiteX28" fmla="*/ 1457325 w 1819275"/>
                    <a:gd name="connsiteY28" fmla="*/ 931068 h 1545431"/>
                    <a:gd name="connsiteX29" fmla="*/ 1447801 w 1819275"/>
                    <a:gd name="connsiteY29" fmla="*/ 845344 h 1545431"/>
                    <a:gd name="connsiteX30" fmla="*/ 1466850 w 1819275"/>
                    <a:gd name="connsiteY30" fmla="*/ 802481 h 1545431"/>
                    <a:gd name="connsiteX31" fmla="*/ 1538288 w 1819275"/>
                    <a:gd name="connsiteY31" fmla="*/ 802482 h 1545431"/>
                    <a:gd name="connsiteX32" fmla="*/ 1612105 w 1819275"/>
                    <a:gd name="connsiteY32" fmla="*/ 726282 h 1545431"/>
                    <a:gd name="connsiteX33" fmla="*/ 1676400 w 1819275"/>
                    <a:gd name="connsiteY33" fmla="*/ 733425 h 1545431"/>
                    <a:gd name="connsiteX34" fmla="*/ 1819275 w 1819275"/>
                    <a:gd name="connsiteY34" fmla="*/ 774700 h 1545431"/>
                    <a:gd name="connsiteX35" fmla="*/ 428625 w 1819275"/>
                    <a:gd name="connsiteY35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500063 w 1819275"/>
                    <a:gd name="connsiteY6" fmla="*/ 1293019 h 1545431"/>
                    <a:gd name="connsiteX7" fmla="*/ 631031 w 1819275"/>
                    <a:gd name="connsiteY7" fmla="*/ 1245394 h 1545431"/>
                    <a:gd name="connsiteX8" fmla="*/ 640556 w 1819275"/>
                    <a:gd name="connsiteY8" fmla="*/ 1302544 h 1545431"/>
                    <a:gd name="connsiteX9" fmla="*/ 723900 w 1819275"/>
                    <a:gd name="connsiteY9" fmla="*/ 1283494 h 1545431"/>
                    <a:gd name="connsiteX10" fmla="*/ 723901 w 1819275"/>
                    <a:gd name="connsiteY10" fmla="*/ 1162050 h 1545431"/>
                    <a:gd name="connsiteX11" fmla="*/ 766763 w 1819275"/>
                    <a:gd name="connsiteY11" fmla="*/ 1173956 h 1545431"/>
                    <a:gd name="connsiteX12" fmla="*/ 738188 w 1819275"/>
                    <a:gd name="connsiteY12" fmla="*/ 1309687 h 1545431"/>
                    <a:gd name="connsiteX13" fmla="*/ 747713 w 1819275"/>
                    <a:gd name="connsiteY13" fmla="*/ 1347787 h 1545431"/>
                    <a:gd name="connsiteX14" fmla="*/ 860425 w 1819275"/>
                    <a:gd name="connsiteY14" fmla="*/ 1215231 h 1545431"/>
                    <a:gd name="connsiteX15" fmla="*/ 1090612 w 1819275"/>
                    <a:gd name="connsiteY15" fmla="*/ 1545431 h 1545431"/>
                    <a:gd name="connsiteX16" fmla="*/ 1121569 w 1819275"/>
                    <a:gd name="connsiteY16" fmla="*/ 1528763 h 1545431"/>
                    <a:gd name="connsiteX17" fmla="*/ 1126331 w 1819275"/>
                    <a:gd name="connsiteY17" fmla="*/ 1459706 h 1545431"/>
                    <a:gd name="connsiteX18" fmla="*/ 1102519 w 1819275"/>
                    <a:gd name="connsiteY18" fmla="*/ 1428750 h 1545431"/>
                    <a:gd name="connsiteX19" fmla="*/ 1104900 w 1819275"/>
                    <a:gd name="connsiteY19" fmla="*/ 1319213 h 1545431"/>
                    <a:gd name="connsiteX20" fmla="*/ 1207294 w 1819275"/>
                    <a:gd name="connsiteY20" fmla="*/ 1314450 h 1545431"/>
                    <a:gd name="connsiteX21" fmla="*/ 1257301 w 1819275"/>
                    <a:gd name="connsiteY21" fmla="*/ 1231107 h 1545431"/>
                    <a:gd name="connsiteX22" fmla="*/ 1321594 w 1819275"/>
                    <a:gd name="connsiteY22" fmla="*/ 1185863 h 1545431"/>
                    <a:gd name="connsiteX23" fmla="*/ 1373982 w 1819275"/>
                    <a:gd name="connsiteY23" fmla="*/ 1193006 h 1545431"/>
                    <a:gd name="connsiteX24" fmla="*/ 1397794 w 1819275"/>
                    <a:gd name="connsiteY24" fmla="*/ 1237456 h 1545431"/>
                    <a:gd name="connsiteX25" fmla="*/ 1445419 w 1819275"/>
                    <a:gd name="connsiteY25" fmla="*/ 1171575 h 1545431"/>
                    <a:gd name="connsiteX26" fmla="*/ 1504950 w 1819275"/>
                    <a:gd name="connsiteY26" fmla="*/ 1178719 h 1545431"/>
                    <a:gd name="connsiteX27" fmla="*/ 1554163 w 1819275"/>
                    <a:gd name="connsiteY27" fmla="*/ 1116806 h 1545431"/>
                    <a:gd name="connsiteX28" fmla="*/ 1554957 w 1819275"/>
                    <a:gd name="connsiteY28" fmla="*/ 983456 h 1545431"/>
                    <a:gd name="connsiteX29" fmla="*/ 1457325 w 1819275"/>
                    <a:gd name="connsiteY29" fmla="*/ 931068 h 1545431"/>
                    <a:gd name="connsiteX30" fmla="*/ 1447801 w 1819275"/>
                    <a:gd name="connsiteY30" fmla="*/ 845344 h 1545431"/>
                    <a:gd name="connsiteX31" fmla="*/ 1466850 w 1819275"/>
                    <a:gd name="connsiteY31" fmla="*/ 802481 h 1545431"/>
                    <a:gd name="connsiteX32" fmla="*/ 1538288 w 1819275"/>
                    <a:gd name="connsiteY32" fmla="*/ 802482 h 1545431"/>
                    <a:gd name="connsiteX33" fmla="*/ 1612105 w 1819275"/>
                    <a:gd name="connsiteY33" fmla="*/ 726282 h 1545431"/>
                    <a:gd name="connsiteX34" fmla="*/ 1676400 w 1819275"/>
                    <a:gd name="connsiteY34" fmla="*/ 733425 h 1545431"/>
                    <a:gd name="connsiteX35" fmla="*/ 1819275 w 1819275"/>
                    <a:gd name="connsiteY35" fmla="*/ 774700 h 1545431"/>
                    <a:gd name="connsiteX36" fmla="*/ 428625 w 1819275"/>
                    <a:gd name="connsiteY36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578644 w 1819275"/>
                    <a:gd name="connsiteY6" fmla="*/ 1228725 h 1545431"/>
                    <a:gd name="connsiteX7" fmla="*/ 631031 w 1819275"/>
                    <a:gd name="connsiteY7" fmla="*/ 1245394 h 1545431"/>
                    <a:gd name="connsiteX8" fmla="*/ 640556 w 1819275"/>
                    <a:gd name="connsiteY8" fmla="*/ 1302544 h 1545431"/>
                    <a:gd name="connsiteX9" fmla="*/ 723900 w 1819275"/>
                    <a:gd name="connsiteY9" fmla="*/ 1283494 h 1545431"/>
                    <a:gd name="connsiteX10" fmla="*/ 723901 w 1819275"/>
                    <a:gd name="connsiteY10" fmla="*/ 1162050 h 1545431"/>
                    <a:gd name="connsiteX11" fmla="*/ 766763 w 1819275"/>
                    <a:gd name="connsiteY11" fmla="*/ 1173956 h 1545431"/>
                    <a:gd name="connsiteX12" fmla="*/ 738188 w 1819275"/>
                    <a:gd name="connsiteY12" fmla="*/ 1309687 h 1545431"/>
                    <a:gd name="connsiteX13" fmla="*/ 747713 w 1819275"/>
                    <a:gd name="connsiteY13" fmla="*/ 1347787 h 1545431"/>
                    <a:gd name="connsiteX14" fmla="*/ 860425 w 1819275"/>
                    <a:gd name="connsiteY14" fmla="*/ 1215231 h 1545431"/>
                    <a:gd name="connsiteX15" fmla="*/ 1090612 w 1819275"/>
                    <a:gd name="connsiteY15" fmla="*/ 1545431 h 1545431"/>
                    <a:gd name="connsiteX16" fmla="*/ 1121569 w 1819275"/>
                    <a:gd name="connsiteY16" fmla="*/ 1528763 h 1545431"/>
                    <a:gd name="connsiteX17" fmla="*/ 1126331 w 1819275"/>
                    <a:gd name="connsiteY17" fmla="*/ 1459706 h 1545431"/>
                    <a:gd name="connsiteX18" fmla="*/ 1102519 w 1819275"/>
                    <a:gd name="connsiteY18" fmla="*/ 1428750 h 1545431"/>
                    <a:gd name="connsiteX19" fmla="*/ 1104900 w 1819275"/>
                    <a:gd name="connsiteY19" fmla="*/ 1319213 h 1545431"/>
                    <a:gd name="connsiteX20" fmla="*/ 1207294 w 1819275"/>
                    <a:gd name="connsiteY20" fmla="*/ 1314450 h 1545431"/>
                    <a:gd name="connsiteX21" fmla="*/ 1257301 w 1819275"/>
                    <a:gd name="connsiteY21" fmla="*/ 1231107 h 1545431"/>
                    <a:gd name="connsiteX22" fmla="*/ 1321594 w 1819275"/>
                    <a:gd name="connsiteY22" fmla="*/ 1185863 h 1545431"/>
                    <a:gd name="connsiteX23" fmla="*/ 1373982 w 1819275"/>
                    <a:gd name="connsiteY23" fmla="*/ 1193006 h 1545431"/>
                    <a:gd name="connsiteX24" fmla="*/ 1397794 w 1819275"/>
                    <a:gd name="connsiteY24" fmla="*/ 1237456 h 1545431"/>
                    <a:gd name="connsiteX25" fmla="*/ 1445419 w 1819275"/>
                    <a:gd name="connsiteY25" fmla="*/ 1171575 h 1545431"/>
                    <a:gd name="connsiteX26" fmla="*/ 1504950 w 1819275"/>
                    <a:gd name="connsiteY26" fmla="*/ 1178719 h 1545431"/>
                    <a:gd name="connsiteX27" fmla="*/ 1554163 w 1819275"/>
                    <a:gd name="connsiteY27" fmla="*/ 1116806 h 1545431"/>
                    <a:gd name="connsiteX28" fmla="*/ 1554957 w 1819275"/>
                    <a:gd name="connsiteY28" fmla="*/ 983456 h 1545431"/>
                    <a:gd name="connsiteX29" fmla="*/ 1457325 w 1819275"/>
                    <a:gd name="connsiteY29" fmla="*/ 931068 h 1545431"/>
                    <a:gd name="connsiteX30" fmla="*/ 1447801 w 1819275"/>
                    <a:gd name="connsiteY30" fmla="*/ 845344 h 1545431"/>
                    <a:gd name="connsiteX31" fmla="*/ 1466850 w 1819275"/>
                    <a:gd name="connsiteY31" fmla="*/ 802481 h 1545431"/>
                    <a:gd name="connsiteX32" fmla="*/ 1538288 w 1819275"/>
                    <a:gd name="connsiteY32" fmla="*/ 802482 h 1545431"/>
                    <a:gd name="connsiteX33" fmla="*/ 1612105 w 1819275"/>
                    <a:gd name="connsiteY33" fmla="*/ 726282 h 1545431"/>
                    <a:gd name="connsiteX34" fmla="*/ 1676400 w 1819275"/>
                    <a:gd name="connsiteY34" fmla="*/ 733425 h 1545431"/>
                    <a:gd name="connsiteX35" fmla="*/ 1819275 w 1819275"/>
                    <a:gd name="connsiteY35" fmla="*/ 774700 h 1545431"/>
                    <a:gd name="connsiteX36" fmla="*/ 428625 w 1819275"/>
                    <a:gd name="connsiteY36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485775 w 1819275"/>
                    <a:gd name="connsiteY6" fmla="*/ 1273969 h 1545431"/>
                    <a:gd name="connsiteX7" fmla="*/ 578644 w 1819275"/>
                    <a:gd name="connsiteY7" fmla="*/ 1228725 h 1545431"/>
                    <a:gd name="connsiteX8" fmla="*/ 631031 w 1819275"/>
                    <a:gd name="connsiteY8" fmla="*/ 1245394 h 1545431"/>
                    <a:gd name="connsiteX9" fmla="*/ 640556 w 1819275"/>
                    <a:gd name="connsiteY9" fmla="*/ 1302544 h 1545431"/>
                    <a:gd name="connsiteX10" fmla="*/ 723900 w 1819275"/>
                    <a:gd name="connsiteY10" fmla="*/ 1283494 h 1545431"/>
                    <a:gd name="connsiteX11" fmla="*/ 723901 w 1819275"/>
                    <a:gd name="connsiteY11" fmla="*/ 1162050 h 1545431"/>
                    <a:gd name="connsiteX12" fmla="*/ 766763 w 1819275"/>
                    <a:gd name="connsiteY12" fmla="*/ 1173956 h 1545431"/>
                    <a:gd name="connsiteX13" fmla="*/ 738188 w 1819275"/>
                    <a:gd name="connsiteY13" fmla="*/ 1309687 h 1545431"/>
                    <a:gd name="connsiteX14" fmla="*/ 747713 w 1819275"/>
                    <a:gd name="connsiteY14" fmla="*/ 1347787 h 1545431"/>
                    <a:gd name="connsiteX15" fmla="*/ 860425 w 1819275"/>
                    <a:gd name="connsiteY15" fmla="*/ 1215231 h 1545431"/>
                    <a:gd name="connsiteX16" fmla="*/ 1090612 w 1819275"/>
                    <a:gd name="connsiteY16" fmla="*/ 1545431 h 1545431"/>
                    <a:gd name="connsiteX17" fmla="*/ 1121569 w 1819275"/>
                    <a:gd name="connsiteY17" fmla="*/ 1528763 h 1545431"/>
                    <a:gd name="connsiteX18" fmla="*/ 1126331 w 1819275"/>
                    <a:gd name="connsiteY18" fmla="*/ 1459706 h 1545431"/>
                    <a:gd name="connsiteX19" fmla="*/ 1102519 w 1819275"/>
                    <a:gd name="connsiteY19" fmla="*/ 1428750 h 1545431"/>
                    <a:gd name="connsiteX20" fmla="*/ 1104900 w 1819275"/>
                    <a:gd name="connsiteY20" fmla="*/ 1319213 h 1545431"/>
                    <a:gd name="connsiteX21" fmla="*/ 1207294 w 1819275"/>
                    <a:gd name="connsiteY21" fmla="*/ 1314450 h 1545431"/>
                    <a:gd name="connsiteX22" fmla="*/ 1257301 w 1819275"/>
                    <a:gd name="connsiteY22" fmla="*/ 1231107 h 1545431"/>
                    <a:gd name="connsiteX23" fmla="*/ 1321594 w 1819275"/>
                    <a:gd name="connsiteY23" fmla="*/ 1185863 h 1545431"/>
                    <a:gd name="connsiteX24" fmla="*/ 1373982 w 1819275"/>
                    <a:gd name="connsiteY24" fmla="*/ 1193006 h 1545431"/>
                    <a:gd name="connsiteX25" fmla="*/ 1397794 w 1819275"/>
                    <a:gd name="connsiteY25" fmla="*/ 1237456 h 1545431"/>
                    <a:gd name="connsiteX26" fmla="*/ 1445419 w 1819275"/>
                    <a:gd name="connsiteY26" fmla="*/ 1171575 h 1545431"/>
                    <a:gd name="connsiteX27" fmla="*/ 1504950 w 1819275"/>
                    <a:gd name="connsiteY27" fmla="*/ 1178719 h 1545431"/>
                    <a:gd name="connsiteX28" fmla="*/ 1554163 w 1819275"/>
                    <a:gd name="connsiteY28" fmla="*/ 1116806 h 1545431"/>
                    <a:gd name="connsiteX29" fmla="*/ 1554957 w 1819275"/>
                    <a:gd name="connsiteY29" fmla="*/ 983456 h 1545431"/>
                    <a:gd name="connsiteX30" fmla="*/ 1457325 w 1819275"/>
                    <a:gd name="connsiteY30" fmla="*/ 931068 h 1545431"/>
                    <a:gd name="connsiteX31" fmla="*/ 1447801 w 1819275"/>
                    <a:gd name="connsiteY31" fmla="*/ 845344 h 1545431"/>
                    <a:gd name="connsiteX32" fmla="*/ 1466850 w 1819275"/>
                    <a:gd name="connsiteY32" fmla="*/ 802481 h 1545431"/>
                    <a:gd name="connsiteX33" fmla="*/ 1538288 w 1819275"/>
                    <a:gd name="connsiteY33" fmla="*/ 802482 h 1545431"/>
                    <a:gd name="connsiteX34" fmla="*/ 1612105 w 1819275"/>
                    <a:gd name="connsiteY34" fmla="*/ 726282 h 1545431"/>
                    <a:gd name="connsiteX35" fmla="*/ 1676400 w 1819275"/>
                    <a:gd name="connsiteY35" fmla="*/ 733425 h 1545431"/>
                    <a:gd name="connsiteX36" fmla="*/ 1819275 w 1819275"/>
                    <a:gd name="connsiteY36" fmla="*/ 774700 h 1545431"/>
                    <a:gd name="connsiteX37" fmla="*/ 428625 w 1819275"/>
                    <a:gd name="connsiteY37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521494 w 1819275"/>
                    <a:gd name="connsiteY6" fmla="*/ 1202531 h 1545431"/>
                    <a:gd name="connsiteX7" fmla="*/ 578644 w 1819275"/>
                    <a:gd name="connsiteY7" fmla="*/ 1228725 h 1545431"/>
                    <a:gd name="connsiteX8" fmla="*/ 631031 w 1819275"/>
                    <a:gd name="connsiteY8" fmla="*/ 1245394 h 1545431"/>
                    <a:gd name="connsiteX9" fmla="*/ 640556 w 1819275"/>
                    <a:gd name="connsiteY9" fmla="*/ 1302544 h 1545431"/>
                    <a:gd name="connsiteX10" fmla="*/ 723900 w 1819275"/>
                    <a:gd name="connsiteY10" fmla="*/ 1283494 h 1545431"/>
                    <a:gd name="connsiteX11" fmla="*/ 723901 w 1819275"/>
                    <a:gd name="connsiteY11" fmla="*/ 1162050 h 1545431"/>
                    <a:gd name="connsiteX12" fmla="*/ 766763 w 1819275"/>
                    <a:gd name="connsiteY12" fmla="*/ 1173956 h 1545431"/>
                    <a:gd name="connsiteX13" fmla="*/ 738188 w 1819275"/>
                    <a:gd name="connsiteY13" fmla="*/ 1309687 h 1545431"/>
                    <a:gd name="connsiteX14" fmla="*/ 747713 w 1819275"/>
                    <a:gd name="connsiteY14" fmla="*/ 1347787 h 1545431"/>
                    <a:gd name="connsiteX15" fmla="*/ 860425 w 1819275"/>
                    <a:gd name="connsiteY15" fmla="*/ 1215231 h 1545431"/>
                    <a:gd name="connsiteX16" fmla="*/ 1090612 w 1819275"/>
                    <a:gd name="connsiteY16" fmla="*/ 1545431 h 1545431"/>
                    <a:gd name="connsiteX17" fmla="*/ 1121569 w 1819275"/>
                    <a:gd name="connsiteY17" fmla="*/ 1528763 h 1545431"/>
                    <a:gd name="connsiteX18" fmla="*/ 1126331 w 1819275"/>
                    <a:gd name="connsiteY18" fmla="*/ 1459706 h 1545431"/>
                    <a:gd name="connsiteX19" fmla="*/ 1102519 w 1819275"/>
                    <a:gd name="connsiteY19" fmla="*/ 1428750 h 1545431"/>
                    <a:gd name="connsiteX20" fmla="*/ 1104900 w 1819275"/>
                    <a:gd name="connsiteY20" fmla="*/ 1319213 h 1545431"/>
                    <a:gd name="connsiteX21" fmla="*/ 1207294 w 1819275"/>
                    <a:gd name="connsiteY21" fmla="*/ 1314450 h 1545431"/>
                    <a:gd name="connsiteX22" fmla="*/ 1257301 w 1819275"/>
                    <a:gd name="connsiteY22" fmla="*/ 1231107 h 1545431"/>
                    <a:gd name="connsiteX23" fmla="*/ 1321594 w 1819275"/>
                    <a:gd name="connsiteY23" fmla="*/ 1185863 h 1545431"/>
                    <a:gd name="connsiteX24" fmla="*/ 1373982 w 1819275"/>
                    <a:gd name="connsiteY24" fmla="*/ 1193006 h 1545431"/>
                    <a:gd name="connsiteX25" fmla="*/ 1397794 w 1819275"/>
                    <a:gd name="connsiteY25" fmla="*/ 1237456 h 1545431"/>
                    <a:gd name="connsiteX26" fmla="*/ 1445419 w 1819275"/>
                    <a:gd name="connsiteY26" fmla="*/ 1171575 h 1545431"/>
                    <a:gd name="connsiteX27" fmla="*/ 1504950 w 1819275"/>
                    <a:gd name="connsiteY27" fmla="*/ 1178719 h 1545431"/>
                    <a:gd name="connsiteX28" fmla="*/ 1554163 w 1819275"/>
                    <a:gd name="connsiteY28" fmla="*/ 1116806 h 1545431"/>
                    <a:gd name="connsiteX29" fmla="*/ 1554957 w 1819275"/>
                    <a:gd name="connsiteY29" fmla="*/ 983456 h 1545431"/>
                    <a:gd name="connsiteX30" fmla="*/ 1457325 w 1819275"/>
                    <a:gd name="connsiteY30" fmla="*/ 931068 h 1545431"/>
                    <a:gd name="connsiteX31" fmla="*/ 1447801 w 1819275"/>
                    <a:gd name="connsiteY31" fmla="*/ 845344 h 1545431"/>
                    <a:gd name="connsiteX32" fmla="*/ 1466850 w 1819275"/>
                    <a:gd name="connsiteY32" fmla="*/ 802481 h 1545431"/>
                    <a:gd name="connsiteX33" fmla="*/ 1538288 w 1819275"/>
                    <a:gd name="connsiteY33" fmla="*/ 802482 h 1545431"/>
                    <a:gd name="connsiteX34" fmla="*/ 1612105 w 1819275"/>
                    <a:gd name="connsiteY34" fmla="*/ 726282 h 1545431"/>
                    <a:gd name="connsiteX35" fmla="*/ 1676400 w 1819275"/>
                    <a:gd name="connsiteY35" fmla="*/ 733425 h 1545431"/>
                    <a:gd name="connsiteX36" fmla="*/ 1819275 w 1819275"/>
                    <a:gd name="connsiteY36" fmla="*/ 774700 h 1545431"/>
                    <a:gd name="connsiteX37" fmla="*/ 428625 w 1819275"/>
                    <a:gd name="connsiteY37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364331 w 1819275"/>
                    <a:gd name="connsiteY6" fmla="*/ 1302544 h 1545431"/>
                    <a:gd name="connsiteX7" fmla="*/ 521494 w 1819275"/>
                    <a:gd name="connsiteY7" fmla="*/ 1202531 h 1545431"/>
                    <a:gd name="connsiteX8" fmla="*/ 578644 w 1819275"/>
                    <a:gd name="connsiteY8" fmla="*/ 1228725 h 1545431"/>
                    <a:gd name="connsiteX9" fmla="*/ 631031 w 1819275"/>
                    <a:gd name="connsiteY9" fmla="*/ 1245394 h 1545431"/>
                    <a:gd name="connsiteX10" fmla="*/ 640556 w 1819275"/>
                    <a:gd name="connsiteY10" fmla="*/ 1302544 h 1545431"/>
                    <a:gd name="connsiteX11" fmla="*/ 723900 w 1819275"/>
                    <a:gd name="connsiteY11" fmla="*/ 1283494 h 1545431"/>
                    <a:gd name="connsiteX12" fmla="*/ 723901 w 1819275"/>
                    <a:gd name="connsiteY12" fmla="*/ 1162050 h 1545431"/>
                    <a:gd name="connsiteX13" fmla="*/ 766763 w 1819275"/>
                    <a:gd name="connsiteY13" fmla="*/ 1173956 h 1545431"/>
                    <a:gd name="connsiteX14" fmla="*/ 738188 w 1819275"/>
                    <a:gd name="connsiteY14" fmla="*/ 1309687 h 1545431"/>
                    <a:gd name="connsiteX15" fmla="*/ 747713 w 1819275"/>
                    <a:gd name="connsiteY15" fmla="*/ 1347787 h 1545431"/>
                    <a:gd name="connsiteX16" fmla="*/ 860425 w 1819275"/>
                    <a:gd name="connsiteY16" fmla="*/ 1215231 h 1545431"/>
                    <a:gd name="connsiteX17" fmla="*/ 1090612 w 1819275"/>
                    <a:gd name="connsiteY17" fmla="*/ 1545431 h 1545431"/>
                    <a:gd name="connsiteX18" fmla="*/ 1121569 w 1819275"/>
                    <a:gd name="connsiteY18" fmla="*/ 1528763 h 1545431"/>
                    <a:gd name="connsiteX19" fmla="*/ 1126331 w 1819275"/>
                    <a:gd name="connsiteY19" fmla="*/ 1459706 h 1545431"/>
                    <a:gd name="connsiteX20" fmla="*/ 1102519 w 1819275"/>
                    <a:gd name="connsiteY20" fmla="*/ 1428750 h 1545431"/>
                    <a:gd name="connsiteX21" fmla="*/ 1104900 w 1819275"/>
                    <a:gd name="connsiteY21" fmla="*/ 1319213 h 1545431"/>
                    <a:gd name="connsiteX22" fmla="*/ 1207294 w 1819275"/>
                    <a:gd name="connsiteY22" fmla="*/ 1314450 h 1545431"/>
                    <a:gd name="connsiteX23" fmla="*/ 1257301 w 1819275"/>
                    <a:gd name="connsiteY23" fmla="*/ 1231107 h 1545431"/>
                    <a:gd name="connsiteX24" fmla="*/ 1321594 w 1819275"/>
                    <a:gd name="connsiteY24" fmla="*/ 1185863 h 1545431"/>
                    <a:gd name="connsiteX25" fmla="*/ 1373982 w 1819275"/>
                    <a:gd name="connsiteY25" fmla="*/ 1193006 h 1545431"/>
                    <a:gd name="connsiteX26" fmla="*/ 1397794 w 1819275"/>
                    <a:gd name="connsiteY26" fmla="*/ 1237456 h 1545431"/>
                    <a:gd name="connsiteX27" fmla="*/ 1445419 w 1819275"/>
                    <a:gd name="connsiteY27" fmla="*/ 1171575 h 1545431"/>
                    <a:gd name="connsiteX28" fmla="*/ 1504950 w 1819275"/>
                    <a:gd name="connsiteY28" fmla="*/ 1178719 h 1545431"/>
                    <a:gd name="connsiteX29" fmla="*/ 1554163 w 1819275"/>
                    <a:gd name="connsiteY29" fmla="*/ 1116806 h 1545431"/>
                    <a:gd name="connsiteX30" fmla="*/ 1554957 w 1819275"/>
                    <a:gd name="connsiteY30" fmla="*/ 983456 h 1545431"/>
                    <a:gd name="connsiteX31" fmla="*/ 1457325 w 1819275"/>
                    <a:gd name="connsiteY31" fmla="*/ 931068 h 1545431"/>
                    <a:gd name="connsiteX32" fmla="*/ 1447801 w 1819275"/>
                    <a:gd name="connsiteY32" fmla="*/ 845344 h 1545431"/>
                    <a:gd name="connsiteX33" fmla="*/ 1466850 w 1819275"/>
                    <a:gd name="connsiteY33" fmla="*/ 802481 h 1545431"/>
                    <a:gd name="connsiteX34" fmla="*/ 1538288 w 1819275"/>
                    <a:gd name="connsiteY34" fmla="*/ 802482 h 1545431"/>
                    <a:gd name="connsiteX35" fmla="*/ 1612105 w 1819275"/>
                    <a:gd name="connsiteY35" fmla="*/ 726282 h 1545431"/>
                    <a:gd name="connsiteX36" fmla="*/ 1676400 w 1819275"/>
                    <a:gd name="connsiteY36" fmla="*/ 733425 h 1545431"/>
                    <a:gd name="connsiteX37" fmla="*/ 1819275 w 1819275"/>
                    <a:gd name="connsiteY37" fmla="*/ 774700 h 1545431"/>
                    <a:gd name="connsiteX38" fmla="*/ 428625 w 1819275"/>
                    <a:gd name="connsiteY38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471487 w 1819275"/>
                    <a:gd name="connsiteY6" fmla="*/ 1259681 h 1545431"/>
                    <a:gd name="connsiteX7" fmla="*/ 521494 w 1819275"/>
                    <a:gd name="connsiteY7" fmla="*/ 1202531 h 1545431"/>
                    <a:gd name="connsiteX8" fmla="*/ 578644 w 1819275"/>
                    <a:gd name="connsiteY8" fmla="*/ 1228725 h 1545431"/>
                    <a:gd name="connsiteX9" fmla="*/ 631031 w 1819275"/>
                    <a:gd name="connsiteY9" fmla="*/ 1245394 h 1545431"/>
                    <a:gd name="connsiteX10" fmla="*/ 640556 w 1819275"/>
                    <a:gd name="connsiteY10" fmla="*/ 1302544 h 1545431"/>
                    <a:gd name="connsiteX11" fmla="*/ 723900 w 1819275"/>
                    <a:gd name="connsiteY11" fmla="*/ 1283494 h 1545431"/>
                    <a:gd name="connsiteX12" fmla="*/ 723901 w 1819275"/>
                    <a:gd name="connsiteY12" fmla="*/ 1162050 h 1545431"/>
                    <a:gd name="connsiteX13" fmla="*/ 766763 w 1819275"/>
                    <a:gd name="connsiteY13" fmla="*/ 1173956 h 1545431"/>
                    <a:gd name="connsiteX14" fmla="*/ 738188 w 1819275"/>
                    <a:gd name="connsiteY14" fmla="*/ 1309687 h 1545431"/>
                    <a:gd name="connsiteX15" fmla="*/ 747713 w 1819275"/>
                    <a:gd name="connsiteY15" fmla="*/ 1347787 h 1545431"/>
                    <a:gd name="connsiteX16" fmla="*/ 860425 w 1819275"/>
                    <a:gd name="connsiteY16" fmla="*/ 1215231 h 1545431"/>
                    <a:gd name="connsiteX17" fmla="*/ 1090612 w 1819275"/>
                    <a:gd name="connsiteY17" fmla="*/ 1545431 h 1545431"/>
                    <a:gd name="connsiteX18" fmla="*/ 1121569 w 1819275"/>
                    <a:gd name="connsiteY18" fmla="*/ 1528763 h 1545431"/>
                    <a:gd name="connsiteX19" fmla="*/ 1126331 w 1819275"/>
                    <a:gd name="connsiteY19" fmla="*/ 1459706 h 1545431"/>
                    <a:gd name="connsiteX20" fmla="*/ 1102519 w 1819275"/>
                    <a:gd name="connsiteY20" fmla="*/ 1428750 h 1545431"/>
                    <a:gd name="connsiteX21" fmla="*/ 1104900 w 1819275"/>
                    <a:gd name="connsiteY21" fmla="*/ 1319213 h 1545431"/>
                    <a:gd name="connsiteX22" fmla="*/ 1207294 w 1819275"/>
                    <a:gd name="connsiteY22" fmla="*/ 1314450 h 1545431"/>
                    <a:gd name="connsiteX23" fmla="*/ 1257301 w 1819275"/>
                    <a:gd name="connsiteY23" fmla="*/ 1231107 h 1545431"/>
                    <a:gd name="connsiteX24" fmla="*/ 1321594 w 1819275"/>
                    <a:gd name="connsiteY24" fmla="*/ 1185863 h 1545431"/>
                    <a:gd name="connsiteX25" fmla="*/ 1373982 w 1819275"/>
                    <a:gd name="connsiteY25" fmla="*/ 1193006 h 1545431"/>
                    <a:gd name="connsiteX26" fmla="*/ 1397794 w 1819275"/>
                    <a:gd name="connsiteY26" fmla="*/ 1237456 h 1545431"/>
                    <a:gd name="connsiteX27" fmla="*/ 1445419 w 1819275"/>
                    <a:gd name="connsiteY27" fmla="*/ 1171575 h 1545431"/>
                    <a:gd name="connsiteX28" fmla="*/ 1504950 w 1819275"/>
                    <a:gd name="connsiteY28" fmla="*/ 1178719 h 1545431"/>
                    <a:gd name="connsiteX29" fmla="*/ 1554163 w 1819275"/>
                    <a:gd name="connsiteY29" fmla="*/ 1116806 h 1545431"/>
                    <a:gd name="connsiteX30" fmla="*/ 1554957 w 1819275"/>
                    <a:gd name="connsiteY30" fmla="*/ 983456 h 1545431"/>
                    <a:gd name="connsiteX31" fmla="*/ 1457325 w 1819275"/>
                    <a:gd name="connsiteY31" fmla="*/ 931068 h 1545431"/>
                    <a:gd name="connsiteX32" fmla="*/ 1447801 w 1819275"/>
                    <a:gd name="connsiteY32" fmla="*/ 845344 h 1545431"/>
                    <a:gd name="connsiteX33" fmla="*/ 1466850 w 1819275"/>
                    <a:gd name="connsiteY33" fmla="*/ 802481 h 1545431"/>
                    <a:gd name="connsiteX34" fmla="*/ 1538288 w 1819275"/>
                    <a:gd name="connsiteY34" fmla="*/ 802482 h 1545431"/>
                    <a:gd name="connsiteX35" fmla="*/ 1612105 w 1819275"/>
                    <a:gd name="connsiteY35" fmla="*/ 726282 h 1545431"/>
                    <a:gd name="connsiteX36" fmla="*/ 1676400 w 1819275"/>
                    <a:gd name="connsiteY36" fmla="*/ 733425 h 1545431"/>
                    <a:gd name="connsiteX37" fmla="*/ 1819275 w 1819275"/>
                    <a:gd name="connsiteY37" fmla="*/ 774700 h 1545431"/>
                    <a:gd name="connsiteX38" fmla="*/ 428625 w 1819275"/>
                    <a:gd name="connsiteY38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292894 w 1819275"/>
                    <a:gd name="connsiteY6" fmla="*/ 1357313 h 1545431"/>
                    <a:gd name="connsiteX7" fmla="*/ 471487 w 1819275"/>
                    <a:gd name="connsiteY7" fmla="*/ 1259681 h 1545431"/>
                    <a:gd name="connsiteX8" fmla="*/ 521494 w 1819275"/>
                    <a:gd name="connsiteY8" fmla="*/ 1202531 h 1545431"/>
                    <a:gd name="connsiteX9" fmla="*/ 578644 w 1819275"/>
                    <a:gd name="connsiteY9" fmla="*/ 1228725 h 1545431"/>
                    <a:gd name="connsiteX10" fmla="*/ 631031 w 1819275"/>
                    <a:gd name="connsiteY10" fmla="*/ 1245394 h 1545431"/>
                    <a:gd name="connsiteX11" fmla="*/ 640556 w 1819275"/>
                    <a:gd name="connsiteY11" fmla="*/ 1302544 h 1545431"/>
                    <a:gd name="connsiteX12" fmla="*/ 723900 w 1819275"/>
                    <a:gd name="connsiteY12" fmla="*/ 1283494 h 1545431"/>
                    <a:gd name="connsiteX13" fmla="*/ 723901 w 1819275"/>
                    <a:gd name="connsiteY13" fmla="*/ 1162050 h 1545431"/>
                    <a:gd name="connsiteX14" fmla="*/ 766763 w 1819275"/>
                    <a:gd name="connsiteY14" fmla="*/ 1173956 h 1545431"/>
                    <a:gd name="connsiteX15" fmla="*/ 738188 w 1819275"/>
                    <a:gd name="connsiteY15" fmla="*/ 1309687 h 1545431"/>
                    <a:gd name="connsiteX16" fmla="*/ 747713 w 1819275"/>
                    <a:gd name="connsiteY16" fmla="*/ 1347787 h 1545431"/>
                    <a:gd name="connsiteX17" fmla="*/ 860425 w 1819275"/>
                    <a:gd name="connsiteY17" fmla="*/ 1215231 h 1545431"/>
                    <a:gd name="connsiteX18" fmla="*/ 1090612 w 1819275"/>
                    <a:gd name="connsiteY18" fmla="*/ 1545431 h 1545431"/>
                    <a:gd name="connsiteX19" fmla="*/ 1121569 w 1819275"/>
                    <a:gd name="connsiteY19" fmla="*/ 1528763 h 1545431"/>
                    <a:gd name="connsiteX20" fmla="*/ 1126331 w 1819275"/>
                    <a:gd name="connsiteY20" fmla="*/ 1459706 h 1545431"/>
                    <a:gd name="connsiteX21" fmla="*/ 1102519 w 1819275"/>
                    <a:gd name="connsiteY21" fmla="*/ 1428750 h 1545431"/>
                    <a:gd name="connsiteX22" fmla="*/ 1104900 w 1819275"/>
                    <a:gd name="connsiteY22" fmla="*/ 1319213 h 1545431"/>
                    <a:gd name="connsiteX23" fmla="*/ 1207294 w 1819275"/>
                    <a:gd name="connsiteY23" fmla="*/ 1314450 h 1545431"/>
                    <a:gd name="connsiteX24" fmla="*/ 1257301 w 1819275"/>
                    <a:gd name="connsiteY24" fmla="*/ 1231107 h 1545431"/>
                    <a:gd name="connsiteX25" fmla="*/ 1321594 w 1819275"/>
                    <a:gd name="connsiteY25" fmla="*/ 1185863 h 1545431"/>
                    <a:gd name="connsiteX26" fmla="*/ 1373982 w 1819275"/>
                    <a:gd name="connsiteY26" fmla="*/ 1193006 h 1545431"/>
                    <a:gd name="connsiteX27" fmla="*/ 1397794 w 1819275"/>
                    <a:gd name="connsiteY27" fmla="*/ 1237456 h 1545431"/>
                    <a:gd name="connsiteX28" fmla="*/ 1445419 w 1819275"/>
                    <a:gd name="connsiteY28" fmla="*/ 1171575 h 1545431"/>
                    <a:gd name="connsiteX29" fmla="*/ 1504950 w 1819275"/>
                    <a:gd name="connsiteY29" fmla="*/ 1178719 h 1545431"/>
                    <a:gd name="connsiteX30" fmla="*/ 1554163 w 1819275"/>
                    <a:gd name="connsiteY30" fmla="*/ 1116806 h 1545431"/>
                    <a:gd name="connsiteX31" fmla="*/ 1554957 w 1819275"/>
                    <a:gd name="connsiteY31" fmla="*/ 983456 h 1545431"/>
                    <a:gd name="connsiteX32" fmla="*/ 1457325 w 1819275"/>
                    <a:gd name="connsiteY32" fmla="*/ 931068 h 1545431"/>
                    <a:gd name="connsiteX33" fmla="*/ 1447801 w 1819275"/>
                    <a:gd name="connsiteY33" fmla="*/ 845344 h 1545431"/>
                    <a:gd name="connsiteX34" fmla="*/ 1466850 w 1819275"/>
                    <a:gd name="connsiteY34" fmla="*/ 802481 h 1545431"/>
                    <a:gd name="connsiteX35" fmla="*/ 1538288 w 1819275"/>
                    <a:gd name="connsiteY35" fmla="*/ 802482 h 1545431"/>
                    <a:gd name="connsiteX36" fmla="*/ 1612105 w 1819275"/>
                    <a:gd name="connsiteY36" fmla="*/ 726282 h 1545431"/>
                    <a:gd name="connsiteX37" fmla="*/ 1676400 w 1819275"/>
                    <a:gd name="connsiteY37" fmla="*/ 733425 h 1545431"/>
                    <a:gd name="connsiteX38" fmla="*/ 1819275 w 1819275"/>
                    <a:gd name="connsiteY38" fmla="*/ 774700 h 1545431"/>
                    <a:gd name="connsiteX39" fmla="*/ 428625 w 1819275"/>
                    <a:gd name="connsiteY39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402432 w 1819275"/>
                    <a:gd name="connsiteY6" fmla="*/ 1295401 h 1545431"/>
                    <a:gd name="connsiteX7" fmla="*/ 471487 w 1819275"/>
                    <a:gd name="connsiteY7" fmla="*/ 1259681 h 1545431"/>
                    <a:gd name="connsiteX8" fmla="*/ 521494 w 1819275"/>
                    <a:gd name="connsiteY8" fmla="*/ 1202531 h 1545431"/>
                    <a:gd name="connsiteX9" fmla="*/ 578644 w 1819275"/>
                    <a:gd name="connsiteY9" fmla="*/ 1228725 h 1545431"/>
                    <a:gd name="connsiteX10" fmla="*/ 631031 w 1819275"/>
                    <a:gd name="connsiteY10" fmla="*/ 1245394 h 1545431"/>
                    <a:gd name="connsiteX11" fmla="*/ 640556 w 1819275"/>
                    <a:gd name="connsiteY11" fmla="*/ 1302544 h 1545431"/>
                    <a:gd name="connsiteX12" fmla="*/ 723900 w 1819275"/>
                    <a:gd name="connsiteY12" fmla="*/ 1283494 h 1545431"/>
                    <a:gd name="connsiteX13" fmla="*/ 723901 w 1819275"/>
                    <a:gd name="connsiteY13" fmla="*/ 1162050 h 1545431"/>
                    <a:gd name="connsiteX14" fmla="*/ 766763 w 1819275"/>
                    <a:gd name="connsiteY14" fmla="*/ 1173956 h 1545431"/>
                    <a:gd name="connsiteX15" fmla="*/ 738188 w 1819275"/>
                    <a:gd name="connsiteY15" fmla="*/ 1309687 h 1545431"/>
                    <a:gd name="connsiteX16" fmla="*/ 747713 w 1819275"/>
                    <a:gd name="connsiteY16" fmla="*/ 1347787 h 1545431"/>
                    <a:gd name="connsiteX17" fmla="*/ 860425 w 1819275"/>
                    <a:gd name="connsiteY17" fmla="*/ 1215231 h 1545431"/>
                    <a:gd name="connsiteX18" fmla="*/ 1090612 w 1819275"/>
                    <a:gd name="connsiteY18" fmla="*/ 1545431 h 1545431"/>
                    <a:gd name="connsiteX19" fmla="*/ 1121569 w 1819275"/>
                    <a:gd name="connsiteY19" fmla="*/ 1528763 h 1545431"/>
                    <a:gd name="connsiteX20" fmla="*/ 1126331 w 1819275"/>
                    <a:gd name="connsiteY20" fmla="*/ 1459706 h 1545431"/>
                    <a:gd name="connsiteX21" fmla="*/ 1102519 w 1819275"/>
                    <a:gd name="connsiteY21" fmla="*/ 1428750 h 1545431"/>
                    <a:gd name="connsiteX22" fmla="*/ 1104900 w 1819275"/>
                    <a:gd name="connsiteY22" fmla="*/ 1319213 h 1545431"/>
                    <a:gd name="connsiteX23" fmla="*/ 1207294 w 1819275"/>
                    <a:gd name="connsiteY23" fmla="*/ 1314450 h 1545431"/>
                    <a:gd name="connsiteX24" fmla="*/ 1257301 w 1819275"/>
                    <a:gd name="connsiteY24" fmla="*/ 1231107 h 1545431"/>
                    <a:gd name="connsiteX25" fmla="*/ 1321594 w 1819275"/>
                    <a:gd name="connsiteY25" fmla="*/ 1185863 h 1545431"/>
                    <a:gd name="connsiteX26" fmla="*/ 1373982 w 1819275"/>
                    <a:gd name="connsiteY26" fmla="*/ 1193006 h 1545431"/>
                    <a:gd name="connsiteX27" fmla="*/ 1397794 w 1819275"/>
                    <a:gd name="connsiteY27" fmla="*/ 1237456 h 1545431"/>
                    <a:gd name="connsiteX28" fmla="*/ 1445419 w 1819275"/>
                    <a:gd name="connsiteY28" fmla="*/ 1171575 h 1545431"/>
                    <a:gd name="connsiteX29" fmla="*/ 1504950 w 1819275"/>
                    <a:gd name="connsiteY29" fmla="*/ 1178719 h 1545431"/>
                    <a:gd name="connsiteX30" fmla="*/ 1554163 w 1819275"/>
                    <a:gd name="connsiteY30" fmla="*/ 1116806 h 1545431"/>
                    <a:gd name="connsiteX31" fmla="*/ 1554957 w 1819275"/>
                    <a:gd name="connsiteY31" fmla="*/ 983456 h 1545431"/>
                    <a:gd name="connsiteX32" fmla="*/ 1457325 w 1819275"/>
                    <a:gd name="connsiteY32" fmla="*/ 931068 h 1545431"/>
                    <a:gd name="connsiteX33" fmla="*/ 1447801 w 1819275"/>
                    <a:gd name="connsiteY33" fmla="*/ 845344 h 1545431"/>
                    <a:gd name="connsiteX34" fmla="*/ 1466850 w 1819275"/>
                    <a:gd name="connsiteY34" fmla="*/ 802481 h 1545431"/>
                    <a:gd name="connsiteX35" fmla="*/ 1538288 w 1819275"/>
                    <a:gd name="connsiteY35" fmla="*/ 802482 h 1545431"/>
                    <a:gd name="connsiteX36" fmla="*/ 1612105 w 1819275"/>
                    <a:gd name="connsiteY36" fmla="*/ 726282 h 1545431"/>
                    <a:gd name="connsiteX37" fmla="*/ 1676400 w 1819275"/>
                    <a:gd name="connsiteY37" fmla="*/ 733425 h 1545431"/>
                    <a:gd name="connsiteX38" fmla="*/ 1819275 w 1819275"/>
                    <a:gd name="connsiteY38" fmla="*/ 774700 h 1545431"/>
                    <a:gd name="connsiteX39" fmla="*/ 428625 w 1819275"/>
                    <a:gd name="connsiteY39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288131 w 1819275"/>
                    <a:gd name="connsiteY6" fmla="*/ 1362075 h 1545431"/>
                    <a:gd name="connsiteX7" fmla="*/ 402432 w 1819275"/>
                    <a:gd name="connsiteY7" fmla="*/ 1295401 h 1545431"/>
                    <a:gd name="connsiteX8" fmla="*/ 471487 w 1819275"/>
                    <a:gd name="connsiteY8" fmla="*/ 1259681 h 1545431"/>
                    <a:gd name="connsiteX9" fmla="*/ 521494 w 1819275"/>
                    <a:gd name="connsiteY9" fmla="*/ 1202531 h 1545431"/>
                    <a:gd name="connsiteX10" fmla="*/ 578644 w 1819275"/>
                    <a:gd name="connsiteY10" fmla="*/ 1228725 h 1545431"/>
                    <a:gd name="connsiteX11" fmla="*/ 631031 w 1819275"/>
                    <a:gd name="connsiteY11" fmla="*/ 1245394 h 1545431"/>
                    <a:gd name="connsiteX12" fmla="*/ 640556 w 1819275"/>
                    <a:gd name="connsiteY12" fmla="*/ 1302544 h 1545431"/>
                    <a:gd name="connsiteX13" fmla="*/ 723900 w 1819275"/>
                    <a:gd name="connsiteY13" fmla="*/ 1283494 h 1545431"/>
                    <a:gd name="connsiteX14" fmla="*/ 723901 w 1819275"/>
                    <a:gd name="connsiteY14" fmla="*/ 1162050 h 1545431"/>
                    <a:gd name="connsiteX15" fmla="*/ 766763 w 1819275"/>
                    <a:gd name="connsiteY15" fmla="*/ 1173956 h 1545431"/>
                    <a:gd name="connsiteX16" fmla="*/ 738188 w 1819275"/>
                    <a:gd name="connsiteY16" fmla="*/ 1309687 h 1545431"/>
                    <a:gd name="connsiteX17" fmla="*/ 747713 w 1819275"/>
                    <a:gd name="connsiteY17" fmla="*/ 1347787 h 1545431"/>
                    <a:gd name="connsiteX18" fmla="*/ 860425 w 1819275"/>
                    <a:gd name="connsiteY18" fmla="*/ 1215231 h 1545431"/>
                    <a:gd name="connsiteX19" fmla="*/ 1090612 w 1819275"/>
                    <a:gd name="connsiteY19" fmla="*/ 1545431 h 1545431"/>
                    <a:gd name="connsiteX20" fmla="*/ 1121569 w 1819275"/>
                    <a:gd name="connsiteY20" fmla="*/ 1528763 h 1545431"/>
                    <a:gd name="connsiteX21" fmla="*/ 1126331 w 1819275"/>
                    <a:gd name="connsiteY21" fmla="*/ 1459706 h 1545431"/>
                    <a:gd name="connsiteX22" fmla="*/ 1102519 w 1819275"/>
                    <a:gd name="connsiteY22" fmla="*/ 1428750 h 1545431"/>
                    <a:gd name="connsiteX23" fmla="*/ 1104900 w 1819275"/>
                    <a:gd name="connsiteY23" fmla="*/ 1319213 h 1545431"/>
                    <a:gd name="connsiteX24" fmla="*/ 1207294 w 1819275"/>
                    <a:gd name="connsiteY24" fmla="*/ 1314450 h 1545431"/>
                    <a:gd name="connsiteX25" fmla="*/ 1257301 w 1819275"/>
                    <a:gd name="connsiteY25" fmla="*/ 1231107 h 1545431"/>
                    <a:gd name="connsiteX26" fmla="*/ 1321594 w 1819275"/>
                    <a:gd name="connsiteY26" fmla="*/ 1185863 h 1545431"/>
                    <a:gd name="connsiteX27" fmla="*/ 1373982 w 1819275"/>
                    <a:gd name="connsiteY27" fmla="*/ 1193006 h 1545431"/>
                    <a:gd name="connsiteX28" fmla="*/ 1397794 w 1819275"/>
                    <a:gd name="connsiteY28" fmla="*/ 1237456 h 1545431"/>
                    <a:gd name="connsiteX29" fmla="*/ 1445419 w 1819275"/>
                    <a:gd name="connsiteY29" fmla="*/ 1171575 h 1545431"/>
                    <a:gd name="connsiteX30" fmla="*/ 1504950 w 1819275"/>
                    <a:gd name="connsiteY30" fmla="*/ 1178719 h 1545431"/>
                    <a:gd name="connsiteX31" fmla="*/ 1554163 w 1819275"/>
                    <a:gd name="connsiteY31" fmla="*/ 1116806 h 1545431"/>
                    <a:gd name="connsiteX32" fmla="*/ 1554957 w 1819275"/>
                    <a:gd name="connsiteY32" fmla="*/ 983456 h 1545431"/>
                    <a:gd name="connsiteX33" fmla="*/ 1457325 w 1819275"/>
                    <a:gd name="connsiteY33" fmla="*/ 931068 h 1545431"/>
                    <a:gd name="connsiteX34" fmla="*/ 1447801 w 1819275"/>
                    <a:gd name="connsiteY34" fmla="*/ 845344 h 1545431"/>
                    <a:gd name="connsiteX35" fmla="*/ 1466850 w 1819275"/>
                    <a:gd name="connsiteY35" fmla="*/ 802481 h 1545431"/>
                    <a:gd name="connsiteX36" fmla="*/ 1538288 w 1819275"/>
                    <a:gd name="connsiteY36" fmla="*/ 802482 h 1545431"/>
                    <a:gd name="connsiteX37" fmla="*/ 1612105 w 1819275"/>
                    <a:gd name="connsiteY37" fmla="*/ 726282 h 1545431"/>
                    <a:gd name="connsiteX38" fmla="*/ 1676400 w 1819275"/>
                    <a:gd name="connsiteY38" fmla="*/ 733425 h 1545431"/>
                    <a:gd name="connsiteX39" fmla="*/ 1819275 w 1819275"/>
                    <a:gd name="connsiteY39" fmla="*/ 774700 h 1545431"/>
                    <a:gd name="connsiteX40" fmla="*/ 428625 w 1819275"/>
                    <a:gd name="connsiteY40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373856 w 1819275"/>
                    <a:gd name="connsiteY6" fmla="*/ 1285875 h 1545431"/>
                    <a:gd name="connsiteX7" fmla="*/ 402432 w 1819275"/>
                    <a:gd name="connsiteY7" fmla="*/ 1295401 h 1545431"/>
                    <a:gd name="connsiteX8" fmla="*/ 471487 w 1819275"/>
                    <a:gd name="connsiteY8" fmla="*/ 1259681 h 1545431"/>
                    <a:gd name="connsiteX9" fmla="*/ 521494 w 1819275"/>
                    <a:gd name="connsiteY9" fmla="*/ 1202531 h 1545431"/>
                    <a:gd name="connsiteX10" fmla="*/ 578644 w 1819275"/>
                    <a:gd name="connsiteY10" fmla="*/ 1228725 h 1545431"/>
                    <a:gd name="connsiteX11" fmla="*/ 631031 w 1819275"/>
                    <a:gd name="connsiteY11" fmla="*/ 1245394 h 1545431"/>
                    <a:gd name="connsiteX12" fmla="*/ 640556 w 1819275"/>
                    <a:gd name="connsiteY12" fmla="*/ 1302544 h 1545431"/>
                    <a:gd name="connsiteX13" fmla="*/ 723900 w 1819275"/>
                    <a:gd name="connsiteY13" fmla="*/ 1283494 h 1545431"/>
                    <a:gd name="connsiteX14" fmla="*/ 723901 w 1819275"/>
                    <a:gd name="connsiteY14" fmla="*/ 1162050 h 1545431"/>
                    <a:gd name="connsiteX15" fmla="*/ 766763 w 1819275"/>
                    <a:gd name="connsiteY15" fmla="*/ 1173956 h 1545431"/>
                    <a:gd name="connsiteX16" fmla="*/ 738188 w 1819275"/>
                    <a:gd name="connsiteY16" fmla="*/ 1309687 h 1545431"/>
                    <a:gd name="connsiteX17" fmla="*/ 747713 w 1819275"/>
                    <a:gd name="connsiteY17" fmla="*/ 1347787 h 1545431"/>
                    <a:gd name="connsiteX18" fmla="*/ 860425 w 1819275"/>
                    <a:gd name="connsiteY18" fmla="*/ 1215231 h 1545431"/>
                    <a:gd name="connsiteX19" fmla="*/ 1090612 w 1819275"/>
                    <a:gd name="connsiteY19" fmla="*/ 1545431 h 1545431"/>
                    <a:gd name="connsiteX20" fmla="*/ 1121569 w 1819275"/>
                    <a:gd name="connsiteY20" fmla="*/ 1528763 h 1545431"/>
                    <a:gd name="connsiteX21" fmla="*/ 1126331 w 1819275"/>
                    <a:gd name="connsiteY21" fmla="*/ 1459706 h 1545431"/>
                    <a:gd name="connsiteX22" fmla="*/ 1102519 w 1819275"/>
                    <a:gd name="connsiteY22" fmla="*/ 1428750 h 1545431"/>
                    <a:gd name="connsiteX23" fmla="*/ 1104900 w 1819275"/>
                    <a:gd name="connsiteY23" fmla="*/ 1319213 h 1545431"/>
                    <a:gd name="connsiteX24" fmla="*/ 1207294 w 1819275"/>
                    <a:gd name="connsiteY24" fmla="*/ 1314450 h 1545431"/>
                    <a:gd name="connsiteX25" fmla="*/ 1257301 w 1819275"/>
                    <a:gd name="connsiteY25" fmla="*/ 1231107 h 1545431"/>
                    <a:gd name="connsiteX26" fmla="*/ 1321594 w 1819275"/>
                    <a:gd name="connsiteY26" fmla="*/ 1185863 h 1545431"/>
                    <a:gd name="connsiteX27" fmla="*/ 1373982 w 1819275"/>
                    <a:gd name="connsiteY27" fmla="*/ 1193006 h 1545431"/>
                    <a:gd name="connsiteX28" fmla="*/ 1397794 w 1819275"/>
                    <a:gd name="connsiteY28" fmla="*/ 1237456 h 1545431"/>
                    <a:gd name="connsiteX29" fmla="*/ 1445419 w 1819275"/>
                    <a:gd name="connsiteY29" fmla="*/ 1171575 h 1545431"/>
                    <a:gd name="connsiteX30" fmla="*/ 1504950 w 1819275"/>
                    <a:gd name="connsiteY30" fmla="*/ 1178719 h 1545431"/>
                    <a:gd name="connsiteX31" fmla="*/ 1554163 w 1819275"/>
                    <a:gd name="connsiteY31" fmla="*/ 1116806 h 1545431"/>
                    <a:gd name="connsiteX32" fmla="*/ 1554957 w 1819275"/>
                    <a:gd name="connsiteY32" fmla="*/ 983456 h 1545431"/>
                    <a:gd name="connsiteX33" fmla="*/ 1457325 w 1819275"/>
                    <a:gd name="connsiteY33" fmla="*/ 931068 h 1545431"/>
                    <a:gd name="connsiteX34" fmla="*/ 1447801 w 1819275"/>
                    <a:gd name="connsiteY34" fmla="*/ 845344 h 1545431"/>
                    <a:gd name="connsiteX35" fmla="*/ 1466850 w 1819275"/>
                    <a:gd name="connsiteY35" fmla="*/ 802481 h 1545431"/>
                    <a:gd name="connsiteX36" fmla="*/ 1538288 w 1819275"/>
                    <a:gd name="connsiteY36" fmla="*/ 802482 h 1545431"/>
                    <a:gd name="connsiteX37" fmla="*/ 1612105 w 1819275"/>
                    <a:gd name="connsiteY37" fmla="*/ 726282 h 1545431"/>
                    <a:gd name="connsiteX38" fmla="*/ 1676400 w 1819275"/>
                    <a:gd name="connsiteY38" fmla="*/ 733425 h 1545431"/>
                    <a:gd name="connsiteX39" fmla="*/ 1819275 w 1819275"/>
                    <a:gd name="connsiteY39" fmla="*/ 774700 h 1545431"/>
                    <a:gd name="connsiteX40" fmla="*/ 428625 w 1819275"/>
                    <a:gd name="connsiteY40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373856 w 1819275"/>
                    <a:gd name="connsiteY6" fmla="*/ 1285875 h 1545431"/>
                    <a:gd name="connsiteX7" fmla="*/ 409576 w 1819275"/>
                    <a:gd name="connsiteY7" fmla="*/ 1281113 h 1545431"/>
                    <a:gd name="connsiteX8" fmla="*/ 471487 w 1819275"/>
                    <a:gd name="connsiteY8" fmla="*/ 1259681 h 1545431"/>
                    <a:gd name="connsiteX9" fmla="*/ 521494 w 1819275"/>
                    <a:gd name="connsiteY9" fmla="*/ 1202531 h 1545431"/>
                    <a:gd name="connsiteX10" fmla="*/ 578644 w 1819275"/>
                    <a:gd name="connsiteY10" fmla="*/ 1228725 h 1545431"/>
                    <a:gd name="connsiteX11" fmla="*/ 631031 w 1819275"/>
                    <a:gd name="connsiteY11" fmla="*/ 1245394 h 1545431"/>
                    <a:gd name="connsiteX12" fmla="*/ 640556 w 1819275"/>
                    <a:gd name="connsiteY12" fmla="*/ 1302544 h 1545431"/>
                    <a:gd name="connsiteX13" fmla="*/ 723900 w 1819275"/>
                    <a:gd name="connsiteY13" fmla="*/ 1283494 h 1545431"/>
                    <a:gd name="connsiteX14" fmla="*/ 723901 w 1819275"/>
                    <a:gd name="connsiteY14" fmla="*/ 1162050 h 1545431"/>
                    <a:gd name="connsiteX15" fmla="*/ 766763 w 1819275"/>
                    <a:gd name="connsiteY15" fmla="*/ 1173956 h 1545431"/>
                    <a:gd name="connsiteX16" fmla="*/ 738188 w 1819275"/>
                    <a:gd name="connsiteY16" fmla="*/ 1309687 h 1545431"/>
                    <a:gd name="connsiteX17" fmla="*/ 747713 w 1819275"/>
                    <a:gd name="connsiteY17" fmla="*/ 1347787 h 1545431"/>
                    <a:gd name="connsiteX18" fmla="*/ 860425 w 1819275"/>
                    <a:gd name="connsiteY18" fmla="*/ 1215231 h 1545431"/>
                    <a:gd name="connsiteX19" fmla="*/ 1090612 w 1819275"/>
                    <a:gd name="connsiteY19" fmla="*/ 1545431 h 1545431"/>
                    <a:gd name="connsiteX20" fmla="*/ 1121569 w 1819275"/>
                    <a:gd name="connsiteY20" fmla="*/ 1528763 h 1545431"/>
                    <a:gd name="connsiteX21" fmla="*/ 1126331 w 1819275"/>
                    <a:gd name="connsiteY21" fmla="*/ 1459706 h 1545431"/>
                    <a:gd name="connsiteX22" fmla="*/ 1102519 w 1819275"/>
                    <a:gd name="connsiteY22" fmla="*/ 1428750 h 1545431"/>
                    <a:gd name="connsiteX23" fmla="*/ 1104900 w 1819275"/>
                    <a:gd name="connsiteY23" fmla="*/ 1319213 h 1545431"/>
                    <a:gd name="connsiteX24" fmla="*/ 1207294 w 1819275"/>
                    <a:gd name="connsiteY24" fmla="*/ 1314450 h 1545431"/>
                    <a:gd name="connsiteX25" fmla="*/ 1257301 w 1819275"/>
                    <a:gd name="connsiteY25" fmla="*/ 1231107 h 1545431"/>
                    <a:gd name="connsiteX26" fmla="*/ 1321594 w 1819275"/>
                    <a:gd name="connsiteY26" fmla="*/ 1185863 h 1545431"/>
                    <a:gd name="connsiteX27" fmla="*/ 1373982 w 1819275"/>
                    <a:gd name="connsiteY27" fmla="*/ 1193006 h 1545431"/>
                    <a:gd name="connsiteX28" fmla="*/ 1397794 w 1819275"/>
                    <a:gd name="connsiteY28" fmla="*/ 1237456 h 1545431"/>
                    <a:gd name="connsiteX29" fmla="*/ 1445419 w 1819275"/>
                    <a:gd name="connsiteY29" fmla="*/ 1171575 h 1545431"/>
                    <a:gd name="connsiteX30" fmla="*/ 1504950 w 1819275"/>
                    <a:gd name="connsiteY30" fmla="*/ 1178719 h 1545431"/>
                    <a:gd name="connsiteX31" fmla="*/ 1554163 w 1819275"/>
                    <a:gd name="connsiteY31" fmla="*/ 1116806 h 1545431"/>
                    <a:gd name="connsiteX32" fmla="*/ 1554957 w 1819275"/>
                    <a:gd name="connsiteY32" fmla="*/ 983456 h 1545431"/>
                    <a:gd name="connsiteX33" fmla="*/ 1457325 w 1819275"/>
                    <a:gd name="connsiteY33" fmla="*/ 931068 h 1545431"/>
                    <a:gd name="connsiteX34" fmla="*/ 1447801 w 1819275"/>
                    <a:gd name="connsiteY34" fmla="*/ 845344 h 1545431"/>
                    <a:gd name="connsiteX35" fmla="*/ 1466850 w 1819275"/>
                    <a:gd name="connsiteY35" fmla="*/ 802481 h 1545431"/>
                    <a:gd name="connsiteX36" fmla="*/ 1538288 w 1819275"/>
                    <a:gd name="connsiteY36" fmla="*/ 802482 h 1545431"/>
                    <a:gd name="connsiteX37" fmla="*/ 1612105 w 1819275"/>
                    <a:gd name="connsiteY37" fmla="*/ 726282 h 1545431"/>
                    <a:gd name="connsiteX38" fmla="*/ 1676400 w 1819275"/>
                    <a:gd name="connsiteY38" fmla="*/ 733425 h 1545431"/>
                    <a:gd name="connsiteX39" fmla="*/ 1819275 w 1819275"/>
                    <a:gd name="connsiteY39" fmla="*/ 774700 h 1545431"/>
                    <a:gd name="connsiteX40" fmla="*/ 428625 w 1819275"/>
                    <a:gd name="connsiteY40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285750 w 1819275"/>
                    <a:gd name="connsiteY6" fmla="*/ 1345406 h 1545431"/>
                    <a:gd name="connsiteX7" fmla="*/ 373856 w 1819275"/>
                    <a:gd name="connsiteY7" fmla="*/ 1285875 h 1545431"/>
                    <a:gd name="connsiteX8" fmla="*/ 409576 w 1819275"/>
                    <a:gd name="connsiteY8" fmla="*/ 1281113 h 1545431"/>
                    <a:gd name="connsiteX9" fmla="*/ 471487 w 1819275"/>
                    <a:gd name="connsiteY9" fmla="*/ 1259681 h 1545431"/>
                    <a:gd name="connsiteX10" fmla="*/ 521494 w 1819275"/>
                    <a:gd name="connsiteY10" fmla="*/ 1202531 h 1545431"/>
                    <a:gd name="connsiteX11" fmla="*/ 578644 w 1819275"/>
                    <a:gd name="connsiteY11" fmla="*/ 1228725 h 1545431"/>
                    <a:gd name="connsiteX12" fmla="*/ 631031 w 1819275"/>
                    <a:gd name="connsiteY12" fmla="*/ 1245394 h 1545431"/>
                    <a:gd name="connsiteX13" fmla="*/ 640556 w 1819275"/>
                    <a:gd name="connsiteY13" fmla="*/ 1302544 h 1545431"/>
                    <a:gd name="connsiteX14" fmla="*/ 723900 w 1819275"/>
                    <a:gd name="connsiteY14" fmla="*/ 1283494 h 1545431"/>
                    <a:gd name="connsiteX15" fmla="*/ 723901 w 1819275"/>
                    <a:gd name="connsiteY15" fmla="*/ 1162050 h 1545431"/>
                    <a:gd name="connsiteX16" fmla="*/ 766763 w 1819275"/>
                    <a:gd name="connsiteY16" fmla="*/ 1173956 h 1545431"/>
                    <a:gd name="connsiteX17" fmla="*/ 738188 w 1819275"/>
                    <a:gd name="connsiteY17" fmla="*/ 1309687 h 1545431"/>
                    <a:gd name="connsiteX18" fmla="*/ 747713 w 1819275"/>
                    <a:gd name="connsiteY18" fmla="*/ 1347787 h 1545431"/>
                    <a:gd name="connsiteX19" fmla="*/ 860425 w 1819275"/>
                    <a:gd name="connsiteY19" fmla="*/ 1215231 h 1545431"/>
                    <a:gd name="connsiteX20" fmla="*/ 1090612 w 1819275"/>
                    <a:gd name="connsiteY20" fmla="*/ 1545431 h 1545431"/>
                    <a:gd name="connsiteX21" fmla="*/ 1121569 w 1819275"/>
                    <a:gd name="connsiteY21" fmla="*/ 1528763 h 1545431"/>
                    <a:gd name="connsiteX22" fmla="*/ 1126331 w 1819275"/>
                    <a:gd name="connsiteY22" fmla="*/ 1459706 h 1545431"/>
                    <a:gd name="connsiteX23" fmla="*/ 1102519 w 1819275"/>
                    <a:gd name="connsiteY23" fmla="*/ 1428750 h 1545431"/>
                    <a:gd name="connsiteX24" fmla="*/ 1104900 w 1819275"/>
                    <a:gd name="connsiteY24" fmla="*/ 1319213 h 1545431"/>
                    <a:gd name="connsiteX25" fmla="*/ 1207294 w 1819275"/>
                    <a:gd name="connsiteY25" fmla="*/ 1314450 h 1545431"/>
                    <a:gd name="connsiteX26" fmla="*/ 1257301 w 1819275"/>
                    <a:gd name="connsiteY26" fmla="*/ 1231107 h 1545431"/>
                    <a:gd name="connsiteX27" fmla="*/ 1321594 w 1819275"/>
                    <a:gd name="connsiteY27" fmla="*/ 1185863 h 1545431"/>
                    <a:gd name="connsiteX28" fmla="*/ 1373982 w 1819275"/>
                    <a:gd name="connsiteY28" fmla="*/ 1193006 h 1545431"/>
                    <a:gd name="connsiteX29" fmla="*/ 1397794 w 1819275"/>
                    <a:gd name="connsiteY29" fmla="*/ 1237456 h 1545431"/>
                    <a:gd name="connsiteX30" fmla="*/ 1445419 w 1819275"/>
                    <a:gd name="connsiteY30" fmla="*/ 1171575 h 1545431"/>
                    <a:gd name="connsiteX31" fmla="*/ 1504950 w 1819275"/>
                    <a:gd name="connsiteY31" fmla="*/ 1178719 h 1545431"/>
                    <a:gd name="connsiteX32" fmla="*/ 1554163 w 1819275"/>
                    <a:gd name="connsiteY32" fmla="*/ 1116806 h 1545431"/>
                    <a:gd name="connsiteX33" fmla="*/ 1554957 w 1819275"/>
                    <a:gd name="connsiteY33" fmla="*/ 983456 h 1545431"/>
                    <a:gd name="connsiteX34" fmla="*/ 1457325 w 1819275"/>
                    <a:gd name="connsiteY34" fmla="*/ 931068 h 1545431"/>
                    <a:gd name="connsiteX35" fmla="*/ 1447801 w 1819275"/>
                    <a:gd name="connsiteY35" fmla="*/ 845344 h 1545431"/>
                    <a:gd name="connsiteX36" fmla="*/ 1466850 w 1819275"/>
                    <a:gd name="connsiteY36" fmla="*/ 802481 h 1545431"/>
                    <a:gd name="connsiteX37" fmla="*/ 1538288 w 1819275"/>
                    <a:gd name="connsiteY37" fmla="*/ 802482 h 1545431"/>
                    <a:gd name="connsiteX38" fmla="*/ 1612105 w 1819275"/>
                    <a:gd name="connsiteY38" fmla="*/ 726282 h 1545431"/>
                    <a:gd name="connsiteX39" fmla="*/ 1676400 w 1819275"/>
                    <a:gd name="connsiteY39" fmla="*/ 733425 h 1545431"/>
                    <a:gd name="connsiteX40" fmla="*/ 1819275 w 1819275"/>
                    <a:gd name="connsiteY40" fmla="*/ 774700 h 1545431"/>
                    <a:gd name="connsiteX41" fmla="*/ 428625 w 1819275"/>
                    <a:gd name="connsiteY41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152400 w 1819275"/>
                    <a:gd name="connsiteY5" fmla="*/ 1441450 h 1545431"/>
                    <a:gd name="connsiteX6" fmla="*/ 311943 w 1819275"/>
                    <a:gd name="connsiteY6" fmla="*/ 1347787 h 1545431"/>
                    <a:gd name="connsiteX7" fmla="*/ 373856 w 1819275"/>
                    <a:gd name="connsiteY7" fmla="*/ 1285875 h 1545431"/>
                    <a:gd name="connsiteX8" fmla="*/ 409576 w 1819275"/>
                    <a:gd name="connsiteY8" fmla="*/ 1281113 h 1545431"/>
                    <a:gd name="connsiteX9" fmla="*/ 471487 w 1819275"/>
                    <a:gd name="connsiteY9" fmla="*/ 1259681 h 1545431"/>
                    <a:gd name="connsiteX10" fmla="*/ 521494 w 1819275"/>
                    <a:gd name="connsiteY10" fmla="*/ 1202531 h 1545431"/>
                    <a:gd name="connsiteX11" fmla="*/ 578644 w 1819275"/>
                    <a:gd name="connsiteY11" fmla="*/ 1228725 h 1545431"/>
                    <a:gd name="connsiteX12" fmla="*/ 631031 w 1819275"/>
                    <a:gd name="connsiteY12" fmla="*/ 1245394 h 1545431"/>
                    <a:gd name="connsiteX13" fmla="*/ 640556 w 1819275"/>
                    <a:gd name="connsiteY13" fmla="*/ 1302544 h 1545431"/>
                    <a:gd name="connsiteX14" fmla="*/ 723900 w 1819275"/>
                    <a:gd name="connsiteY14" fmla="*/ 1283494 h 1545431"/>
                    <a:gd name="connsiteX15" fmla="*/ 723901 w 1819275"/>
                    <a:gd name="connsiteY15" fmla="*/ 1162050 h 1545431"/>
                    <a:gd name="connsiteX16" fmla="*/ 766763 w 1819275"/>
                    <a:gd name="connsiteY16" fmla="*/ 1173956 h 1545431"/>
                    <a:gd name="connsiteX17" fmla="*/ 738188 w 1819275"/>
                    <a:gd name="connsiteY17" fmla="*/ 1309687 h 1545431"/>
                    <a:gd name="connsiteX18" fmla="*/ 747713 w 1819275"/>
                    <a:gd name="connsiteY18" fmla="*/ 1347787 h 1545431"/>
                    <a:gd name="connsiteX19" fmla="*/ 860425 w 1819275"/>
                    <a:gd name="connsiteY19" fmla="*/ 1215231 h 1545431"/>
                    <a:gd name="connsiteX20" fmla="*/ 1090612 w 1819275"/>
                    <a:gd name="connsiteY20" fmla="*/ 1545431 h 1545431"/>
                    <a:gd name="connsiteX21" fmla="*/ 1121569 w 1819275"/>
                    <a:gd name="connsiteY21" fmla="*/ 1528763 h 1545431"/>
                    <a:gd name="connsiteX22" fmla="*/ 1126331 w 1819275"/>
                    <a:gd name="connsiteY22" fmla="*/ 1459706 h 1545431"/>
                    <a:gd name="connsiteX23" fmla="*/ 1102519 w 1819275"/>
                    <a:gd name="connsiteY23" fmla="*/ 1428750 h 1545431"/>
                    <a:gd name="connsiteX24" fmla="*/ 1104900 w 1819275"/>
                    <a:gd name="connsiteY24" fmla="*/ 1319213 h 1545431"/>
                    <a:gd name="connsiteX25" fmla="*/ 1207294 w 1819275"/>
                    <a:gd name="connsiteY25" fmla="*/ 1314450 h 1545431"/>
                    <a:gd name="connsiteX26" fmla="*/ 1257301 w 1819275"/>
                    <a:gd name="connsiteY26" fmla="*/ 1231107 h 1545431"/>
                    <a:gd name="connsiteX27" fmla="*/ 1321594 w 1819275"/>
                    <a:gd name="connsiteY27" fmla="*/ 1185863 h 1545431"/>
                    <a:gd name="connsiteX28" fmla="*/ 1373982 w 1819275"/>
                    <a:gd name="connsiteY28" fmla="*/ 1193006 h 1545431"/>
                    <a:gd name="connsiteX29" fmla="*/ 1397794 w 1819275"/>
                    <a:gd name="connsiteY29" fmla="*/ 1237456 h 1545431"/>
                    <a:gd name="connsiteX30" fmla="*/ 1445419 w 1819275"/>
                    <a:gd name="connsiteY30" fmla="*/ 1171575 h 1545431"/>
                    <a:gd name="connsiteX31" fmla="*/ 1504950 w 1819275"/>
                    <a:gd name="connsiteY31" fmla="*/ 1178719 h 1545431"/>
                    <a:gd name="connsiteX32" fmla="*/ 1554163 w 1819275"/>
                    <a:gd name="connsiteY32" fmla="*/ 1116806 h 1545431"/>
                    <a:gd name="connsiteX33" fmla="*/ 1554957 w 1819275"/>
                    <a:gd name="connsiteY33" fmla="*/ 983456 h 1545431"/>
                    <a:gd name="connsiteX34" fmla="*/ 1457325 w 1819275"/>
                    <a:gd name="connsiteY34" fmla="*/ 931068 h 1545431"/>
                    <a:gd name="connsiteX35" fmla="*/ 1447801 w 1819275"/>
                    <a:gd name="connsiteY35" fmla="*/ 845344 h 1545431"/>
                    <a:gd name="connsiteX36" fmla="*/ 1466850 w 1819275"/>
                    <a:gd name="connsiteY36" fmla="*/ 802481 h 1545431"/>
                    <a:gd name="connsiteX37" fmla="*/ 1538288 w 1819275"/>
                    <a:gd name="connsiteY37" fmla="*/ 802482 h 1545431"/>
                    <a:gd name="connsiteX38" fmla="*/ 1612105 w 1819275"/>
                    <a:gd name="connsiteY38" fmla="*/ 726282 h 1545431"/>
                    <a:gd name="connsiteX39" fmla="*/ 1676400 w 1819275"/>
                    <a:gd name="connsiteY39" fmla="*/ 733425 h 1545431"/>
                    <a:gd name="connsiteX40" fmla="*/ 1819275 w 1819275"/>
                    <a:gd name="connsiteY40" fmla="*/ 774700 h 1545431"/>
                    <a:gd name="connsiteX41" fmla="*/ 428625 w 1819275"/>
                    <a:gd name="connsiteY41" fmla="*/ 0 h 1545431"/>
                    <a:gd name="connsiteX0" fmla="*/ 428625 w 1819275"/>
                    <a:gd name="connsiteY0" fmla="*/ 0 h 1545431"/>
                    <a:gd name="connsiteX1" fmla="*/ 104775 w 1819275"/>
                    <a:gd name="connsiteY1" fmla="*/ 165100 h 1545431"/>
                    <a:gd name="connsiteX2" fmla="*/ 285750 w 1819275"/>
                    <a:gd name="connsiteY2" fmla="*/ 508000 h 1545431"/>
                    <a:gd name="connsiteX3" fmla="*/ 19050 w 1819275"/>
                    <a:gd name="connsiteY3" fmla="*/ 927100 h 1545431"/>
                    <a:gd name="connsiteX4" fmla="*/ 0 w 1819275"/>
                    <a:gd name="connsiteY4" fmla="*/ 1327150 h 1545431"/>
                    <a:gd name="connsiteX5" fmla="*/ 240507 w 1819275"/>
                    <a:gd name="connsiteY5" fmla="*/ 1379537 h 1545431"/>
                    <a:gd name="connsiteX6" fmla="*/ 311943 w 1819275"/>
                    <a:gd name="connsiteY6" fmla="*/ 1347787 h 1545431"/>
                    <a:gd name="connsiteX7" fmla="*/ 373856 w 1819275"/>
                    <a:gd name="connsiteY7" fmla="*/ 1285875 h 1545431"/>
                    <a:gd name="connsiteX8" fmla="*/ 409576 w 1819275"/>
                    <a:gd name="connsiteY8" fmla="*/ 1281113 h 1545431"/>
                    <a:gd name="connsiteX9" fmla="*/ 471487 w 1819275"/>
                    <a:gd name="connsiteY9" fmla="*/ 1259681 h 1545431"/>
                    <a:gd name="connsiteX10" fmla="*/ 521494 w 1819275"/>
                    <a:gd name="connsiteY10" fmla="*/ 1202531 h 1545431"/>
                    <a:gd name="connsiteX11" fmla="*/ 578644 w 1819275"/>
                    <a:gd name="connsiteY11" fmla="*/ 1228725 h 1545431"/>
                    <a:gd name="connsiteX12" fmla="*/ 631031 w 1819275"/>
                    <a:gd name="connsiteY12" fmla="*/ 1245394 h 1545431"/>
                    <a:gd name="connsiteX13" fmla="*/ 640556 w 1819275"/>
                    <a:gd name="connsiteY13" fmla="*/ 1302544 h 1545431"/>
                    <a:gd name="connsiteX14" fmla="*/ 723900 w 1819275"/>
                    <a:gd name="connsiteY14" fmla="*/ 1283494 h 1545431"/>
                    <a:gd name="connsiteX15" fmla="*/ 723901 w 1819275"/>
                    <a:gd name="connsiteY15" fmla="*/ 1162050 h 1545431"/>
                    <a:gd name="connsiteX16" fmla="*/ 766763 w 1819275"/>
                    <a:gd name="connsiteY16" fmla="*/ 1173956 h 1545431"/>
                    <a:gd name="connsiteX17" fmla="*/ 738188 w 1819275"/>
                    <a:gd name="connsiteY17" fmla="*/ 1309687 h 1545431"/>
                    <a:gd name="connsiteX18" fmla="*/ 747713 w 1819275"/>
                    <a:gd name="connsiteY18" fmla="*/ 1347787 h 1545431"/>
                    <a:gd name="connsiteX19" fmla="*/ 860425 w 1819275"/>
                    <a:gd name="connsiteY19" fmla="*/ 1215231 h 1545431"/>
                    <a:gd name="connsiteX20" fmla="*/ 1090612 w 1819275"/>
                    <a:gd name="connsiteY20" fmla="*/ 1545431 h 1545431"/>
                    <a:gd name="connsiteX21" fmla="*/ 1121569 w 1819275"/>
                    <a:gd name="connsiteY21" fmla="*/ 1528763 h 1545431"/>
                    <a:gd name="connsiteX22" fmla="*/ 1126331 w 1819275"/>
                    <a:gd name="connsiteY22" fmla="*/ 1459706 h 1545431"/>
                    <a:gd name="connsiteX23" fmla="*/ 1102519 w 1819275"/>
                    <a:gd name="connsiteY23" fmla="*/ 1428750 h 1545431"/>
                    <a:gd name="connsiteX24" fmla="*/ 1104900 w 1819275"/>
                    <a:gd name="connsiteY24" fmla="*/ 1319213 h 1545431"/>
                    <a:gd name="connsiteX25" fmla="*/ 1207294 w 1819275"/>
                    <a:gd name="connsiteY25" fmla="*/ 1314450 h 1545431"/>
                    <a:gd name="connsiteX26" fmla="*/ 1257301 w 1819275"/>
                    <a:gd name="connsiteY26" fmla="*/ 1231107 h 1545431"/>
                    <a:gd name="connsiteX27" fmla="*/ 1321594 w 1819275"/>
                    <a:gd name="connsiteY27" fmla="*/ 1185863 h 1545431"/>
                    <a:gd name="connsiteX28" fmla="*/ 1373982 w 1819275"/>
                    <a:gd name="connsiteY28" fmla="*/ 1193006 h 1545431"/>
                    <a:gd name="connsiteX29" fmla="*/ 1397794 w 1819275"/>
                    <a:gd name="connsiteY29" fmla="*/ 1237456 h 1545431"/>
                    <a:gd name="connsiteX30" fmla="*/ 1445419 w 1819275"/>
                    <a:gd name="connsiteY30" fmla="*/ 1171575 h 1545431"/>
                    <a:gd name="connsiteX31" fmla="*/ 1504950 w 1819275"/>
                    <a:gd name="connsiteY31" fmla="*/ 1178719 h 1545431"/>
                    <a:gd name="connsiteX32" fmla="*/ 1554163 w 1819275"/>
                    <a:gd name="connsiteY32" fmla="*/ 1116806 h 1545431"/>
                    <a:gd name="connsiteX33" fmla="*/ 1554957 w 1819275"/>
                    <a:gd name="connsiteY33" fmla="*/ 983456 h 1545431"/>
                    <a:gd name="connsiteX34" fmla="*/ 1457325 w 1819275"/>
                    <a:gd name="connsiteY34" fmla="*/ 931068 h 1545431"/>
                    <a:gd name="connsiteX35" fmla="*/ 1447801 w 1819275"/>
                    <a:gd name="connsiteY35" fmla="*/ 845344 h 1545431"/>
                    <a:gd name="connsiteX36" fmla="*/ 1466850 w 1819275"/>
                    <a:gd name="connsiteY36" fmla="*/ 802481 h 1545431"/>
                    <a:gd name="connsiteX37" fmla="*/ 1538288 w 1819275"/>
                    <a:gd name="connsiteY37" fmla="*/ 802482 h 1545431"/>
                    <a:gd name="connsiteX38" fmla="*/ 1612105 w 1819275"/>
                    <a:gd name="connsiteY38" fmla="*/ 726282 h 1545431"/>
                    <a:gd name="connsiteX39" fmla="*/ 1676400 w 1819275"/>
                    <a:gd name="connsiteY39" fmla="*/ 733425 h 1545431"/>
                    <a:gd name="connsiteX40" fmla="*/ 1819275 w 1819275"/>
                    <a:gd name="connsiteY40" fmla="*/ 774700 h 1545431"/>
                    <a:gd name="connsiteX41" fmla="*/ 428625 w 1819275"/>
                    <a:gd name="connsiteY41" fmla="*/ 0 h 1545431"/>
                    <a:gd name="connsiteX0" fmla="*/ 409575 w 1800225"/>
                    <a:gd name="connsiteY0" fmla="*/ 0 h 1545431"/>
                    <a:gd name="connsiteX1" fmla="*/ 85725 w 1800225"/>
                    <a:gd name="connsiteY1" fmla="*/ 165100 h 1545431"/>
                    <a:gd name="connsiteX2" fmla="*/ 266700 w 1800225"/>
                    <a:gd name="connsiteY2" fmla="*/ 508000 h 1545431"/>
                    <a:gd name="connsiteX3" fmla="*/ 0 w 1800225"/>
                    <a:gd name="connsiteY3" fmla="*/ 927100 h 1545431"/>
                    <a:gd name="connsiteX4" fmla="*/ 161925 w 1800225"/>
                    <a:gd name="connsiteY4" fmla="*/ 1372394 h 1545431"/>
                    <a:gd name="connsiteX5" fmla="*/ 221457 w 1800225"/>
                    <a:gd name="connsiteY5" fmla="*/ 1379537 h 1545431"/>
                    <a:gd name="connsiteX6" fmla="*/ 292893 w 1800225"/>
                    <a:gd name="connsiteY6" fmla="*/ 1347787 h 1545431"/>
                    <a:gd name="connsiteX7" fmla="*/ 354806 w 1800225"/>
                    <a:gd name="connsiteY7" fmla="*/ 1285875 h 1545431"/>
                    <a:gd name="connsiteX8" fmla="*/ 390526 w 1800225"/>
                    <a:gd name="connsiteY8" fmla="*/ 1281113 h 1545431"/>
                    <a:gd name="connsiteX9" fmla="*/ 452437 w 1800225"/>
                    <a:gd name="connsiteY9" fmla="*/ 1259681 h 1545431"/>
                    <a:gd name="connsiteX10" fmla="*/ 502444 w 1800225"/>
                    <a:gd name="connsiteY10" fmla="*/ 1202531 h 1545431"/>
                    <a:gd name="connsiteX11" fmla="*/ 559594 w 1800225"/>
                    <a:gd name="connsiteY11" fmla="*/ 1228725 h 1545431"/>
                    <a:gd name="connsiteX12" fmla="*/ 611981 w 1800225"/>
                    <a:gd name="connsiteY12" fmla="*/ 1245394 h 1545431"/>
                    <a:gd name="connsiteX13" fmla="*/ 621506 w 1800225"/>
                    <a:gd name="connsiteY13" fmla="*/ 1302544 h 1545431"/>
                    <a:gd name="connsiteX14" fmla="*/ 704850 w 1800225"/>
                    <a:gd name="connsiteY14" fmla="*/ 1283494 h 1545431"/>
                    <a:gd name="connsiteX15" fmla="*/ 704851 w 1800225"/>
                    <a:gd name="connsiteY15" fmla="*/ 1162050 h 1545431"/>
                    <a:gd name="connsiteX16" fmla="*/ 747713 w 1800225"/>
                    <a:gd name="connsiteY16" fmla="*/ 1173956 h 1545431"/>
                    <a:gd name="connsiteX17" fmla="*/ 719138 w 1800225"/>
                    <a:gd name="connsiteY17" fmla="*/ 1309687 h 1545431"/>
                    <a:gd name="connsiteX18" fmla="*/ 728663 w 1800225"/>
                    <a:gd name="connsiteY18" fmla="*/ 1347787 h 1545431"/>
                    <a:gd name="connsiteX19" fmla="*/ 841375 w 1800225"/>
                    <a:gd name="connsiteY19" fmla="*/ 1215231 h 1545431"/>
                    <a:gd name="connsiteX20" fmla="*/ 1071562 w 1800225"/>
                    <a:gd name="connsiteY20" fmla="*/ 1545431 h 1545431"/>
                    <a:gd name="connsiteX21" fmla="*/ 1102519 w 1800225"/>
                    <a:gd name="connsiteY21" fmla="*/ 1528763 h 1545431"/>
                    <a:gd name="connsiteX22" fmla="*/ 1107281 w 1800225"/>
                    <a:gd name="connsiteY22" fmla="*/ 1459706 h 1545431"/>
                    <a:gd name="connsiteX23" fmla="*/ 1083469 w 1800225"/>
                    <a:gd name="connsiteY23" fmla="*/ 1428750 h 1545431"/>
                    <a:gd name="connsiteX24" fmla="*/ 1085850 w 1800225"/>
                    <a:gd name="connsiteY24" fmla="*/ 1319213 h 1545431"/>
                    <a:gd name="connsiteX25" fmla="*/ 1188244 w 1800225"/>
                    <a:gd name="connsiteY25" fmla="*/ 1314450 h 1545431"/>
                    <a:gd name="connsiteX26" fmla="*/ 1238251 w 1800225"/>
                    <a:gd name="connsiteY26" fmla="*/ 1231107 h 1545431"/>
                    <a:gd name="connsiteX27" fmla="*/ 1302544 w 1800225"/>
                    <a:gd name="connsiteY27" fmla="*/ 1185863 h 1545431"/>
                    <a:gd name="connsiteX28" fmla="*/ 1354932 w 1800225"/>
                    <a:gd name="connsiteY28" fmla="*/ 1193006 h 1545431"/>
                    <a:gd name="connsiteX29" fmla="*/ 1378744 w 1800225"/>
                    <a:gd name="connsiteY29" fmla="*/ 1237456 h 1545431"/>
                    <a:gd name="connsiteX30" fmla="*/ 1426369 w 1800225"/>
                    <a:gd name="connsiteY30" fmla="*/ 1171575 h 1545431"/>
                    <a:gd name="connsiteX31" fmla="*/ 1485900 w 1800225"/>
                    <a:gd name="connsiteY31" fmla="*/ 1178719 h 1545431"/>
                    <a:gd name="connsiteX32" fmla="*/ 1535113 w 1800225"/>
                    <a:gd name="connsiteY32" fmla="*/ 1116806 h 1545431"/>
                    <a:gd name="connsiteX33" fmla="*/ 1535907 w 1800225"/>
                    <a:gd name="connsiteY33" fmla="*/ 983456 h 1545431"/>
                    <a:gd name="connsiteX34" fmla="*/ 1438275 w 1800225"/>
                    <a:gd name="connsiteY34" fmla="*/ 931068 h 1545431"/>
                    <a:gd name="connsiteX35" fmla="*/ 1428751 w 1800225"/>
                    <a:gd name="connsiteY35" fmla="*/ 845344 h 1545431"/>
                    <a:gd name="connsiteX36" fmla="*/ 1447800 w 1800225"/>
                    <a:gd name="connsiteY36" fmla="*/ 802481 h 1545431"/>
                    <a:gd name="connsiteX37" fmla="*/ 1519238 w 1800225"/>
                    <a:gd name="connsiteY37" fmla="*/ 802482 h 1545431"/>
                    <a:gd name="connsiteX38" fmla="*/ 1593055 w 1800225"/>
                    <a:gd name="connsiteY38" fmla="*/ 726282 h 1545431"/>
                    <a:gd name="connsiteX39" fmla="*/ 1657350 w 1800225"/>
                    <a:gd name="connsiteY39" fmla="*/ 733425 h 1545431"/>
                    <a:gd name="connsiteX40" fmla="*/ 1800225 w 1800225"/>
                    <a:gd name="connsiteY40" fmla="*/ 774700 h 1545431"/>
                    <a:gd name="connsiteX41" fmla="*/ 409575 w 1800225"/>
                    <a:gd name="connsiteY41" fmla="*/ 0 h 1545431"/>
                    <a:gd name="connsiteX0" fmla="*/ 409575 w 1800225"/>
                    <a:gd name="connsiteY0" fmla="*/ 0 h 1545431"/>
                    <a:gd name="connsiteX1" fmla="*/ 85725 w 1800225"/>
                    <a:gd name="connsiteY1" fmla="*/ 165100 h 1545431"/>
                    <a:gd name="connsiteX2" fmla="*/ 266700 w 1800225"/>
                    <a:gd name="connsiteY2" fmla="*/ 508000 h 1545431"/>
                    <a:gd name="connsiteX3" fmla="*/ 0 w 1800225"/>
                    <a:gd name="connsiteY3" fmla="*/ 927100 h 1545431"/>
                    <a:gd name="connsiteX4" fmla="*/ 97631 w 1800225"/>
                    <a:gd name="connsiteY4" fmla="*/ 1204913 h 1545431"/>
                    <a:gd name="connsiteX5" fmla="*/ 161925 w 1800225"/>
                    <a:gd name="connsiteY5" fmla="*/ 1372394 h 1545431"/>
                    <a:gd name="connsiteX6" fmla="*/ 221457 w 1800225"/>
                    <a:gd name="connsiteY6" fmla="*/ 1379537 h 1545431"/>
                    <a:gd name="connsiteX7" fmla="*/ 292893 w 1800225"/>
                    <a:gd name="connsiteY7" fmla="*/ 1347787 h 1545431"/>
                    <a:gd name="connsiteX8" fmla="*/ 354806 w 1800225"/>
                    <a:gd name="connsiteY8" fmla="*/ 1285875 h 1545431"/>
                    <a:gd name="connsiteX9" fmla="*/ 390526 w 1800225"/>
                    <a:gd name="connsiteY9" fmla="*/ 1281113 h 1545431"/>
                    <a:gd name="connsiteX10" fmla="*/ 452437 w 1800225"/>
                    <a:gd name="connsiteY10" fmla="*/ 1259681 h 1545431"/>
                    <a:gd name="connsiteX11" fmla="*/ 502444 w 1800225"/>
                    <a:gd name="connsiteY11" fmla="*/ 1202531 h 1545431"/>
                    <a:gd name="connsiteX12" fmla="*/ 559594 w 1800225"/>
                    <a:gd name="connsiteY12" fmla="*/ 1228725 h 1545431"/>
                    <a:gd name="connsiteX13" fmla="*/ 611981 w 1800225"/>
                    <a:gd name="connsiteY13" fmla="*/ 1245394 h 1545431"/>
                    <a:gd name="connsiteX14" fmla="*/ 621506 w 1800225"/>
                    <a:gd name="connsiteY14" fmla="*/ 1302544 h 1545431"/>
                    <a:gd name="connsiteX15" fmla="*/ 704850 w 1800225"/>
                    <a:gd name="connsiteY15" fmla="*/ 1283494 h 1545431"/>
                    <a:gd name="connsiteX16" fmla="*/ 704851 w 1800225"/>
                    <a:gd name="connsiteY16" fmla="*/ 1162050 h 1545431"/>
                    <a:gd name="connsiteX17" fmla="*/ 747713 w 1800225"/>
                    <a:gd name="connsiteY17" fmla="*/ 1173956 h 1545431"/>
                    <a:gd name="connsiteX18" fmla="*/ 719138 w 1800225"/>
                    <a:gd name="connsiteY18" fmla="*/ 1309687 h 1545431"/>
                    <a:gd name="connsiteX19" fmla="*/ 728663 w 1800225"/>
                    <a:gd name="connsiteY19" fmla="*/ 1347787 h 1545431"/>
                    <a:gd name="connsiteX20" fmla="*/ 841375 w 1800225"/>
                    <a:gd name="connsiteY20" fmla="*/ 1215231 h 1545431"/>
                    <a:gd name="connsiteX21" fmla="*/ 1071562 w 1800225"/>
                    <a:gd name="connsiteY21" fmla="*/ 1545431 h 1545431"/>
                    <a:gd name="connsiteX22" fmla="*/ 1102519 w 1800225"/>
                    <a:gd name="connsiteY22" fmla="*/ 1528763 h 1545431"/>
                    <a:gd name="connsiteX23" fmla="*/ 1107281 w 1800225"/>
                    <a:gd name="connsiteY23" fmla="*/ 1459706 h 1545431"/>
                    <a:gd name="connsiteX24" fmla="*/ 1083469 w 1800225"/>
                    <a:gd name="connsiteY24" fmla="*/ 1428750 h 1545431"/>
                    <a:gd name="connsiteX25" fmla="*/ 1085850 w 1800225"/>
                    <a:gd name="connsiteY25" fmla="*/ 1319213 h 1545431"/>
                    <a:gd name="connsiteX26" fmla="*/ 1188244 w 1800225"/>
                    <a:gd name="connsiteY26" fmla="*/ 1314450 h 1545431"/>
                    <a:gd name="connsiteX27" fmla="*/ 1238251 w 1800225"/>
                    <a:gd name="connsiteY27" fmla="*/ 1231107 h 1545431"/>
                    <a:gd name="connsiteX28" fmla="*/ 1302544 w 1800225"/>
                    <a:gd name="connsiteY28" fmla="*/ 1185863 h 1545431"/>
                    <a:gd name="connsiteX29" fmla="*/ 1354932 w 1800225"/>
                    <a:gd name="connsiteY29" fmla="*/ 1193006 h 1545431"/>
                    <a:gd name="connsiteX30" fmla="*/ 1378744 w 1800225"/>
                    <a:gd name="connsiteY30" fmla="*/ 1237456 h 1545431"/>
                    <a:gd name="connsiteX31" fmla="*/ 1426369 w 1800225"/>
                    <a:gd name="connsiteY31" fmla="*/ 1171575 h 1545431"/>
                    <a:gd name="connsiteX32" fmla="*/ 1485900 w 1800225"/>
                    <a:gd name="connsiteY32" fmla="*/ 1178719 h 1545431"/>
                    <a:gd name="connsiteX33" fmla="*/ 1535113 w 1800225"/>
                    <a:gd name="connsiteY33" fmla="*/ 1116806 h 1545431"/>
                    <a:gd name="connsiteX34" fmla="*/ 1535907 w 1800225"/>
                    <a:gd name="connsiteY34" fmla="*/ 983456 h 1545431"/>
                    <a:gd name="connsiteX35" fmla="*/ 1438275 w 1800225"/>
                    <a:gd name="connsiteY35" fmla="*/ 931068 h 1545431"/>
                    <a:gd name="connsiteX36" fmla="*/ 1428751 w 1800225"/>
                    <a:gd name="connsiteY36" fmla="*/ 845344 h 1545431"/>
                    <a:gd name="connsiteX37" fmla="*/ 1447800 w 1800225"/>
                    <a:gd name="connsiteY37" fmla="*/ 802481 h 1545431"/>
                    <a:gd name="connsiteX38" fmla="*/ 1519238 w 1800225"/>
                    <a:gd name="connsiteY38" fmla="*/ 802482 h 1545431"/>
                    <a:gd name="connsiteX39" fmla="*/ 1593055 w 1800225"/>
                    <a:gd name="connsiteY39" fmla="*/ 726282 h 1545431"/>
                    <a:gd name="connsiteX40" fmla="*/ 1657350 w 1800225"/>
                    <a:gd name="connsiteY40" fmla="*/ 733425 h 1545431"/>
                    <a:gd name="connsiteX41" fmla="*/ 1800225 w 1800225"/>
                    <a:gd name="connsiteY41" fmla="*/ 774700 h 1545431"/>
                    <a:gd name="connsiteX42" fmla="*/ 409575 w 1800225"/>
                    <a:gd name="connsiteY42" fmla="*/ 0 h 1545431"/>
                    <a:gd name="connsiteX0" fmla="*/ 409575 w 1800225"/>
                    <a:gd name="connsiteY0" fmla="*/ 0 h 1545431"/>
                    <a:gd name="connsiteX1" fmla="*/ 85725 w 1800225"/>
                    <a:gd name="connsiteY1" fmla="*/ 165100 h 1545431"/>
                    <a:gd name="connsiteX2" fmla="*/ 266700 w 1800225"/>
                    <a:gd name="connsiteY2" fmla="*/ 508000 h 1545431"/>
                    <a:gd name="connsiteX3" fmla="*/ 0 w 1800225"/>
                    <a:gd name="connsiteY3" fmla="*/ 927100 h 1545431"/>
                    <a:gd name="connsiteX4" fmla="*/ 104775 w 1800225"/>
                    <a:gd name="connsiteY4" fmla="*/ 1316832 h 1545431"/>
                    <a:gd name="connsiteX5" fmla="*/ 161925 w 1800225"/>
                    <a:gd name="connsiteY5" fmla="*/ 1372394 h 1545431"/>
                    <a:gd name="connsiteX6" fmla="*/ 221457 w 1800225"/>
                    <a:gd name="connsiteY6" fmla="*/ 1379537 h 1545431"/>
                    <a:gd name="connsiteX7" fmla="*/ 292893 w 1800225"/>
                    <a:gd name="connsiteY7" fmla="*/ 1347787 h 1545431"/>
                    <a:gd name="connsiteX8" fmla="*/ 354806 w 1800225"/>
                    <a:gd name="connsiteY8" fmla="*/ 1285875 h 1545431"/>
                    <a:gd name="connsiteX9" fmla="*/ 390526 w 1800225"/>
                    <a:gd name="connsiteY9" fmla="*/ 1281113 h 1545431"/>
                    <a:gd name="connsiteX10" fmla="*/ 452437 w 1800225"/>
                    <a:gd name="connsiteY10" fmla="*/ 1259681 h 1545431"/>
                    <a:gd name="connsiteX11" fmla="*/ 502444 w 1800225"/>
                    <a:gd name="connsiteY11" fmla="*/ 1202531 h 1545431"/>
                    <a:gd name="connsiteX12" fmla="*/ 559594 w 1800225"/>
                    <a:gd name="connsiteY12" fmla="*/ 1228725 h 1545431"/>
                    <a:gd name="connsiteX13" fmla="*/ 611981 w 1800225"/>
                    <a:gd name="connsiteY13" fmla="*/ 1245394 h 1545431"/>
                    <a:gd name="connsiteX14" fmla="*/ 621506 w 1800225"/>
                    <a:gd name="connsiteY14" fmla="*/ 1302544 h 1545431"/>
                    <a:gd name="connsiteX15" fmla="*/ 704850 w 1800225"/>
                    <a:gd name="connsiteY15" fmla="*/ 1283494 h 1545431"/>
                    <a:gd name="connsiteX16" fmla="*/ 704851 w 1800225"/>
                    <a:gd name="connsiteY16" fmla="*/ 1162050 h 1545431"/>
                    <a:gd name="connsiteX17" fmla="*/ 747713 w 1800225"/>
                    <a:gd name="connsiteY17" fmla="*/ 1173956 h 1545431"/>
                    <a:gd name="connsiteX18" fmla="*/ 719138 w 1800225"/>
                    <a:gd name="connsiteY18" fmla="*/ 1309687 h 1545431"/>
                    <a:gd name="connsiteX19" fmla="*/ 728663 w 1800225"/>
                    <a:gd name="connsiteY19" fmla="*/ 1347787 h 1545431"/>
                    <a:gd name="connsiteX20" fmla="*/ 841375 w 1800225"/>
                    <a:gd name="connsiteY20" fmla="*/ 1215231 h 1545431"/>
                    <a:gd name="connsiteX21" fmla="*/ 1071562 w 1800225"/>
                    <a:gd name="connsiteY21" fmla="*/ 1545431 h 1545431"/>
                    <a:gd name="connsiteX22" fmla="*/ 1102519 w 1800225"/>
                    <a:gd name="connsiteY22" fmla="*/ 1528763 h 1545431"/>
                    <a:gd name="connsiteX23" fmla="*/ 1107281 w 1800225"/>
                    <a:gd name="connsiteY23" fmla="*/ 1459706 h 1545431"/>
                    <a:gd name="connsiteX24" fmla="*/ 1083469 w 1800225"/>
                    <a:gd name="connsiteY24" fmla="*/ 1428750 h 1545431"/>
                    <a:gd name="connsiteX25" fmla="*/ 1085850 w 1800225"/>
                    <a:gd name="connsiteY25" fmla="*/ 1319213 h 1545431"/>
                    <a:gd name="connsiteX26" fmla="*/ 1188244 w 1800225"/>
                    <a:gd name="connsiteY26" fmla="*/ 1314450 h 1545431"/>
                    <a:gd name="connsiteX27" fmla="*/ 1238251 w 1800225"/>
                    <a:gd name="connsiteY27" fmla="*/ 1231107 h 1545431"/>
                    <a:gd name="connsiteX28" fmla="*/ 1302544 w 1800225"/>
                    <a:gd name="connsiteY28" fmla="*/ 1185863 h 1545431"/>
                    <a:gd name="connsiteX29" fmla="*/ 1354932 w 1800225"/>
                    <a:gd name="connsiteY29" fmla="*/ 1193006 h 1545431"/>
                    <a:gd name="connsiteX30" fmla="*/ 1378744 w 1800225"/>
                    <a:gd name="connsiteY30" fmla="*/ 1237456 h 1545431"/>
                    <a:gd name="connsiteX31" fmla="*/ 1426369 w 1800225"/>
                    <a:gd name="connsiteY31" fmla="*/ 1171575 h 1545431"/>
                    <a:gd name="connsiteX32" fmla="*/ 1485900 w 1800225"/>
                    <a:gd name="connsiteY32" fmla="*/ 1178719 h 1545431"/>
                    <a:gd name="connsiteX33" fmla="*/ 1535113 w 1800225"/>
                    <a:gd name="connsiteY33" fmla="*/ 1116806 h 1545431"/>
                    <a:gd name="connsiteX34" fmla="*/ 1535907 w 1800225"/>
                    <a:gd name="connsiteY34" fmla="*/ 983456 h 1545431"/>
                    <a:gd name="connsiteX35" fmla="*/ 1438275 w 1800225"/>
                    <a:gd name="connsiteY35" fmla="*/ 931068 h 1545431"/>
                    <a:gd name="connsiteX36" fmla="*/ 1428751 w 1800225"/>
                    <a:gd name="connsiteY36" fmla="*/ 845344 h 1545431"/>
                    <a:gd name="connsiteX37" fmla="*/ 1447800 w 1800225"/>
                    <a:gd name="connsiteY37" fmla="*/ 802481 h 1545431"/>
                    <a:gd name="connsiteX38" fmla="*/ 1519238 w 1800225"/>
                    <a:gd name="connsiteY38" fmla="*/ 802482 h 1545431"/>
                    <a:gd name="connsiteX39" fmla="*/ 1593055 w 1800225"/>
                    <a:gd name="connsiteY39" fmla="*/ 726282 h 1545431"/>
                    <a:gd name="connsiteX40" fmla="*/ 1657350 w 1800225"/>
                    <a:gd name="connsiteY40" fmla="*/ 733425 h 1545431"/>
                    <a:gd name="connsiteX41" fmla="*/ 1800225 w 1800225"/>
                    <a:gd name="connsiteY41" fmla="*/ 774700 h 1545431"/>
                    <a:gd name="connsiteX42" fmla="*/ 409575 w 1800225"/>
                    <a:gd name="connsiteY42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09538 w 1714500"/>
                    <a:gd name="connsiteY3" fmla="*/ 1210468 h 1545431"/>
                    <a:gd name="connsiteX4" fmla="*/ 19050 w 1714500"/>
                    <a:gd name="connsiteY4" fmla="*/ 1316832 h 1545431"/>
                    <a:gd name="connsiteX5" fmla="*/ 76200 w 1714500"/>
                    <a:gd name="connsiteY5" fmla="*/ 1372394 h 1545431"/>
                    <a:gd name="connsiteX6" fmla="*/ 135732 w 1714500"/>
                    <a:gd name="connsiteY6" fmla="*/ 1379537 h 1545431"/>
                    <a:gd name="connsiteX7" fmla="*/ 207168 w 1714500"/>
                    <a:gd name="connsiteY7" fmla="*/ 1347787 h 1545431"/>
                    <a:gd name="connsiteX8" fmla="*/ 269081 w 1714500"/>
                    <a:gd name="connsiteY8" fmla="*/ 1285875 h 1545431"/>
                    <a:gd name="connsiteX9" fmla="*/ 304801 w 1714500"/>
                    <a:gd name="connsiteY9" fmla="*/ 1281113 h 1545431"/>
                    <a:gd name="connsiteX10" fmla="*/ 366712 w 1714500"/>
                    <a:gd name="connsiteY10" fmla="*/ 1259681 h 1545431"/>
                    <a:gd name="connsiteX11" fmla="*/ 416719 w 1714500"/>
                    <a:gd name="connsiteY11" fmla="*/ 1202531 h 1545431"/>
                    <a:gd name="connsiteX12" fmla="*/ 473869 w 1714500"/>
                    <a:gd name="connsiteY12" fmla="*/ 1228725 h 1545431"/>
                    <a:gd name="connsiteX13" fmla="*/ 526256 w 1714500"/>
                    <a:gd name="connsiteY13" fmla="*/ 1245394 h 1545431"/>
                    <a:gd name="connsiteX14" fmla="*/ 535781 w 1714500"/>
                    <a:gd name="connsiteY14" fmla="*/ 1302544 h 1545431"/>
                    <a:gd name="connsiteX15" fmla="*/ 619125 w 1714500"/>
                    <a:gd name="connsiteY15" fmla="*/ 1283494 h 1545431"/>
                    <a:gd name="connsiteX16" fmla="*/ 619126 w 1714500"/>
                    <a:gd name="connsiteY16" fmla="*/ 1162050 h 1545431"/>
                    <a:gd name="connsiteX17" fmla="*/ 661988 w 1714500"/>
                    <a:gd name="connsiteY17" fmla="*/ 1173956 h 1545431"/>
                    <a:gd name="connsiteX18" fmla="*/ 633413 w 1714500"/>
                    <a:gd name="connsiteY18" fmla="*/ 1309687 h 1545431"/>
                    <a:gd name="connsiteX19" fmla="*/ 642938 w 1714500"/>
                    <a:gd name="connsiteY19" fmla="*/ 1347787 h 1545431"/>
                    <a:gd name="connsiteX20" fmla="*/ 755650 w 1714500"/>
                    <a:gd name="connsiteY20" fmla="*/ 1215231 h 1545431"/>
                    <a:gd name="connsiteX21" fmla="*/ 985837 w 1714500"/>
                    <a:gd name="connsiteY21" fmla="*/ 1545431 h 1545431"/>
                    <a:gd name="connsiteX22" fmla="*/ 1016794 w 1714500"/>
                    <a:gd name="connsiteY22" fmla="*/ 1528763 h 1545431"/>
                    <a:gd name="connsiteX23" fmla="*/ 1021556 w 1714500"/>
                    <a:gd name="connsiteY23" fmla="*/ 1459706 h 1545431"/>
                    <a:gd name="connsiteX24" fmla="*/ 997744 w 1714500"/>
                    <a:gd name="connsiteY24" fmla="*/ 1428750 h 1545431"/>
                    <a:gd name="connsiteX25" fmla="*/ 1000125 w 1714500"/>
                    <a:gd name="connsiteY25" fmla="*/ 1319213 h 1545431"/>
                    <a:gd name="connsiteX26" fmla="*/ 1102519 w 1714500"/>
                    <a:gd name="connsiteY26" fmla="*/ 1314450 h 1545431"/>
                    <a:gd name="connsiteX27" fmla="*/ 1152526 w 1714500"/>
                    <a:gd name="connsiteY27" fmla="*/ 1231107 h 1545431"/>
                    <a:gd name="connsiteX28" fmla="*/ 1216819 w 1714500"/>
                    <a:gd name="connsiteY28" fmla="*/ 1185863 h 1545431"/>
                    <a:gd name="connsiteX29" fmla="*/ 1269207 w 1714500"/>
                    <a:gd name="connsiteY29" fmla="*/ 1193006 h 1545431"/>
                    <a:gd name="connsiteX30" fmla="*/ 1293019 w 1714500"/>
                    <a:gd name="connsiteY30" fmla="*/ 1237456 h 1545431"/>
                    <a:gd name="connsiteX31" fmla="*/ 1340644 w 1714500"/>
                    <a:gd name="connsiteY31" fmla="*/ 1171575 h 1545431"/>
                    <a:gd name="connsiteX32" fmla="*/ 1400175 w 1714500"/>
                    <a:gd name="connsiteY32" fmla="*/ 1178719 h 1545431"/>
                    <a:gd name="connsiteX33" fmla="*/ 1449388 w 1714500"/>
                    <a:gd name="connsiteY33" fmla="*/ 1116806 h 1545431"/>
                    <a:gd name="connsiteX34" fmla="*/ 1450182 w 1714500"/>
                    <a:gd name="connsiteY34" fmla="*/ 983456 h 1545431"/>
                    <a:gd name="connsiteX35" fmla="*/ 1352550 w 1714500"/>
                    <a:gd name="connsiteY35" fmla="*/ 931068 h 1545431"/>
                    <a:gd name="connsiteX36" fmla="*/ 1343026 w 1714500"/>
                    <a:gd name="connsiteY36" fmla="*/ 845344 h 1545431"/>
                    <a:gd name="connsiteX37" fmla="*/ 1362075 w 1714500"/>
                    <a:gd name="connsiteY37" fmla="*/ 802481 h 1545431"/>
                    <a:gd name="connsiteX38" fmla="*/ 1433513 w 1714500"/>
                    <a:gd name="connsiteY38" fmla="*/ 802482 h 1545431"/>
                    <a:gd name="connsiteX39" fmla="*/ 1507330 w 1714500"/>
                    <a:gd name="connsiteY39" fmla="*/ 726282 h 1545431"/>
                    <a:gd name="connsiteX40" fmla="*/ 1571625 w 1714500"/>
                    <a:gd name="connsiteY40" fmla="*/ 733425 h 1545431"/>
                    <a:gd name="connsiteX41" fmla="*/ 1714500 w 1714500"/>
                    <a:gd name="connsiteY41" fmla="*/ 774700 h 1545431"/>
                    <a:gd name="connsiteX42" fmla="*/ 323850 w 1714500"/>
                    <a:gd name="connsiteY42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09538 w 1714500"/>
                    <a:gd name="connsiteY3" fmla="*/ 1210468 h 1545431"/>
                    <a:gd name="connsiteX4" fmla="*/ 57149 w 1714500"/>
                    <a:gd name="connsiteY4" fmla="*/ 1271588 h 1545431"/>
                    <a:gd name="connsiteX5" fmla="*/ 19050 w 1714500"/>
                    <a:gd name="connsiteY5" fmla="*/ 1316832 h 1545431"/>
                    <a:gd name="connsiteX6" fmla="*/ 76200 w 1714500"/>
                    <a:gd name="connsiteY6" fmla="*/ 1372394 h 1545431"/>
                    <a:gd name="connsiteX7" fmla="*/ 135732 w 1714500"/>
                    <a:gd name="connsiteY7" fmla="*/ 1379537 h 1545431"/>
                    <a:gd name="connsiteX8" fmla="*/ 207168 w 1714500"/>
                    <a:gd name="connsiteY8" fmla="*/ 1347787 h 1545431"/>
                    <a:gd name="connsiteX9" fmla="*/ 269081 w 1714500"/>
                    <a:gd name="connsiteY9" fmla="*/ 1285875 h 1545431"/>
                    <a:gd name="connsiteX10" fmla="*/ 304801 w 1714500"/>
                    <a:gd name="connsiteY10" fmla="*/ 1281113 h 1545431"/>
                    <a:gd name="connsiteX11" fmla="*/ 366712 w 1714500"/>
                    <a:gd name="connsiteY11" fmla="*/ 1259681 h 1545431"/>
                    <a:gd name="connsiteX12" fmla="*/ 416719 w 1714500"/>
                    <a:gd name="connsiteY12" fmla="*/ 1202531 h 1545431"/>
                    <a:gd name="connsiteX13" fmla="*/ 473869 w 1714500"/>
                    <a:gd name="connsiteY13" fmla="*/ 1228725 h 1545431"/>
                    <a:gd name="connsiteX14" fmla="*/ 526256 w 1714500"/>
                    <a:gd name="connsiteY14" fmla="*/ 1245394 h 1545431"/>
                    <a:gd name="connsiteX15" fmla="*/ 535781 w 1714500"/>
                    <a:gd name="connsiteY15" fmla="*/ 1302544 h 1545431"/>
                    <a:gd name="connsiteX16" fmla="*/ 619125 w 1714500"/>
                    <a:gd name="connsiteY16" fmla="*/ 1283494 h 1545431"/>
                    <a:gd name="connsiteX17" fmla="*/ 619126 w 1714500"/>
                    <a:gd name="connsiteY17" fmla="*/ 1162050 h 1545431"/>
                    <a:gd name="connsiteX18" fmla="*/ 661988 w 1714500"/>
                    <a:gd name="connsiteY18" fmla="*/ 1173956 h 1545431"/>
                    <a:gd name="connsiteX19" fmla="*/ 633413 w 1714500"/>
                    <a:gd name="connsiteY19" fmla="*/ 1309687 h 1545431"/>
                    <a:gd name="connsiteX20" fmla="*/ 642938 w 1714500"/>
                    <a:gd name="connsiteY20" fmla="*/ 1347787 h 1545431"/>
                    <a:gd name="connsiteX21" fmla="*/ 755650 w 1714500"/>
                    <a:gd name="connsiteY21" fmla="*/ 1215231 h 1545431"/>
                    <a:gd name="connsiteX22" fmla="*/ 985837 w 1714500"/>
                    <a:gd name="connsiteY22" fmla="*/ 1545431 h 1545431"/>
                    <a:gd name="connsiteX23" fmla="*/ 1016794 w 1714500"/>
                    <a:gd name="connsiteY23" fmla="*/ 1528763 h 1545431"/>
                    <a:gd name="connsiteX24" fmla="*/ 1021556 w 1714500"/>
                    <a:gd name="connsiteY24" fmla="*/ 1459706 h 1545431"/>
                    <a:gd name="connsiteX25" fmla="*/ 997744 w 1714500"/>
                    <a:gd name="connsiteY25" fmla="*/ 1428750 h 1545431"/>
                    <a:gd name="connsiteX26" fmla="*/ 1000125 w 1714500"/>
                    <a:gd name="connsiteY26" fmla="*/ 1319213 h 1545431"/>
                    <a:gd name="connsiteX27" fmla="*/ 1102519 w 1714500"/>
                    <a:gd name="connsiteY27" fmla="*/ 1314450 h 1545431"/>
                    <a:gd name="connsiteX28" fmla="*/ 1152526 w 1714500"/>
                    <a:gd name="connsiteY28" fmla="*/ 1231107 h 1545431"/>
                    <a:gd name="connsiteX29" fmla="*/ 1216819 w 1714500"/>
                    <a:gd name="connsiteY29" fmla="*/ 1185863 h 1545431"/>
                    <a:gd name="connsiteX30" fmla="*/ 1269207 w 1714500"/>
                    <a:gd name="connsiteY30" fmla="*/ 1193006 h 1545431"/>
                    <a:gd name="connsiteX31" fmla="*/ 1293019 w 1714500"/>
                    <a:gd name="connsiteY31" fmla="*/ 1237456 h 1545431"/>
                    <a:gd name="connsiteX32" fmla="*/ 1340644 w 1714500"/>
                    <a:gd name="connsiteY32" fmla="*/ 1171575 h 1545431"/>
                    <a:gd name="connsiteX33" fmla="*/ 1400175 w 1714500"/>
                    <a:gd name="connsiteY33" fmla="*/ 1178719 h 1545431"/>
                    <a:gd name="connsiteX34" fmla="*/ 1449388 w 1714500"/>
                    <a:gd name="connsiteY34" fmla="*/ 1116806 h 1545431"/>
                    <a:gd name="connsiteX35" fmla="*/ 1450182 w 1714500"/>
                    <a:gd name="connsiteY35" fmla="*/ 983456 h 1545431"/>
                    <a:gd name="connsiteX36" fmla="*/ 1352550 w 1714500"/>
                    <a:gd name="connsiteY36" fmla="*/ 931068 h 1545431"/>
                    <a:gd name="connsiteX37" fmla="*/ 1343026 w 1714500"/>
                    <a:gd name="connsiteY37" fmla="*/ 845344 h 1545431"/>
                    <a:gd name="connsiteX38" fmla="*/ 1362075 w 1714500"/>
                    <a:gd name="connsiteY38" fmla="*/ 802481 h 1545431"/>
                    <a:gd name="connsiteX39" fmla="*/ 1433513 w 1714500"/>
                    <a:gd name="connsiteY39" fmla="*/ 802482 h 1545431"/>
                    <a:gd name="connsiteX40" fmla="*/ 1507330 w 1714500"/>
                    <a:gd name="connsiteY40" fmla="*/ 726282 h 1545431"/>
                    <a:gd name="connsiteX41" fmla="*/ 1571625 w 1714500"/>
                    <a:gd name="connsiteY41" fmla="*/ 733425 h 1545431"/>
                    <a:gd name="connsiteX42" fmla="*/ 1714500 w 1714500"/>
                    <a:gd name="connsiteY42" fmla="*/ 774700 h 1545431"/>
                    <a:gd name="connsiteX43" fmla="*/ 323850 w 1714500"/>
                    <a:gd name="connsiteY43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09538 w 1714500"/>
                    <a:gd name="connsiteY3" fmla="*/ 1210468 h 1545431"/>
                    <a:gd name="connsiteX4" fmla="*/ 11905 w 1714500"/>
                    <a:gd name="connsiteY4" fmla="*/ 1259682 h 1545431"/>
                    <a:gd name="connsiteX5" fmla="*/ 19050 w 1714500"/>
                    <a:gd name="connsiteY5" fmla="*/ 1316832 h 1545431"/>
                    <a:gd name="connsiteX6" fmla="*/ 76200 w 1714500"/>
                    <a:gd name="connsiteY6" fmla="*/ 1372394 h 1545431"/>
                    <a:gd name="connsiteX7" fmla="*/ 135732 w 1714500"/>
                    <a:gd name="connsiteY7" fmla="*/ 1379537 h 1545431"/>
                    <a:gd name="connsiteX8" fmla="*/ 207168 w 1714500"/>
                    <a:gd name="connsiteY8" fmla="*/ 1347787 h 1545431"/>
                    <a:gd name="connsiteX9" fmla="*/ 269081 w 1714500"/>
                    <a:gd name="connsiteY9" fmla="*/ 1285875 h 1545431"/>
                    <a:gd name="connsiteX10" fmla="*/ 304801 w 1714500"/>
                    <a:gd name="connsiteY10" fmla="*/ 1281113 h 1545431"/>
                    <a:gd name="connsiteX11" fmla="*/ 366712 w 1714500"/>
                    <a:gd name="connsiteY11" fmla="*/ 1259681 h 1545431"/>
                    <a:gd name="connsiteX12" fmla="*/ 416719 w 1714500"/>
                    <a:gd name="connsiteY12" fmla="*/ 1202531 h 1545431"/>
                    <a:gd name="connsiteX13" fmla="*/ 473869 w 1714500"/>
                    <a:gd name="connsiteY13" fmla="*/ 1228725 h 1545431"/>
                    <a:gd name="connsiteX14" fmla="*/ 526256 w 1714500"/>
                    <a:gd name="connsiteY14" fmla="*/ 1245394 h 1545431"/>
                    <a:gd name="connsiteX15" fmla="*/ 535781 w 1714500"/>
                    <a:gd name="connsiteY15" fmla="*/ 1302544 h 1545431"/>
                    <a:gd name="connsiteX16" fmla="*/ 619125 w 1714500"/>
                    <a:gd name="connsiteY16" fmla="*/ 1283494 h 1545431"/>
                    <a:gd name="connsiteX17" fmla="*/ 619126 w 1714500"/>
                    <a:gd name="connsiteY17" fmla="*/ 1162050 h 1545431"/>
                    <a:gd name="connsiteX18" fmla="*/ 661988 w 1714500"/>
                    <a:gd name="connsiteY18" fmla="*/ 1173956 h 1545431"/>
                    <a:gd name="connsiteX19" fmla="*/ 633413 w 1714500"/>
                    <a:gd name="connsiteY19" fmla="*/ 1309687 h 1545431"/>
                    <a:gd name="connsiteX20" fmla="*/ 642938 w 1714500"/>
                    <a:gd name="connsiteY20" fmla="*/ 1347787 h 1545431"/>
                    <a:gd name="connsiteX21" fmla="*/ 755650 w 1714500"/>
                    <a:gd name="connsiteY21" fmla="*/ 1215231 h 1545431"/>
                    <a:gd name="connsiteX22" fmla="*/ 985837 w 1714500"/>
                    <a:gd name="connsiteY22" fmla="*/ 1545431 h 1545431"/>
                    <a:gd name="connsiteX23" fmla="*/ 1016794 w 1714500"/>
                    <a:gd name="connsiteY23" fmla="*/ 1528763 h 1545431"/>
                    <a:gd name="connsiteX24" fmla="*/ 1021556 w 1714500"/>
                    <a:gd name="connsiteY24" fmla="*/ 1459706 h 1545431"/>
                    <a:gd name="connsiteX25" fmla="*/ 997744 w 1714500"/>
                    <a:gd name="connsiteY25" fmla="*/ 1428750 h 1545431"/>
                    <a:gd name="connsiteX26" fmla="*/ 1000125 w 1714500"/>
                    <a:gd name="connsiteY26" fmla="*/ 1319213 h 1545431"/>
                    <a:gd name="connsiteX27" fmla="*/ 1102519 w 1714500"/>
                    <a:gd name="connsiteY27" fmla="*/ 1314450 h 1545431"/>
                    <a:gd name="connsiteX28" fmla="*/ 1152526 w 1714500"/>
                    <a:gd name="connsiteY28" fmla="*/ 1231107 h 1545431"/>
                    <a:gd name="connsiteX29" fmla="*/ 1216819 w 1714500"/>
                    <a:gd name="connsiteY29" fmla="*/ 1185863 h 1545431"/>
                    <a:gd name="connsiteX30" fmla="*/ 1269207 w 1714500"/>
                    <a:gd name="connsiteY30" fmla="*/ 1193006 h 1545431"/>
                    <a:gd name="connsiteX31" fmla="*/ 1293019 w 1714500"/>
                    <a:gd name="connsiteY31" fmla="*/ 1237456 h 1545431"/>
                    <a:gd name="connsiteX32" fmla="*/ 1340644 w 1714500"/>
                    <a:gd name="connsiteY32" fmla="*/ 1171575 h 1545431"/>
                    <a:gd name="connsiteX33" fmla="*/ 1400175 w 1714500"/>
                    <a:gd name="connsiteY33" fmla="*/ 1178719 h 1545431"/>
                    <a:gd name="connsiteX34" fmla="*/ 1449388 w 1714500"/>
                    <a:gd name="connsiteY34" fmla="*/ 1116806 h 1545431"/>
                    <a:gd name="connsiteX35" fmla="*/ 1450182 w 1714500"/>
                    <a:gd name="connsiteY35" fmla="*/ 983456 h 1545431"/>
                    <a:gd name="connsiteX36" fmla="*/ 1352550 w 1714500"/>
                    <a:gd name="connsiteY36" fmla="*/ 931068 h 1545431"/>
                    <a:gd name="connsiteX37" fmla="*/ 1343026 w 1714500"/>
                    <a:gd name="connsiteY37" fmla="*/ 845344 h 1545431"/>
                    <a:gd name="connsiteX38" fmla="*/ 1362075 w 1714500"/>
                    <a:gd name="connsiteY38" fmla="*/ 802481 h 1545431"/>
                    <a:gd name="connsiteX39" fmla="*/ 1433513 w 1714500"/>
                    <a:gd name="connsiteY39" fmla="*/ 802482 h 1545431"/>
                    <a:gd name="connsiteX40" fmla="*/ 1507330 w 1714500"/>
                    <a:gd name="connsiteY40" fmla="*/ 726282 h 1545431"/>
                    <a:gd name="connsiteX41" fmla="*/ 1571625 w 1714500"/>
                    <a:gd name="connsiteY41" fmla="*/ 733425 h 1545431"/>
                    <a:gd name="connsiteX42" fmla="*/ 1714500 w 1714500"/>
                    <a:gd name="connsiteY42" fmla="*/ 774700 h 1545431"/>
                    <a:gd name="connsiteX43" fmla="*/ 323850 w 1714500"/>
                    <a:gd name="connsiteY43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09538 w 1714500"/>
                    <a:gd name="connsiteY3" fmla="*/ 1210468 h 1545431"/>
                    <a:gd name="connsiteX4" fmla="*/ 71437 w 1714500"/>
                    <a:gd name="connsiteY4" fmla="*/ 1231106 h 1545431"/>
                    <a:gd name="connsiteX5" fmla="*/ 11905 w 1714500"/>
                    <a:gd name="connsiteY5" fmla="*/ 1259682 h 1545431"/>
                    <a:gd name="connsiteX6" fmla="*/ 19050 w 1714500"/>
                    <a:gd name="connsiteY6" fmla="*/ 1316832 h 1545431"/>
                    <a:gd name="connsiteX7" fmla="*/ 76200 w 1714500"/>
                    <a:gd name="connsiteY7" fmla="*/ 1372394 h 1545431"/>
                    <a:gd name="connsiteX8" fmla="*/ 135732 w 1714500"/>
                    <a:gd name="connsiteY8" fmla="*/ 1379537 h 1545431"/>
                    <a:gd name="connsiteX9" fmla="*/ 207168 w 1714500"/>
                    <a:gd name="connsiteY9" fmla="*/ 1347787 h 1545431"/>
                    <a:gd name="connsiteX10" fmla="*/ 269081 w 1714500"/>
                    <a:gd name="connsiteY10" fmla="*/ 1285875 h 1545431"/>
                    <a:gd name="connsiteX11" fmla="*/ 304801 w 1714500"/>
                    <a:gd name="connsiteY11" fmla="*/ 1281113 h 1545431"/>
                    <a:gd name="connsiteX12" fmla="*/ 366712 w 1714500"/>
                    <a:gd name="connsiteY12" fmla="*/ 1259681 h 1545431"/>
                    <a:gd name="connsiteX13" fmla="*/ 416719 w 1714500"/>
                    <a:gd name="connsiteY13" fmla="*/ 1202531 h 1545431"/>
                    <a:gd name="connsiteX14" fmla="*/ 473869 w 1714500"/>
                    <a:gd name="connsiteY14" fmla="*/ 1228725 h 1545431"/>
                    <a:gd name="connsiteX15" fmla="*/ 526256 w 1714500"/>
                    <a:gd name="connsiteY15" fmla="*/ 1245394 h 1545431"/>
                    <a:gd name="connsiteX16" fmla="*/ 535781 w 1714500"/>
                    <a:gd name="connsiteY16" fmla="*/ 1302544 h 1545431"/>
                    <a:gd name="connsiteX17" fmla="*/ 619125 w 1714500"/>
                    <a:gd name="connsiteY17" fmla="*/ 1283494 h 1545431"/>
                    <a:gd name="connsiteX18" fmla="*/ 619126 w 1714500"/>
                    <a:gd name="connsiteY18" fmla="*/ 1162050 h 1545431"/>
                    <a:gd name="connsiteX19" fmla="*/ 661988 w 1714500"/>
                    <a:gd name="connsiteY19" fmla="*/ 1173956 h 1545431"/>
                    <a:gd name="connsiteX20" fmla="*/ 633413 w 1714500"/>
                    <a:gd name="connsiteY20" fmla="*/ 1309687 h 1545431"/>
                    <a:gd name="connsiteX21" fmla="*/ 642938 w 1714500"/>
                    <a:gd name="connsiteY21" fmla="*/ 1347787 h 1545431"/>
                    <a:gd name="connsiteX22" fmla="*/ 755650 w 1714500"/>
                    <a:gd name="connsiteY22" fmla="*/ 1215231 h 1545431"/>
                    <a:gd name="connsiteX23" fmla="*/ 985837 w 1714500"/>
                    <a:gd name="connsiteY23" fmla="*/ 1545431 h 1545431"/>
                    <a:gd name="connsiteX24" fmla="*/ 1016794 w 1714500"/>
                    <a:gd name="connsiteY24" fmla="*/ 1528763 h 1545431"/>
                    <a:gd name="connsiteX25" fmla="*/ 1021556 w 1714500"/>
                    <a:gd name="connsiteY25" fmla="*/ 1459706 h 1545431"/>
                    <a:gd name="connsiteX26" fmla="*/ 997744 w 1714500"/>
                    <a:gd name="connsiteY26" fmla="*/ 1428750 h 1545431"/>
                    <a:gd name="connsiteX27" fmla="*/ 1000125 w 1714500"/>
                    <a:gd name="connsiteY27" fmla="*/ 1319213 h 1545431"/>
                    <a:gd name="connsiteX28" fmla="*/ 1102519 w 1714500"/>
                    <a:gd name="connsiteY28" fmla="*/ 1314450 h 1545431"/>
                    <a:gd name="connsiteX29" fmla="*/ 1152526 w 1714500"/>
                    <a:gd name="connsiteY29" fmla="*/ 1231107 h 1545431"/>
                    <a:gd name="connsiteX30" fmla="*/ 1216819 w 1714500"/>
                    <a:gd name="connsiteY30" fmla="*/ 1185863 h 1545431"/>
                    <a:gd name="connsiteX31" fmla="*/ 1269207 w 1714500"/>
                    <a:gd name="connsiteY31" fmla="*/ 1193006 h 1545431"/>
                    <a:gd name="connsiteX32" fmla="*/ 1293019 w 1714500"/>
                    <a:gd name="connsiteY32" fmla="*/ 1237456 h 1545431"/>
                    <a:gd name="connsiteX33" fmla="*/ 1340644 w 1714500"/>
                    <a:gd name="connsiteY33" fmla="*/ 1171575 h 1545431"/>
                    <a:gd name="connsiteX34" fmla="*/ 1400175 w 1714500"/>
                    <a:gd name="connsiteY34" fmla="*/ 1178719 h 1545431"/>
                    <a:gd name="connsiteX35" fmla="*/ 1449388 w 1714500"/>
                    <a:gd name="connsiteY35" fmla="*/ 1116806 h 1545431"/>
                    <a:gd name="connsiteX36" fmla="*/ 1450182 w 1714500"/>
                    <a:gd name="connsiteY36" fmla="*/ 983456 h 1545431"/>
                    <a:gd name="connsiteX37" fmla="*/ 1352550 w 1714500"/>
                    <a:gd name="connsiteY37" fmla="*/ 931068 h 1545431"/>
                    <a:gd name="connsiteX38" fmla="*/ 1343026 w 1714500"/>
                    <a:gd name="connsiteY38" fmla="*/ 845344 h 1545431"/>
                    <a:gd name="connsiteX39" fmla="*/ 1362075 w 1714500"/>
                    <a:gd name="connsiteY39" fmla="*/ 802481 h 1545431"/>
                    <a:gd name="connsiteX40" fmla="*/ 1433513 w 1714500"/>
                    <a:gd name="connsiteY40" fmla="*/ 802482 h 1545431"/>
                    <a:gd name="connsiteX41" fmla="*/ 1507330 w 1714500"/>
                    <a:gd name="connsiteY41" fmla="*/ 726282 h 1545431"/>
                    <a:gd name="connsiteX42" fmla="*/ 1571625 w 1714500"/>
                    <a:gd name="connsiteY42" fmla="*/ 733425 h 1545431"/>
                    <a:gd name="connsiteX43" fmla="*/ 1714500 w 1714500"/>
                    <a:gd name="connsiteY43" fmla="*/ 774700 h 1545431"/>
                    <a:gd name="connsiteX44" fmla="*/ 323850 w 1714500"/>
                    <a:gd name="connsiteY44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09538 w 1714500"/>
                    <a:gd name="connsiteY3" fmla="*/ 1210468 h 1545431"/>
                    <a:gd name="connsiteX4" fmla="*/ 61912 w 1714500"/>
                    <a:gd name="connsiteY4" fmla="*/ 1200150 h 1545431"/>
                    <a:gd name="connsiteX5" fmla="*/ 11905 w 1714500"/>
                    <a:gd name="connsiteY5" fmla="*/ 1259682 h 1545431"/>
                    <a:gd name="connsiteX6" fmla="*/ 19050 w 1714500"/>
                    <a:gd name="connsiteY6" fmla="*/ 1316832 h 1545431"/>
                    <a:gd name="connsiteX7" fmla="*/ 76200 w 1714500"/>
                    <a:gd name="connsiteY7" fmla="*/ 1372394 h 1545431"/>
                    <a:gd name="connsiteX8" fmla="*/ 135732 w 1714500"/>
                    <a:gd name="connsiteY8" fmla="*/ 1379537 h 1545431"/>
                    <a:gd name="connsiteX9" fmla="*/ 207168 w 1714500"/>
                    <a:gd name="connsiteY9" fmla="*/ 1347787 h 1545431"/>
                    <a:gd name="connsiteX10" fmla="*/ 269081 w 1714500"/>
                    <a:gd name="connsiteY10" fmla="*/ 1285875 h 1545431"/>
                    <a:gd name="connsiteX11" fmla="*/ 304801 w 1714500"/>
                    <a:gd name="connsiteY11" fmla="*/ 1281113 h 1545431"/>
                    <a:gd name="connsiteX12" fmla="*/ 366712 w 1714500"/>
                    <a:gd name="connsiteY12" fmla="*/ 1259681 h 1545431"/>
                    <a:gd name="connsiteX13" fmla="*/ 416719 w 1714500"/>
                    <a:gd name="connsiteY13" fmla="*/ 1202531 h 1545431"/>
                    <a:gd name="connsiteX14" fmla="*/ 473869 w 1714500"/>
                    <a:gd name="connsiteY14" fmla="*/ 1228725 h 1545431"/>
                    <a:gd name="connsiteX15" fmla="*/ 526256 w 1714500"/>
                    <a:gd name="connsiteY15" fmla="*/ 1245394 h 1545431"/>
                    <a:gd name="connsiteX16" fmla="*/ 535781 w 1714500"/>
                    <a:gd name="connsiteY16" fmla="*/ 1302544 h 1545431"/>
                    <a:gd name="connsiteX17" fmla="*/ 619125 w 1714500"/>
                    <a:gd name="connsiteY17" fmla="*/ 1283494 h 1545431"/>
                    <a:gd name="connsiteX18" fmla="*/ 619126 w 1714500"/>
                    <a:gd name="connsiteY18" fmla="*/ 1162050 h 1545431"/>
                    <a:gd name="connsiteX19" fmla="*/ 661988 w 1714500"/>
                    <a:gd name="connsiteY19" fmla="*/ 1173956 h 1545431"/>
                    <a:gd name="connsiteX20" fmla="*/ 633413 w 1714500"/>
                    <a:gd name="connsiteY20" fmla="*/ 1309687 h 1545431"/>
                    <a:gd name="connsiteX21" fmla="*/ 642938 w 1714500"/>
                    <a:gd name="connsiteY21" fmla="*/ 1347787 h 1545431"/>
                    <a:gd name="connsiteX22" fmla="*/ 755650 w 1714500"/>
                    <a:gd name="connsiteY22" fmla="*/ 1215231 h 1545431"/>
                    <a:gd name="connsiteX23" fmla="*/ 985837 w 1714500"/>
                    <a:gd name="connsiteY23" fmla="*/ 1545431 h 1545431"/>
                    <a:gd name="connsiteX24" fmla="*/ 1016794 w 1714500"/>
                    <a:gd name="connsiteY24" fmla="*/ 1528763 h 1545431"/>
                    <a:gd name="connsiteX25" fmla="*/ 1021556 w 1714500"/>
                    <a:gd name="connsiteY25" fmla="*/ 1459706 h 1545431"/>
                    <a:gd name="connsiteX26" fmla="*/ 997744 w 1714500"/>
                    <a:gd name="connsiteY26" fmla="*/ 1428750 h 1545431"/>
                    <a:gd name="connsiteX27" fmla="*/ 1000125 w 1714500"/>
                    <a:gd name="connsiteY27" fmla="*/ 1319213 h 1545431"/>
                    <a:gd name="connsiteX28" fmla="*/ 1102519 w 1714500"/>
                    <a:gd name="connsiteY28" fmla="*/ 1314450 h 1545431"/>
                    <a:gd name="connsiteX29" fmla="*/ 1152526 w 1714500"/>
                    <a:gd name="connsiteY29" fmla="*/ 1231107 h 1545431"/>
                    <a:gd name="connsiteX30" fmla="*/ 1216819 w 1714500"/>
                    <a:gd name="connsiteY30" fmla="*/ 1185863 h 1545431"/>
                    <a:gd name="connsiteX31" fmla="*/ 1269207 w 1714500"/>
                    <a:gd name="connsiteY31" fmla="*/ 1193006 h 1545431"/>
                    <a:gd name="connsiteX32" fmla="*/ 1293019 w 1714500"/>
                    <a:gd name="connsiteY32" fmla="*/ 1237456 h 1545431"/>
                    <a:gd name="connsiteX33" fmla="*/ 1340644 w 1714500"/>
                    <a:gd name="connsiteY33" fmla="*/ 1171575 h 1545431"/>
                    <a:gd name="connsiteX34" fmla="*/ 1400175 w 1714500"/>
                    <a:gd name="connsiteY34" fmla="*/ 1178719 h 1545431"/>
                    <a:gd name="connsiteX35" fmla="*/ 1449388 w 1714500"/>
                    <a:gd name="connsiteY35" fmla="*/ 1116806 h 1545431"/>
                    <a:gd name="connsiteX36" fmla="*/ 1450182 w 1714500"/>
                    <a:gd name="connsiteY36" fmla="*/ 983456 h 1545431"/>
                    <a:gd name="connsiteX37" fmla="*/ 1352550 w 1714500"/>
                    <a:gd name="connsiteY37" fmla="*/ 931068 h 1545431"/>
                    <a:gd name="connsiteX38" fmla="*/ 1343026 w 1714500"/>
                    <a:gd name="connsiteY38" fmla="*/ 845344 h 1545431"/>
                    <a:gd name="connsiteX39" fmla="*/ 1362075 w 1714500"/>
                    <a:gd name="connsiteY39" fmla="*/ 802481 h 1545431"/>
                    <a:gd name="connsiteX40" fmla="*/ 1433513 w 1714500"/>
                    <a:gd name="connsiteY40" fmla="*/ 802482 h 1545431"/>
                    <a:gd name="connsiteX41" fmla="*/ 1507330 w 1714500"/>
                    <a:gd name="connsiteY41" fmla="*/ 726282 h 1545431"/>
                    <a:gd name="connsiteX42" fmla="*/ 1571625 w 1714500"/>
                    <a:gd name="connsiteY42" fmla="*/ 733425 h 1545431"/>
                    <a:gd name="connsiteX43" fmla="*/ 1714500 w 1714500"/>
                    <a:gd name="connsiteY43" fmla="*/ 774700 h 1545431"/>
                    <a:gd name="connsiteX44" fmla="*/ 323850 w 1714500"/>
                    <a:gd name="connsiteY44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52399 w 1714500"/>
                    <a:gd name="connsiteY3" fmla="*/ 750094 h 1545431"/>
                    <a:gd name="connsiteX4" fmla="*/ 109538 w 1714500"/>
                    <a:gd name="connsiteY4" fmla="*/ 1210468 h 1545431"/>
                    <a:gd name="connsiteX5" fmla="*/ 61912 w 1714500"/>
                    <a:gd name="connsiteY5" fmla="*/ 1200150 h 1545431"/>
                    <a:gd name="connsiteX6" fmla="*/ 11905 w 1714500"/>
                    <a:gd name="connsiteY6" fmla="*/ 1259682 h 1545431"/>
                    <a:gd name="connsiteX7" fmla="*/ 19050 w 1714500"/>
                    <a:gd name="connsiteY7" fmla="*/ 1316832 h 1545431"/>
                    <a:gd name="connsiteX8" fmla="*/ 76200 w 1714500"/>
                    <a:gd name="connsiteY8" fmla="*/ 1372394 h 1545431"/>
                    <a:gd name="connsiteX9" fmla="*/ 135732 w 1714500"/>
                    <a:gd name="connsiteY9" fmla="*/ 1379537 h 1545431"/>
                    <a:gd name="connsiteX10" fmla="*/ 207168 w 1714500"/>
                    <a:gd name="connsiteY10" fmla="*/ 1347787 h 1545431"/>
                    <a:gd name="connsiteX11" fmla="*/ 269081 w 1714500"/>
                    <a:gd name="connsiteY11" fmla="*/ 1285875 h 1545431"/>
                    <a:gd name="connsiteX12" fmla="*/ 304801 w 1714500"/>
                    <a:gd name="connsiteY12" fmla="*/ 1281113 h 1545431"/>
                    <a:gd name="connsiteX13" fmla="*/ 366712 w 1714500"/>
                    <a:gd name="connsiteY13" fmla="*/ 1259681 h 1545431"/>
                    <a:gd name="connsiteX14" fmla="*/ 416719 w 1714500"/>
                    <a:gd name="connsiteY14" fmla="*/ 1202531 h 1545431"/>
                    <a:gd name="connsiteX15" fmla="*/ 473869 w 1714500"/>
                    <a:gd name="connsiteY15" fmla="*/ 1228725 h 1545431"/>
                    <a:gd name="connsiteX16" fmla="*/ 526256 w 1714500"/>
                    <a:gd name="connsiteY16" fmla="*/ 1245394 h 1545431"/>
                    <a:gd name="connsiteX17" fmla="*/ 535781 w 1714500"/>
                    <a:gd name="connsiteY17" fmla="*/ 1302544 h 1545431"/>
                    <a:gd name="connsiteX18" fmla="*/ 619125 w 1714500"/>
                    <a:gd name="connsiteY18" fmla="*/ 1283494 h 1545431"/>
                    <a:gd name="connsiteX19" fmla="*/ 619126 w 1714500"/>
                    <a:gd name="connsiteY19" fmla="*/ 1162050 h 1545431"/>
                    <a:gd name="connsiteX20" fmla="*/ 661988 w 1714500"/>
                    <a:gd name="connsiteY20" fmla="*/ 1173956 h 1545431"/>
                    <a:gd name="connsiteX21" fmla="*/ 633413 w 1714500"/>
                    <a:gd name="connsiteY21" fmla="*/ 1309687 h 1545431"/>
                    <a:gd name="connsiteX22" fmla="*/ 642938 w 1714500"/>
                    <a:gd name="connsiteY22" fmla="*/ 1347787 h 1545431"/>
                    <a:gd name="connsiteX23" fmla="*/ 755650 w 1714500"/>
                    <a:gd name="connsiteY23" fmla="*/ 1215231 h 1545431"/>
                    <a:gd name="connsiteX24" fmla="*/ 985837 w 1714500"/>
                    <a:gd name="connsiteY24" fmla="*/ 1545431 h 1545431"/>
                    <a:gd name="connsiteX25" fmla="*/ 1016794 w 1714500"/>
                    <a:gd name="connsiteY25" fmla="*/ 1528763 h 1545431"/>
                    <a:gd name="connsiteX26" fmla="*/ 1021556 w 1714500"/>
                    <a:gd name="connsiteY26" fmla="*/ 1459706 h 1545431"/>
                    <a:gd name="connsiteX27" fmla="*/ 997744 w 1714500"/>
                    <a:gd name="connsiteY27" fmla="*/ 1428750 h 1545431"/>
                    <a:gd name="connsiteX28" fmla="*/ 1000125 w 1714500"/>
                    <a:gd name="connsiteY28" fmla="*/ 1319213 h 1545431"/>
                    <a:gd name="connsiteX29" fmla="*/ 1102519 w 1714500"/>
                    <a:gd name="connsiteY29" fmla="*/ 1314450 h 1545431"/>
                    <a:gd name="connsiteX30" fmla="*/ 1152526 w 1714500"/>
                    <a:gd name="connsiteY30" fmla="*/ 1231107 h 1545431"/>
                    <a:gd name="connsiteX31" fmla="*/ 1216819 w 1714500"/>
                    <a:gd name="connsiteY31" fmla="*/ 1185863 h 1545431"/>
                    <a:gd name="connsiteX32" fmla="*/ 1269207 w 1714500"/>
                    <a:gd name="connsiteY32" fmla="*/ 1193006 h 1545431"/>
                    <a:gd name="connsiteX33" fmla="*/ 1293019 w 1714500"/>
                    <a:gd name="connsiteY33" fmla="*/ 1237456 h 1545431"/>
                    <a:gd name="connsiteX34" fmla="*/ 1340644 w 1714500"/>
                    <a:gd name="connsiteY34" fmla="*/ 1171575 h 1545431"/>
                    <a:gd name="connsiteX35" fmla="*/ 1400175 w 1714500"/>
                    <a:gd name="connsiteY35" fmla="*/ 1178719 h 1545431"/>
                    <a:gd name="connsiteX36" fmla="*/ 1449388 w 1714500"/>
                    <a:gd name="connsiteY36" fmla="*/ 1116806 h 1545431"/>
                    <a:gd name="connsiteX37" fmla="*/ 1450182 w 1714500"/>
                    <a:gd name="connsiteY37" fmla="*/ 983456 h 1545431"/>
                    <a:gd name="connsiteX38" fmla="*/ 1352550 w 1714500"/>
                    <a:gd name="connsiteY38" fmla="*/ 931068 h 1545431"/>
                    <a:gd name="connsiteX39" fmla="*/ 1343026 w 1714500"/>
                    <a:gd name="connsiteY39" fmla="*/ 845344 h 1545431"/>
                    <a:gd name="connsiteX40" fmla="*/ 1362075 w 1714500"/>
                    <a:gd name="connsiteY40" fmla="*/ 802481 h 1545431"/>
                    <a:gd name="connsiteX41" fmla="*/ 1433513 w 1714500"/>
                    <a:gd name="connsiteY41" fmla="*/ 802482 h 1545431"/>
                    <a:gd name="connsiteX42" fmla="*/ 1507330 w 1714500"/>
                    <a:gd name="connsiteY42" fmla="*/ 726282 h 1545431"/>
                    <a:gd name="connsiteX43" fmla="*/ 1571625 w 1714500"/>
                    <a:gd name="connsiteY43" fmla="*/ 733425 h 1545431"/>
                    <a:gd name="connsiteX44" fmla="*/ 1714500 w 1714500"/>
                    <a:gd name="connsiteY44" fmla="*/ 774700 h 1545431"/>
                    <a:gd name="connsiteX45" fmla="*/ 323850 w 1714500"/>
                    <a:gd name="connsiteY45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11918 w 1714500"/>
                    <a:gd name="connsiteY3" fmla="*/ 740569 h 1545431"/>
                    <a:gd name="connsiteX4" fmla="*/ 109538 w 1714500"/>
                    <a:gd name="connsiteY4" fmla="*/ 1210468 h 1545431"/>
                    <a:gd name="connsiteX5" fmla="*/ 61912 w 1714500"/>
                    <a:gd name="connsiteY5" fmla="*/ 1200150 h 1545431"/>
                    <a:gd name="connsiteX6" fmla="*/ 11905 w 1714500"/>
                    <a:gd name="connsiteY6" fmla="*/ 1259682 h 1545431"/>
                    <a:gd name="connsiteX7" fmla="*/ 19050 w 1714500"/>
                    <a:gd name="connsiteY7" fmla="*/ 1316832 h 1545431"/>
                    <a:gd name="connsiteX8" fmla="*/ 76200 w 1714500"/>
                    <a:gd name="connsiteY8" fmla="*/ 1372394 h 1545431"/>
                    <a:gd name="connsiteX9" fmla="*/ 135732 w 1714500"/>
                    <a:gd name="connsiteY9" fmla="*/ 1379537 h 1545431"/>
                    <a:gd name="connsiteX10" fmla="*/ 207168 w 1714500"/>
                    <a:gd name="connsiteY10" fmla="*/ 1347787 h 1545431"/>
                    <a:gd name="connsiteX11" fmla="*/ 269081 w 1714500"/>
                    <a:gd name="connsiteY11" fmla="*/ 1285875 h 1545431"/>
                    <a:gd name="connsiteX12" fmla="*/ 304801 w 1714500"/>
                    <a:gd name="connsiteY12" fmla="*/ 1281113 h 1545431"/>
                    <a:gd name="connsiteX13" fmla="*/ 366712 w 1714500"/>
                    <a:gd name="connsiteY13" fmla="*/ 1259681 h 1545431"/>
                    <a:gd name="connsiteX14" fmla="*/ 416719 w 1714500"/>
                    <a:gd name="connsiteY14" fmla="*/ 1202531 h 1545431"/>
                    <a:gd name="connsiteX15" fmla="*/ 473869 w 1714500"/>
                    <a:gd name="connsiteY15" fmla="*/ 1228725 h 1545431"/>
                    <a:gd name="connsiteX16" fmla="*/ 526256 w 1714500"/>
                    <a:gd name="connsiteY16" fmla="*/ 1245394 h 1545431"/>
                    <a:gd name="connsiteX17" fmla="*/ 535781 w 1714500"/>
                    <a:gd name="connsiteY17" fmla="*/ 1302544 h 1545431"/>
                    <a:gd name="connsiteX18" fmla="*/ 619125 w 1714500"/>
                    <a:gd name="connsiteY18" fmla="*/ 1283494 h 1545431"/>
                    <a:gd name="connsiteX19" fmla="*/ 619126 w 1714500"/>
                    <a:gd name="connsiteY19" fmla="*/ 1162050 h 1545431"/>
                    <a:gd name="connsiteX20" fmla="*/ 661988 w 1714500"/>
                    <a:gd name="connsiteY20" fmla="*/ 1173956 h 1545431"/>
                    <a:gd name="connsiteX21" fmla="*/ 633413 w 1714500"/>
                    <a:gd name="connsiteY21" fmla="*/ 1309687 h 1545431"/>
                    <a:gd name="connsiteX22" fmla="*/ 642938 w 1714500"/>
                    <a:gd name="connsiteY22" fmla="*/ 1347787 h 1545431"/>
                    <a:gd name="connsiteX23" fmla="*/ 755650 w 1714500"/>
                    <a:gd name="connsiteY23" fmla="*/ 1215231 h 1545431"/>
                    <a:gd name="connsiteX24" fmla="*/ 985837 w 1714500"/>
                    <a:gd name="connsiteY24" fmla="*/ 1545431 h 1545431"/>
                    <a:gd name="connsiteX25" fmla="*/ 1016794 w 1714500"/>
                    <a:gd name="connsiteY25" fmla="*/ 1528763 h 1545431"/>
                    <a:gd name="connsiteX26" fmla="*/ 1021556 w 1714500"/>
                    <a:gd name="connsiteY26" fmla="*/ 1459706 h 1545431"/>
                    <a:gd name="connsiteX27" fmla="*/ 997744 w 1714500"/>
                    <a:gd name="connsiteY27" fmla="*/ 1428750 h 1545431"/>
                    <a:gd name="connsiteX28" fmla="*/ 1000125 w 1714500"/>
                    <a:gd name="connsiteY28" fmla="*/ 1319213 h 1545431"/>
                    <a:gd name="connsiteX29" fmla="*/ 1102519 w 1714500"/>
                    <a:gd name="connsiteY29" fmla="*/ 1314450 h 1545431"/>
                    <a:gd name="connsiteX30" fmla="*/ 1152526 w 1714500"/>
                    <a:gd name="connsiteY30" fmla="*/ 1231107 h 1545431"/>
                    <a:gd name="connsiteX31" fmla="*/ 1216819 w 1714500"/>
                    <a:gd name="connsiteY31" fmla="*/ 1185863 h 1545431"/>
                    <a:gd name="connsiteX32" fmla="*/ 1269207 w 1714500"/>
                    <a:gd name="connsiteY32" fmla="*/ 1193006 h 1545431"/>
                    <a:gd name="connsiteX33" fmla="*/ 1293019 w 1714500"/>
                    <a:gd name="connsiteY33" fmla="*/ 1237456 h 1545431"/>
                    <a:gd name="connsiteX34" fmla="*/ 1340644 w 1714500"/>
                    <a:gd name="connsiteY34" fmla="*/ 1171575 h 1545431"/>
                    <a:gd name="connsiteX35" fmla="*/ 1400175 w 1714500"/>
                    <a:gd name="connsiteY35" fmla="*/ 1178719 h 1545431"/>
                    <a:gd name="connsiteX36" fmla="*/ 1449388 w 1714500"/>
                    <a:gd name="connsiteY36" fmla="*/ 1116806 h 1545431"/>
                    <a:gd name="connsiteX37" fmla="*/ 1450182 w 1714500"/>
                    <a:gd name="connsiteY37" fmla="*/ 983456 h 1545431"/>
                    <a:gd name="connsiteX38" fmla="*/ 1352550 w 1714500"/>
                    <a:gd name="connsiteY38" fmla="*/ 931068 h 1545431"/>
                    <a:gd name="connsiteX39" fmla="*/ 1343026 w 1714500"/>
                    <a:gd name="connsiteY39" fmla="*/ 845344 h 1545431"/>
                    <a:gd name="connsiteX40" fmla="*/ 1362075 w 1714500"/>
                    <a:gd name="connsiteY40" fmla="*/ 802481 h 1545431"/>
                    <a:gd name="connsiteX41" fmla="*/ 1433513 w 1714500"/>
                    <a:gd name="connsiteY41" fmla="*/ 802482 h 1545431"/>
                    <a:gd name="connsiteX42" fmla="*/ 1507330 w 1714500"/>
                    <a:gd name="connsiteY42" fmla="*/ 726282 h 1545431"/>
                    <a:gd name="connsiteX43" fmla="*/ 1571625 w 1714500"/>
                    <a:gd name="connsiteY43" fmla="*/ 733425 h 1545431"/>
                    <a:gd name="connsiteX44" fmla="*/ 1714500 w 1714500"/>
                    <a:gd name="connsiteY44" fmla="*/ 774700 h 1545431"/>
                    <a:gd name="connsiteX45" fmla="*/ 323850 w 1714500"/>
                    <a:gd name="connsiteY45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45255 w 1714500"/>
                    <a:gd name="connsiteY3" fmla="*/ 626269 h 1545431"/>
                    <a:gd name="connsiteX4" fmla="*/ 111918 w 1714500"/>
                    <a:gd name="connsiteY4" fmla="*/ 740569 h 1545431"/>
                    <a:gd name="connsiteX5" fmla="*/ 109538 w 1714500"/>
                    <a:gd name="connsiteY5" fmla="*/ 1210468 h 1545431"/>
                    <a:gd name="connsiteX6" fmla="*/ 61912 w 1714500"/>
                    <a:gd name="connsiteY6" fmla="*/ 1200150 h 1545431"/>
                    <a:gd name="connsiteX7" fmla="*/ 11905 w 1714500"/>
                    <a:gd name="connsiteY7" fmla="*/ 1259682 h 1545431"/>
                    <a:gd name="connsiteX8" fmla="*/ 19050 w 1714500"/>
                    <a:gd name="connsiteY8" fmla="*/ 1316832 h 1545431"/>
                    <a:gd name="connsiteX9" fmla="*/ 76200 w 1714500"/>
                    <a:gd name="connsiteY9" fmla="*/ 1372394 h 1545431"/>
                    <a:gd name="connsiteX10" fmla="*/ 135732 w 1714500"/>
                    <a:gd name="connsiteY10" fmla="*/ 1379537 h 1545431"/>
                    <a:gd name="connsiteX11" fmla="*/ 207168 w 1714500"/>
                    <a:gd name="connsiteY11" fmla="*/ 1347787 h 1545431"/>
                    <a:gd name="connsiteX12" fmla="*/ 269081 w 1714500"/>
                    <a:gd name="connsiteY12" fmla="*/ 1285875 h 1545431"/>
                    <a:gd name="connsiteX13" fmla="*/ 304801 w 1714500"/>
                    <a:gd name="connsiteY13" fmla="*/ 1281113 h 1545431"/>
                    <a:gd name="connsiteX14" fmla="*/ 366712 w 1714500"/>
                    <a:gd name="connsiteY14" fmla="*/ 1259681 h 1545431"/>
                    <a:gd name="connsiteX15" fmla="*/ 416719 w 1714500"/>
                    <a:gd name="connsiteY15" fmla="*/ 1202531 h 1545431"/>
                    <a:gd name="connsiteX16" fmla="*/ 473869 w 1714500"/>
                    <a:gd name="connsiteY16" fmla="*/ 1228725 h 1545431"/>
                    <a:gd name="connsiteX17" fmla="*/ 526256 w 1714500"/>
                    <a:gd name="connsiteY17" fmla="*/ 1245394 h 1545431"/>
                    <a:gd name="connsiteX18" fmla="*/ 535781 w 1714500"/>
                    <a:gd name="connsiteY18" fmla="*/ 1302544 h 1545431"/>
                    <a:gd name="connsiteX19" fmla="*/ 619125 w 1714500"/>
                    <a:gd name="connsiteY19" fmla="*/ 1283494 h 1545431"/>
                    <a:gd name="connsiteX20" fmla="*/ 619126 w 1714500"/>
                    <a:gd name="connsiteY20" fmla="*/ 1162050 h 1545431"/>
                    <a:gd name="connsiteX21" fmla="*/ 661988 w 1714500"/>
                    <a:gd name="connsiteY21" fmla="*/ 1173956 h 1545431"/>
                    <a:gd name="connsiteX22" fmla="*/ 633413 w 1714500"/>
                    <a:gd name="connsiteY22" fmla="*/ 1309687 h 1545431"/>
                    <a:gd name="connsiteX23" fmla="*/ 642938 w 1714500"/>
                    <a:gd name="connsiteY23" fmla="*/ 1347787 h 1545431"/>
                    <a:gd name="connsiteX24" fmla="*/ 755650 w 1714500"/>
                    <a:gd name="connsiteY24" fmla="*/ 1215231 h 1545431"/>
                    <a:gd name="connsiteX25" fmla="*/ 985837 w 1714500"/>
                    <a:gd name="connsiteY25" fmla="*/ 1545431 h 1545431"/>
                    <a:gd name="connsiteX26" fmla="*/ 1016794 w 1714500"/>
                    <a:gd name="connsiteY26" fmla="*/ 1528763 h 1545431"/>
                    <a:gd name="connsiteX27" fmla="*/ 1021556 w 1714500"/>
                    <a:gd name="connsiteY27" fmla="*/ 1459706 h 1545431"/>
                    <a:gd name="connsiteX28" fmla="*/ 997744 w 1714500"/>
                    <a:gd name="connsiteY28" fmla="*/ 1428750 h 1545431"/>
                    <a:gd name="connsiteX29" fmla="*/ 1000125 w 1714500"/>
                    <a:gd name="connsiteY29" fmla="*/ 1319213 h 1545431"/>
                    <a:gd name="connsiteX30" fmla="*/ 1102519 w 1714500"/>
                    <a:gd name="connsiteY30" fmla="*/ 1314450 h 1545431"/>
                    <a:gd name="connsiteX31" fmla="*/ 1152526 w 1714500"/>
                    <a:gd name="connsiteY31" fmla="*/ 1231107 h 1545431"/>
                    <a:gd name="connsiteX32" fmla="*/ 1216819 w 1714500"/>
                    <a:gd name="connsiteY32" fmla="*/ 1185863 h 1545431"/>
                    <a:gd name="connsiteX33" fmla="*/ 1269207 w 1714500"/>
                    <a:gd name="connsiteY33" fmla="*/ 1193006 h 1545431"/>
                    <a:gd name="connsiteX34" fmla="*/ 1293019 w 1714500"/>
                    <a:gd name="connsiteY34" fmla="*/ 1237456 h 1545431"/>
                    <a:gd name="connsiteX35" fmla="*/ 1340644 w 1714500"/>
                    <a:gd name="connsiteY35" fmla="*/ 1171575 h 1545431"/>
                    <a:gd name="connsiteX36" fmla="*/ 1400175 w 1714500"/>
                    <a:gd name="connsiteY36" fmla="*/ 1178719 h 1545431"/>
                    <a:gd name="connsiteX37" fmla="*/ 1449388 w 1714500"/>
                    <a:gd name="connsiteY37" fmla="*/ 1116806 h 1545431"/>
                    <a:gd name="connsiteX38" fmla="*/ 1450182 w 1714500"/>
                    <a:gd name="connsiteY38" fmla="*/ 983456 h 1545431"/>
                    <a:gd name="connsiteX39" fmla="*/ 1352550 w 1714500"/>
                    <a:gd name="connsiteY39" fmla="*/ 931068 h 1545431"/>
                    <a:gd name="connsiteX40" fmla="*/ 1343026 w 1714500"/>
                    <a:gd name="connsiteY40" fmla="*/ 845344 h 1545431"/>
                    <a:gd name="connsiteX41" fmla="*/ 1362075 w 1714500"/>
                    <a:gd name="connsiteY41" fmla="*/ 802481 h 1545431"/>
                    <a:gd name="connsiteX42" fmla="*/ 1433513 w 1714500"/>
                    <a:gd name="connsiteY42" fmla="*/ 802482 h 1545431"/>
                    <a:gd name="connsiteX43" fmla="*/ 1507330 w 1714500"/>
                    <a:gd name="connsiteY43" fmla="*/ 726282 h 1545431"/>
                    <a:gd name="connsiteX44" fmla="*/ 1571625 w 1714500"/>
                    <a:gd name="connsiteY44" fmla="*/ 733425 h 1545431"/>
                    <a:gd name="connsiteX45" fmla="*/ 1714500 w 1714500"/>
                    <a:gd name="connsiteY45" fmla="*/ 774700 h 1545431"/>
                    <a:gd name="connsiteX46" fmla="*/ 323850 w 1714500"/>
                    <a:gd name="connsiteY46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71449 w 1714500"/>
                    <a:gd name="connsiteY3" fmla="*/ 790575 h 1545431"/>
                    <a:gd name="connsiteX4" fmla="*/ 111918 w 1714500"/>
                    <a:gd name="connsiteY4" fmla="*/ 740569 h 1545431"/>
                    <a:gd name="connsiteX5" fmla="*/ 109538 w 1714500"/>
                    <a:gd name="connsiteY5" fmla="*/ 1210468 h 1545431"/>
                    <a:gd name="connsiteX6" fmla="*/ 61912 w 1714500"/>
                    <a:gd name="connsiteY6" fmla="*/ 1200150 h 1545431"/>
                    <a:gd name="connsiteX7" fmla="*/ 11905 w 1714500"/>
                    <a:gd name="connsiteY7" fmla="*/ 1259682 h 1545431"/>
                    <a:gd name="connsiteX8" fmla="*/ 19050 w 1714500"/>
                    <a:gd name="connsiteY8" fmla="*/ 1316832 h 1545431"/>
                    <a:gd name="connsiteX9" fmla="*/ 76200 w 1714500"/>
                    <a:gd name="connsiteY9" fmla="*/ 1372394 h 1545431"/>
                    <a:gd name="connsiteX10" fmla="*/ 135732 w 1714500"/>
                    <a:gd name="connsiteY10" fmla="*/ 1379537 h 1545431"/>
                    <a:gd name="connsiteX11" fmla="*/ 207168 w 1714500"/>
                    <a:gd name="connsiteY11" fmla="*/ 1347787 h 1545431"/>
                    <a:gd name="connsiteX12" fmla="*/ 269081 w 1714500"/>
                    <a:gd name="connsiteY12" fmla="*/ 1285875 h 1545431"/>
                    <a:gd name="connsiteX13" fmla="*/ 304801 w 1714500"/>
                    <a:gd name="connsiteY13" fmla="*/ 1281113 h 1545431"/>
                    <a:gd name="connsiteX14" fmla="*/ 366712 w 1714500"/>
                    <a:gd name="connsiteY14" fmla="*/ 1259681 h 1545431"/>
                    <a:gd name="connsiteX15" fmla="*/ 416719 w 1714500"/>
                    <a:gd name="connsiteY15" fmla="*/ 1202531 h 1545431"/>
                    <a:gd name="connsiteX16" fmla="*/ 473869 w 1714500"/>
                    <a:gd name="connsiteY16" fmla="*/ 1228725 h 1545431"/>
                    <a:gd name="connsiteX17" fmla="*/ 526256 w 1714500"/>
                    <a:gd name="connsiteY17" fmla="*/ 1245394 h 1545431"/>
                    <a:gd name="connsiteX18" fmla="*/ 535781 w 1714500"/>
                    <a:gd name="connsiteY18" fmla="*/ 1302544 h 1545431"/>
                    <a:gd name="connsiteX19" fmla="*/ 619125 w 1714500"/>
                    <a:gd name="connsiteY19" fmla="*/ 1283494 h 1545431"/>
                    <a:gd name="connsiteX20" fmla="*/ 619126 w 1714500"/>
                    <a:gd name="connsiteY20" fmla="*/ 1162050 h 1545431"/>
                    <a:gd name="connsiteX21" fmla="*/ 661988 w 1714500"/>
                    <a:gd name="connsiteY21" fmla="*/ 1173956 h 1545431"/>
                    <a:gd name="connsiteX22" fmla="*/ 633413 w 1714500"/>
                    <a:gd name="connsiteY22" fmla="*/ 1309687 h 1545431"/>
                    <a:gd name="connsiteX23" fmla="*/ 642938 w 1714500"/>
                    <a:gd name="connsiteY23" fmla="*/ 1347787 h 1545431"/>
                    <a:gd name="connsiteX24" fmla="*/ 755650 w 1714500"/>
                    <a:gd name="connsiteY24" fmla="*/ 1215231 h 1545431"/>
                    <a:gd name="connsiteX25" fmla="*/ 985837 w 1714500"/>
                    <a:gd name="connsiteY25" fmla="*/ 1545431 h 1545431"/>
                    <a:gd name="connsiteX26" fmla="*/ 1016794 w 1714500"/>
                    <a:gd name="connsiteY26" fmla="*/ 1528763 h 1545431"/>
                    <a:gd name="connsiteX27" fmla="*/ 1021556 w 1714500"/>
                    <a:gd name="connsiteY27" fmla="*/ 1459706 h 1545431"/>
                    <a:gd name="connsiteX28" fmla="*/ 997744 w 1714500"/>
                    <a:gd name="connsiteY28" fmla="*/ 1428750 h 1545431"/>
                    <a:gd name="connsiteX29" fmla="*/ 1000125 w 1714500"/>
                    <a:gd name="connsiteY29" fmla="*/ 1319213 h 1545431"/>
                    <a:gd name="connsiteX30" fmla="*/ 1102519 w 1714500"/>
                    <a:gd name="connsiteY30" fmla="*/ 1314450 h 1545431"/>
                    <a:gd name="connsiteX31" fmla="*/ 1152526 w 1714500"/>
                    <a:gd name="connsiteY31" fmla="*/ 1231107 h 1545431"/>
                    <a:gd name="connsiteX32" fmla="*/ 1216819 w 1714500"/>
                    <a:gd name="connsiteY32" fmla="*/ 1185863 h 1545431"/>
                    <a:gd name="connsiteX33" fmla="*/ 1269207 w 1714500"/>
                    <a:gd name="connsiteY33" fmla="*/ 1193006 h 1545431"/>
                    <a:gd name="connsiteX34" fmla="*/ 1293019 w 1714500"/>
                    <a:gd name="connsiteY34" fmla="*/ 1237456 h 1545431"/>
                    <a:gd name="connsiteX35" fmla="*/ 1340644 w 1714500"/>
                    <a:gd name="connsiteY35" fmla="*/ 1171575 h 1545431"/>
                    <a:gd name="connsiteX36" fmla="*/ 1400175 w 1714500"/>
                    <a:gd name="connsiteY36" fmla="*/ 1178719 h 1545431"/>
                    <a:gd name="connsiteX37" fmla="*/ 1449388 w 1714500"/>
                    <a:gd name="connsiteY37" fmla="*/ 1116806 h 1545431"/>
                    <a:gd name="connsiteX38" fmla="*/ 1450182 w 1714500"/>
                    <a:gd name="connsiteY38" fmla="*/ 983456 h 1545431"/>
                    <a:gd name="connsiteX39" fmla="*/ 1352550 w 1714500"/>
                    <a:gd name="connsiteY39" fmla="*/ 931068 h 1545431"/>
                    <a:gd name="connsiteX40" fmla="*/ 1343026 w 1714500"/>
                    <a:gd name="connsiteY40" fmla="*/ 845344 h 1545431"/>
                    <a:gd name="connsiteX41" fmla="*/ 1362075 w 1714500"/>
                    <a:gd name="connsiteY41" fmla="*/ 802481 h 1545431"/>
                    <a:gd name="connsiteX42" fmla="*/ 1433513 w 1714500"/>
                    <a:gd name="connsiteY42" fmla="*/ 802482 h 1545431"/>
                    <a:gd name="connsiteX43" fmla="*/ 1507330 w 1714500"/>
                    <a:gd name="connsiteY43" fmla="*/ 726282 h 1545431"/>
                    <a:gd name="connsiteX44" fmla="*/ 1571625 w 1714500"/>
                    <a:gd name="connsiteY44" fmla="*/ 733425 h 1545431"/>
                    <a:gd name="connsiteX45" fmla="*/ 1714500 w 1714500"/>
                    <a:gd name="connsiteY45" fmla="*/ 774700 h 1545431"/>
                    <a:gd name="connsiteX46" fmla="*/ 323850 w 1714500"/>
                    <a:gd name="connsiteY46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176212 w 1714500"/>
                    <a:gd name="connsiteY3" fmla="*/ 640556 h 1545431"/>
                    <a:gd name="connsiteX4" fmla="*/ 171449 w 1714500"/>
                    <a:gd name="connsiteY4" fmla="*/ 790575 h 1545431"/>
                    <a:gd name="connsiteX5" fmla="*/ 111918 w 1714500"/>
                    <a:gd name="connsiteY5" fmla="*/ 740569 h 1545431"/>
                    <a:gd name="connsiteX6" fmla="*/ 109538 w 1714500"/>
                    <a:gd name="connsiteY6" fmla="*/ 1210468 h 1545431"/>
                    <a:gd name="connsiteX7" fmla="*/ 61912 w 1714500"/>
                    <a:gd name="connsiteY7" fmla="*/ 1200150 h 1545431"/>
                    <a:gd name="connsiteX8" fmla="*/ 11905 w 1714500"/>
                    <a:gd name="connsiteY8" fmla="*/ 1259682 h 1545431"/>
                    <a:gd name="connsiteX9" fmla="*/ 19050 w 1714500"/>
                    <a:gd name="connsiteY9" fmla="*/ 1316832 h 1545431"/>
                    <a:gd name="connsiteX10" fmla="*/ 76200 w 1714500"/>
                    <a:gd name="connsiteY10" fmla="*/ 1372394 h 1545431"/>
                    <a:gd name="connsiteX11" fmla="*/ 135732 w 1714500"/>
                    <a:gd name="connsiteY11" fmla="*/ 1379537 h 1545431"/>
                    <a:gd name="connsiteX12" fmla="*/ 207168 w 1714500"/>
                    <a:gd name="connsiteY12" fmla="*/ 1347787 h 1545431"/>
                    <a:gd name="connsiteX13" fmla="*/ 269081 w 1714500"/>
                    <a:gd name="connsiteY13" fmla="*/ 1285875 h 1545431"/>
                    <a:gd name="connsiteX14" fmla="*/ 304801 w 1714500"/>
                    <a:gd name="connsiteY14" fmla="*/ 1281113 h 1545431"/>
                    <a:gd name="connsiteX15" fmla="*/ 366712 w 1714500"/>
                    <a:gd name="connsiteY15" fmla="*/ 1259681 h 1545431"/>
                    <a:gd name="connsiteX16" fmla="*/ 416719 w 1714500"/>
                    <a:gd name="connsiteY16" fmla="*/ 1202531 h 1545431"/>
                    <a:gd name="connsiteX17" fmla="*/ 473869 w 1714500"/>
                    <a:gd name="connsiteY17" fmla="*/ 1228725 h 1545431"/>
                    <a:gd name="connsiteX18" fmla="*/ 526256 w 1714500"/>
                    <a:gd name="connsiteY18" fmla="*/ 1245394 h 1545431"/>
                    <a:gd name="connsiteX19" fmla="*/ 535781 w 1714500"/>
                    <a:gd name="connsiteY19" fmla="*/ 1302544 h 1545431"/>
                    <a:gd name="connsiteX20" fmla="*/ 619125 w 1714500"/>
                    <a:gd name="connsiteY20" fmla="*/ 1283494 h 1545431"/>
                    <a:gd name="connsiteX21" fmla="*/ 619126 w 1714500"/>
                    <a:gd name="connsiteY21" fmla="*/ 1162050 h 1545431"/>
                    <a:gd name="connsiteX22" fmla="*/ 661988 w 1714500"/>
                    <a:gd name="connsiteY22" fmla="*/ 1173956 h 1545431"/>
                    <a:gd name="connsiteX23" fmla="*/ 633413 w 1714500"/>
                    <a:gd name="connsiteY23" fmla="*/ 1309687 h 1545431"/>
                    <a:gd name="connsiteX24" fmla="*/ 642938 w 1714500"/>
                    <a:gd name="connsiteY24" fmla="*/ 1347787 h 1545431"/>
                    <a:gd name="connsiteX25" fmla="*/ 755650 w 1714500"/>
                    <a:gd name="connsiteY25" fmla="*/ 1215231 h 1545431"/>
                    <a:gd name="connsiteX26" fmla="*/ 985837 w 1714500"/>
                    <a:gd name="connsiteY26" fmla="*/ 1545431 h 1545431"/>
                    <a:gd name="connsiteX27" fmla="*/ 1016794 w 1714500"/>
                    <a:gd name="connsiteY27" fmla="*/ 1528763 h 1545431"/>
                    <a:gd name="connsiteX28" fmla="*/ 1021556 w 1714500"/>
                    <a:gd name="connsiteY28" fmla="*/ 1459706 h 1545431"/>
                    <a:gd name="connsiteX29" fmla="*/ 997744 w 1714500"/>
                    <a:gd name="connsiteY29" fmla="*/ 1428750 h 1545431"/>
                    <a:gd name="connsiteX30" fmla="*/ 1000125 w 1714500"/>
                    <a:gd name="connsiteY30" fmla="*/ 1319213 h 1545431"/>
                    <a:gd name="connsiteX31" fmla="*/ 1102519 w 1714500"/>
                    <a:gd name="connsiteY31" fmla="*/ 1314450 h 1545431"/>
                    <a:gd name="connsiteX32" fmla="*/ 1152526 w 1714500"/>
                    <a:gd name="connsiteY32" fmla="*/ 1231107 h 1545431"/>
                    <a:gd name="connsiteX33" fmla="*/ 1216819 w 1714500"/>
                    <a:gd name="connsiteY33" fmla="*/ 1185863 h 1545431"/>
                    <a:gd name="connsiteX34" fmla="*/ 1269207 w 1714500"/>
                    <a:gd name="connsiteY34" fmla="*/ 1193006 h 1545431"/>
                    <a:gd name="connsiteX35" fmla="*/ 1293019 w 1714500"/>
                    <a:gd name="connsiteY35" fmla="*/ 1237456 h 1545431"/>
                    <a:gd name="connsiteX36" fmla="*/ 1340644 w 1714500"/>
                    <a:gd name="connsiteY36" fmla="*/ 1171575 h 1545431"/>
                    <a:gd name="connsiteX37" fmla="*/ 1400175 w 1714500"/>
                    <a:gd name="connsiteY37" fmla="*/ 1178719 h 1545431"/>
                    <a:gd name="connsiteX38" fmla="*/ 1449388 w 1714500"/>
                    <a:gd name="connsiteY38" fmla="*/ 1116806 h 1545431"/>
                    <a:gd name="connsiteX39" fmla="*/ 1450182 w 1714500"/>
                    <a:gd name="connsiteY39" fmla="*/ 983456 h 1545431"/>
                    <a:gd name="connsiteX40" fmla="*/ 1352550 w 1714500"/>
                    <a:gd name="connsiteY40" fmla="*/ 931068 h 1545431"/>
                    <a:gd name="connsiteX41" fmla="*/ 1343026 w 1714500"/>
                    <a:gd name="connsiteY41" fmla="*/ 845344 h 1545431"/>
                    <a:gd name="connsiteX42" fmla="*/ 1362075 w 1714500"/>
                    <a:gd name="connsiteY42" fmla="*/ 802481 h 1545431"/>
                    <a:gd name="connsiteX43" fmla="*/ 1433513 w 1714500"/>
                    <a:gd name="connsiteY43" fmla="*/ 802482 h 1545431"/>
                    <a:gd name="connsiteX44" fmla="*/ 1507330 w 1714500"/>
                    <a:gd name="connsiteY44" fmla="*/ 726282 h 1545431"/>
                    <a:gd name="connsiteX45" fmla="*/ 1571625 w 1714500"/>
                    <a:gd name="connsiteY45" fmla="*/ 733425 h 1545431"/>
                    <a:gd name="connsiteX46" fmla="*/ 1714500 w 1714500"/>
                    <a:gd name="connsiteY46" fmla="*/ 774700 h 1545431"/>
                    <a:gd name="connsiteX47" fmla="*/ 323850 w 1714500"/>
                    <a:gd name="connsiteY47" fmla="*/ 0 h 1545431"/>
                    <a:gd name="connsiteX0" fmla="*/ 323850 w 1714500"/>
                    <a:gd name="connsiteY0" fmla="*/ 0 h 1545431"/>
                    <a:gd name="connsiteX1" fmla="*/ 0 w 1714500"/>
                    <a:gd name="connsiteY1" fmla="*/ 165100 h 1545431"/>
                    <a:gd name="connsiteX2" fmla="*/ 180975 w 1714500"/>
                    <a:gd name="connsiteY2" fmla="*/ 508000 h 1545431"/>
                    <a:gd name="connsiteX3" fmla="*/ 264319 w 1714500"/>
                    <a:gd name="connsiteY3" fmla="*/ 766762 h 1545431"/>
                    <a:gd name="connsiteX4" fmla="*/ 171449 w 1714500"/>
                    <a:gd name="connsiteY4" fmla="*/ 790575 h 1545431"/>
                    <a:gd name="connsiteX5" fmla="*/ 111918 w 1714500"/>
                    <a:gd name="connsiteY5" fmla="*/ 740569 h 1545431"/>
                    <a:gd name="connsiteX6" fmla="*/ 109538 w 1714500"/>
                    <a:gd name="connsiteY6" fmla="*/ 1210468 h 1545431"/>
                    <a:gd name="connsiteX7" fmla="*/ 61912 w 1714500"/>
                    <a:gd name="connsiteY7" fmla="*/ 1200150 h 1545431"/>
                    <a:gd name="connsiteX8" fmla="*/ 11905 w 1714500"/>
                    <a:gd name="connsiteY8" fmla="*/ 1259682 h 1545431"/>
                    <a:gd name="connsiteX9" fmla="*/ 19050 w 1714500"/>
                    <a:gd name="connsiteY9" fmla="*/ 1316832 h 1545431"/>
                    <a:gd name="connsiteX10" fmla="*/ 76200 w 1714500"/>
                    <a:gd name="connsiteY10" fmla="*/ 1372394 h 1545431"/>
                    <a:gd name="connsiteX11" fmla="*/ 135732 w 1714500"/>
                    <a:gd name="connsiteY11" fmla="*/ 1379537 h 1545431"/>
                    <a:gd name="connsiteX12" fmla="*/ 207168 w 1714500"/>
                    <a:gd name="connsiteY12" fmla="*/ 1347787 h 1545431"/>
                    <a:gd name="connsiteX13" fmla="*/ 269081 w 1714500"/>
                    <a:gd name="connsiteY13" fmla="*/ 1285875 h 1545431"/>
                    <a:gd name="connsiteX14" fmla="*/ 304801 w 1714500"/>
                    <a:gd name="connsiteY14" fmla="*/ 1281113 h 1545431"/>
                    <a:gd name="connsiteX15" fmla="*/ 366712 w 1714500"/>
                    <a:gd name="connsiteY15" fmla="*/ 1259681 h 1545431"/>
                    <a:gd name="connsiteX16" fmla="*/ 416719 w 1714500"/>
                    <a:gd name="connsiteY16" fmla="*/ 1202531 h 1545431"/>
                    <a:gd name="connsiteX17" fmla="*/ 473869 w 1714500"/>
                    <a:gd name="connsiteY17" fmla="*/ 1228725 h 1545431"/>
                    <a:gd name="connsiteX18" fmla="*/ 526256 w 1714500"/>
                    <a:gd name="connsiteY18" fmla="*/ 1245394 h 1545431"/>
                    <a:gd name="connsiteX19" fmla="*/ 535781 w 1714500"/>
                    <a:gd name="connsiteY19" fmla="*/ 1302544 h 1545431"/>
                    <a:gd name="connsiteX20" fmla="*/ 619125 w 1714500"/>
                    <a:gd name="connsiteY20" fmla="*/ 1283494 h 1545431"/>
                    <a:gd name="connsiteX21" fmla="*/ 619126 w 1714500"/>
                    <a:gd name="connsiteY21" fmla="*/ 1162050 h 1545431"/>
                    <a:gd name="connsiteX22" fmla="*/ 661988 w 1714500"/>
                    <a:gd name="connsiteY22" fmla="*/ 1173956 h 1545431"/>
                    <a:gd name="connsiteX23" fmla="*/ 633413 w 1714500"/>
                    <a:gd name="connsiteY23" fmla="*/ 1309687 h 1545431"/>
                    <a:gd name="connsiteX24" fmla="*/ 642938 w 1714500"/>
                    <a:gd name="connsiteY24" fmla="*/ 1347787 h 1545431"/>
                    <a:gd name="connsiteX25" fmla="*/ 755650 w 1714500"/>
                    <a:gd name="connsiteY25" fmla="*/ 1215231 h 1545431"/>
                    <a:gd name="connsiteX26" fmla="*/ 985837 w 1714500"/>
                    <a:gd name="connsiteY26" fmla="*/ 1545431 h 1545431"/>
                    <a:gd name="connsiteX27" fmla="*/ 1016794 w 1714500"/>
                    <a:gd name="connsiteY27" fmla="*/ 1528763 h 1545431"/>
                    <a:gd name="connsiteX28" fmla="*/ 1021556 w 1714500"/>
                    <a:gd name="connsiteY28" fmla="*/ 1459706 h 1545431"/>
                    <a:gd name="connsiteX29" fmla="*/ 997744 w 1714500"/>
                    <a:gd name="connsiteY29" fmla="*/ 1428750 h 1545431"/>
                    <a:gd name="connsiteX30" fmla="*/ 1000125 w 1714500"/>
                    <a:gd name="connsiteY30" fmla="*/ 1319213 h 1545431"/>
                    <a:gd name="connsiteX31" fmla="*/ 1102519 w 1714500"/>
                    <a:gd name="connsiteY31" fmla="*/ 1314450 h 1545431"/>
                    <a:gd name="connsiteX32" fmla="*/ 1152526 w 1714500"/>
                    <a:gd name="connsiteY32" fmla="*/ 1231107 h 1545431"/>
                    <a:gd name="connsiteX33" fmla="*/ 1216819 w 1714500"/>
                    <a:gd name="connsiteY33" fmla="*/ 1185863 h 1545431"/>
                    <a:gd name="connsiteX34" fmla="*/ 1269207 w 1714500"/>
                    <a:gd name="connsiteY34" fmla="*/ 1193006 h 1545431"/>
                    <a:gd name="connsiteX35" fmla="*/ 1293019 w 1714500"/>
                    <a:gd name="connsiteY35" fmla="*/ 1237456 h 1545431"/>
                    <a:gd name="connsiteX36" fmla="*/ 1340644 w 1714500"/>
                    <a:gd name="connsiteY36" fmla="*/ 1171575 h 1545431"/>
                    <a:gd name="connsiteX37" fmla="*/ 1400175 w 1714500"/>
                    <a:gd name="connsiteY37" fmla="*/ 1178719 h 1545431"/>
                    <a:gd name="connsiteX38" fmla="*/ 1449388 w 1714500"/>
                    <a:gd name="connsiteY38" fmla="*/ 1116806 h 1545431"/>
                    <a:gd name="connsiteX39" fmla="*/ 1450182 w 1714500"/>
                    <a:gd name="connsiteY39" fmla="*/ 983456 h 1545431"/>
                    <a:gd name="connsiteX40" fmla="*/ 1352550 w 1714500"/>
                    <a:gd name="connsiteY40" fmla="*/ 931068 h 1545431"/>
                    <a:gd name="connsiteX41" fmla="*/ 1343026 w 1714500"/>
                    <a:gd name="connsiteY41" fmla="*/ 845344 h 1545431"/>
                    <a:gd name="connsiteX42" fmla="*/ 1362075 w 1714500"/>
                    <a:gd name="connsiteY42" fmla="*/ 802481 h 1545431"/>
                    <a:gd name="connsiteX43" fmla="*/ 1433513 w 1714500"/>
                    <a:gd name="connsiteY43" fmla="*/ 802482 h 1545431"/>
                    <a:gd name="connsiteX44" fmla="*/ 1507330 w 1714500"/>
                    <a:gd name="connsiteY44" fmla="*/ 726282 h 1545431"/>
                    <a:gd name="connsiteX45" fmla="*/ 1571625 w 1714500"/>
                    <a:gd name="connsiteY45" fmla="*/ 733425 h 1545431"/>
                    <a:gd name="connsiteX46" fmla="*/ 1714500 w 1714500"/>
                    <a:gd name="connsiteY46" fmla="*/ 774700 h 1545431"/>
                    <a:gd name="connsiteX47" fmla="*/ 323850 w 1714500"/>
                    <a:gd name="connsiteY47" fmla="*/ 0 h 1545431"/>
                    <a:gd name="connsiteX0" fmla="*/ 311945 w 1702595"/>
                    <a:gd name="connsiteY0" fmla="*/ 0 h 1545431"/>
                    <a:gd name="connsiteX1" fmla="*/ 221457 w 1702595"/>
                    <a:gd name="connsiteY1" fmla="*/ 253206 h 1545431"/>
                    <a:gd name="connsiteX2" fmla="*/ 169070 w 1702595"/>
                    <a:gd name="connsiteY2" fmla="*/ 508000 h 1545431"/>
                    <a:gd name="connsiteX3" fmla="*/ 252414 w 1702595"/>
                    <a:gd name="connsiteY3" fmla="*/ 766762 h 1545431"/>
                    <a:gd name="connsiteX4" fmla="*/ 159544 w 1702595"/>
                    <a:gd name="connsiteY4" fmla="*/ 790575 h 1545431"/>
                    <a:gd name="connsiteX5" fmla="*/ 100013 w 1702595"/>
                    <a:gd name="connsiteY5" fmla="*/ 740569 h 1545431"/>
                    <a:gd name="connsiteX6" fmla="*/ 97633 w 1702595"/>
                    <a:gd name="connsiteY6" fmla="*/ 1210468 h 1545431"/>
                    <a:gd name="connsiteX7" fmla="*/ 50007 w 1702595"/>
                    <a:gd name="connsiteY7" fmla="*/ 1200150 h 1545431"/>
                    <a:gd name="connsiteX8" fmla="*/ 0 w 1702595"/>
                    <a:gd name="connsiteY8" fmla="*/ 1259682 h 1545431"/>
                    <a:gd name="connsiteX9" fmla="*/ 7145 w 1702595"/>
                    <a:gd name="connsiteY9" fmla="*/ 1316832 h 1545431"/>
                    <a:gd name="connsiteX10" fmla="*/ 64295 w 1702595"/>
                    <a:gd name="connsiteY10" fmla="*/ 1372394 h 1545431"/>
                    <a:gd name="connsiteX11" fmla="*/ 123827 w 1702595"/>
                    <a:gd name="connsiteY11" fmla="*/ 1379537 h 1545431"/>
                    <a:gd name="connsiteX12" fmla="*/ 195263 w 1702595"/>
                    <a:gd name="connsiteY12" fmla="*/ 1347787 h 1545431"/>
                    <a:gd name="connsiteX13" fmla="*/ 257176 w 1702595"/>
                    <a:gd name="connsiteY13" fmla="*/ 1285875 h 1545431"/>
                    <a:gd name="connsiteX14" fmla="*/ 292896 w 1702595"/>
                    <a:gd name="connsiteY14" fmla="*/ 1281113 h 1545431"/>
                    <a:gd name="connsiteX15" fmla="*/ 354807 w 1702595"/>
                    <a:gd name="connsiteY15" fmla="*/ 1259681 h 1545431"/>
                    <a:gd name="connsiteX16" fmla="*/ 404814 w 1702595"/>
                    <a:gd name="connsiteY16" fmla="*/ 1202531 h 1545431"/>
                    <a:gd name="connsiteX17" fmla="*/ 461964 w 1702595"/>
                    <a:gd name="connsiteY17" fmla="*/ 1228725 h 1545431"/>
                    <a:gd name="connsiteX18" fmla="*/ 514351 w 1702595"/>
                    <a:gd name="connsiteY18" fmla="*/ 1245394 h 1545431"/>
                    <a:gd name="connsiteX19" fmla="*/ 523876 w 1702595"/>
                    <a:gd name="connsiteY19" fmla="*/ 1302544 h 1545431"/>
                    <a:gd name="connsiteX20" fmla="*/ 607220 w 1702595"/>
                    <a:gd name="connsiteY20" fmla="*/ 1283494 h 1545431"/>
                    <a:gd name="connsiteX21" fmla="*/ 607221 w 1702595"/>
                    <a:gd name="connsiteY21" fmla="*/ 1162050 h 1545431"/>
                    <a:gd name="connsiteX22" fmla="*/ 650083 w 1702595"/>
                    <a:gd name="connsiteY22" fmla="*/ 1173956 h 1545431"/>
                    <a:gd name="connsiteX23" fmla="*/ 621508 w 1702595"/>
                    <a:gd name="connsiteY23" fmla="*/ 1309687 h 1545431"/>
                    <a:gd name="connsiteX24" fmla="*/ 631033 w 1702595"/>
                    <a:gd name="connsiteY24" fmla="*/ 1347787 h 1545431"/>
                    <a:gd name="connsiteX25" fmla="*/ 743745 w 1702595"/>
                    <a:gd name="connsiteY25" fmla="*/ 1215231 h 1545431"/>
                    <a:gd name="connsiteX26" fmla="*/ 973932 w 1702595"/>
                    <a:gd name="connsiteY26" fmla="*/ 1545431 h 1545431"/>
                    <a:gd name="connsiteX27" fmla="*/ 1004889 w 1702595"/>
                    <a:gd name="connsiteY27" fmla="*/ 1528763 h 1545431"/>
                    <a:gd name="connsiteX28" fmla="*/ 1009651 w 1702595"/>
                    <a:gd name="connsiteY28" fmla="*/ 1459706 h 1545431"/>
                    <a:gd name="connsiteX29" fmla="*/ 985839 w 1702595"/>
                    <a:gd name="connsiteY29" fmla="*/ 1428750 h 1545431"/>
                    <a:gd name="connsiteX30" fmla="*/ 988220 w 1702595"/>
                    <a:gd name="connsiteY30" fmla="*/ 1319213 h 1545431"/>
                    <a:gd name="connsiteX31" fmla="*/ 1090614 w 1702595"/>
                    <a:gd name="connsiteY31" fmla="*/ 1314450 h 1545431"/>
                    <a:gd name="connsiteX32" fmla="*/ 1140621 w 1702595"/>
                    <a:gd name="connsiteY32" fmla="*/ 1231107 h 1545431"/>
                    <a:gd name="connsiteX33" fmla="*/ 1204914 w 1702595"/>
                    <a:gd name="connsiteY33" fmla="*/ 1185863 h 1545431"/>
                    <a:gd name="connsiteX34" fmla="*/ 1257302 w 1702595"/>
                    <a:gd name="connsiteY34" fmla="*/ 1193006 h 1545431"/>
                    <a:gd name="connsiteX35" fmla="*/ 1281114 w 1702595"/>
                    <a:gd name="connsiteY35" fmla="*/ 1237456 h 1545431"/>
                    <a:gd name="connsiteX36" fmla="*/ 1328739 w 1702595"/>
                    <a:gd name="connsiteY36" fmla="*/ 1171575 h 1545431"/>
                    <a:gd name="connsiteX37" fmla="*/ 1388270 w 1702595"/>
                    <a:gd name="connsiteY37" fmla="*/ 1178719 h 1545431"/>
                    <a:gd name="connsiteX38" fmla="*/ 1437483 w 1702595"/>
                    <a:gd name="connsiteY38" fmla="*/ 1116806 h 1545431"/>
                    <a:gd name="connsiteX39" fmla="*/ 1438277 w 1702595"/>
                    <a:gd name="connsiteY39" fmla="*/ 983456 h 1545431"/>
                    <a:gd name="connsiteX40" fmla="*/ 1340645 w 1702595"/>
                    <a:gd name="connsiteY40" fmla="*/ 931068 h 1545431"/>
                    <a:gd name="connsiteX41" fmla="*/ 1331121 w 1702595"/>
                    <a:gd name="connsiteY41" fmla="*/ 845344 h 1545431"/>
                    <a:gd name="connsiteX42" fmla="*/ 1350170 w 1702595"/>
                    <a:gd name="connsiteY42" fmla="*/ 802481 h 1545431"/>
                    <a:gd name="connsiteX43" fmla="*/ 1421608 w 1702595"/>
                    <a:gd name="connsiteY43" fmla="*/ 802482 h 1545431"/>
                    <a:gd name="connsiteX44" fmla="*/ 1495425 w 1702595"/>
                    <a:gd name="connsiteY44" fmla="*/ 726282 h 1545431"/>
                    <a:gd name="connsiteX45" fmla="*/ 1559720 w 1702595"/>
                    <a:gd name="connsiteY45" fmla="*/ 733425 h 1545431"/>
                    <a:gd name="connsiteX46" fmla="*/ 1702595 w 1702595"/>
                    <a:gd name="connsiteY46" fmla="*/ 774700 h 1545431"/>
                    <a:gd name="connsiteX47" fmla="*/ 311945 w 1702595"/>
                    <a:gd name="connsiteY47" fmla="*/ 0 h 1545431"/>
                    <a:gd name="connsiteX0" fmla="*/ 311945 w 1702595"/>
                    <a:gd name="connsiteY0" fmla="*/ 0 h 1545431"/>
                    <a:gd name="connsiteX1" fmla="*/ 221457 w 1702595"/>
                    <a:gd name="connsiteY1" fmla="*/ 253206 h 1545431"/>
                    <a:gd name="connsiteX2" fmla="*/ 300038 w 1702595"/>
                    <a:gd name="connsiteY2" fmla="*/ 500856 h 1545431"/>
                    <a:gd name="connsiteX3" fmla="*/ 252414 w 1702595"/>
                    <a:gd name="connsiteY3" fmla="*/ 766762 h 1545431"/>
                    <a:gd name="connsiteX4" fmla="*/ 159544 w 1702595"/>
                    <a:gd name="connsiteY4" fmla="*/ 790575 h 1545431"/>
                    <a:gd name="connsiteX5" fmla="*/ 100013 w 1702595"/>
                    <a:gd name="connsiteY5" fmla="*/ 740569 h 1545431"/>
                    <a:gd name="connsiteX6" fmla="*/ 97633 w 1702595"/>
                    <a:gd name="connsiteY6" fmla="*/ 1210468 h 1545431"/>
                    <a:gd name="connsiteX7" fmla="*/ 50007 w 1702595"/>
                    <a:gd name="connsiteY7" fmla="*/ 1200150 h 1545431"/>
                    <a:gd name="connsiteX8" fmla="*/ 0 w 1702595"/>
                    <a:gd name="connsiteY8" fmla="*/ 1259682 h 1545431"/>
                    <a:gd name="connsiteX9" fmla="*/ 7145 w 1702595"/>
                    <a:gd name="connsiteY9" fmla="*/ 1316832 h 1545431"/>
                    <a:gd name="connsiteX10" fmla="*/ 64295 w 1702595"/>
                    <a:gd name="connsiteY10" fmla="*/ 1372394 h 1545431"/>
                    <a:gd name="connsiteX11" fmla="*/ 123827 w 1702595"/>
                    <a:gd name="connsiteY11" fmla="*/ 1379537 h 1545431"/>
                    <a:gd name="connsiteX12" fmla="*/ 195263 w 1702595"/>
                    <a:gd name="connsiteY12" fmla="*/ 1347787 h 1545431"/>
                    <a:gd name="connsiteX13" fmla="*/ 257176 w 1702595"/>
                    <a:gd name="connsiteY13" fmla="*/ 1285875 h 1545431"/>
                    <a:gd name="connsiteX14" fmla="*/ 292896 w 1702595"/>
                    <a:gd name="connsiteY14" fmla="*/ 1281113 h 1545431"/>
                    <a:gd name="connsiteX15" fmla="*/ 354807 w 1702595"/>
                    <a:gd name="connsiteY15" fmla="*/ 1259681 h 1545431"/>
                    <a:gd name="connsiteX16" fmla="*/ 404814 w 1702595"/>
                    <a:gd name="connsiteY16" fmla="*/ 1202531 h 1545431"/>
                    <a:gd name="connsiteX17" fmla="*/ 461964 w 1702595"/>
                    <a:gd name="connsiteY17" fmla="*/ 1228725 h 1545431"/>
                    <a:gd name="connsiteX18" fmla="*/ 514351 w 1702595"/>
                    <a:gd name="connsiteY18" fmla="*/ 1245394 h 1545431"/>
                    <a:gd name="connsiteX19" fmla="*/ 523876 w 1702595"/>
                    <a:gd name="connsiteY19" fmla="*/ 1302544 h 1545431"/>
                    <a:gd name="connsiteX20" fmla="*/ 607220 w 1702595"/>
                    <a:gd name="connsiteY20" fmla="*/ 1283494 h 1545431"/>
                    <a:gd name="connsiteX21" fmla="*/ 607221 w 1702595"/>
                    <a:gd name="connsiteY21" fmla="*/ 1162050 h 1545431"/>
                    <a:gd name="connsiteX22" fmla="*/ 650083 w 1702595"/>
                    <a:gd name="connsiteY22" fmla="*/ 1173956 h 1545431"/>
                    <a:gd name="connsiteX23" fmla="*/ 621508 w 1702595"/>
                    <a:gd name="connsiteY23" fmla="*/ 1309687 h 1545431"/>
                    <a:gd name="connsiteX24" fmla="*/ 631033 w 1702595"/>
                    <a:gd name="connsiteY24" fmla="*/ 1347787 h 1545431"/>
                    <a:gd name="connsiteX25" fmla="*/ 743745 w 1702595"/>
                    <a:gd name="connsiteY25" fmla="*/ 1215231 h 1545431"/>
                    <a:gd name="connsiteX26" fmla="*/ 973932 w 1702595"/>
                    <a:gd name="connsiteY26" fmla="*/ 1545431 h 1545431"/>
                    <a:gd name="connsiteX27" fmla="*/ 1004889 w 1702595"/>
                    <a:gd name="connsiteY27" fmla="*/ 1528763 h 1545431"/>
                    <a:gd name="connsiteX28" fmla="*/ 1009651 w 1702595"/>
                    <a:gd name="connsiteY28" fmla="*/ 1459706 h 1545431"/>
                    <a:gd name="connsiteX29" fmla="*/ 985839 w 1702595"/>
                    <a:gd name="connsiteY29" fmla="*/ 1428750 h 1545431"/>
                    <a:gd name="connsiteX30" fmla="*/ 988220 w 1702595"/>
                    <a:gd name="connsiteY30" fmla="*/ 1319213 h 1545431"/>
                    <a:gd name="connsiteX31" fmla="*/ 1090614 w 1702595"/>
                    <a:gd name="connsiteY31" fmla="*/ 1314450 h 1545431"/>
                    <a:gd name="connsiteX32" fmla="*/ 1140621 w 1702595"/>
                    <a:gd name="connsiteY32" fmla="*/ 1231107 h 1545431"/>
                    <a:gd name="connsiteX33" fmla="*/ 1204914 w 1702595"/>
                    <a:gd name="connsiteY33" fmla="*/ 1185863 h 1545431"/>
                    <a:gd name="connsiteX34" fmla="*/ 1257302 w 1702595"/>
                    <a:gd name="connsiteY34" fmla="*/ 1193006 h 1545431"/>
                    <a:gd name="connsiteX35" fmla="*/ 1281114 w 1702595"/>
                    <a:gd name="connsiteY35" fmla="*/ 1237456 h 1545431"/>
                    <a:gd name="connsiteX36" fmla="*/ 1328739 w 1702595"/>
                    <a:gd name="connsiteY36" fmla="*/ 1171575 h 1545431"/>
                    <a:gd name="connsiteX37" fmla="*/ 1388270 w 1702595"/>
                    <a:gd name="connsiteY37" fmla="*/ 1178719 h 1545431"/>
                    <a:gd name="connsiteX38" fmla="*/ 1437483 w 1702595"/>
                    <a:gd name="connsiteY38" fmla="*/ 1116806 h 1545431"/>
                    <a:gd name="connsiteX39" fmla="*/ 1438277 w 1702595"/>
                    <a:gd name="connsiteY39" fmla="*/ 983456 h 1545431"/>
                    <a:gd name="connsiteX40" fmla="*/ 1340645 w 1702595"/>
                    <a:gd name="connsiteY40" fmla="*/ 931068 h 1545431"/>
                    <a:gd name="connsiteX41" fmla="*/ 1331121 w 1702595"/>
                    <a:gd name="connsiteY41" fmla="*/ 845344 h 1545431"/>
                    <a:gd name="connsiteX42" fmla="*/ 1350170 w 1702595"/>
                    <a:gd name="connsiteY42" fmla="*/ 802481 h 1545431"/>
                    <a:gd name="connsiteX43" fmla="*/ 1421608 w 1702595"/>
                    <a:gd name="connsiteY43" fmla="*/ 802482 h 1545431"/>
                    <a:gd name="connsiteX44" fmla="*/ 1495425 w 1702595"/>
                    <a:gd name="connsiteY44" fmla="*/ 726282 h 1545431"/>
                    <a:gd name="connsiteX45" fmla="*/ 1559720 w 1702595"/>
                    <a:gd name="connsiteY45" fmla="*/ 733425 h 1545431"/>
                    <a:gd name="connsiteX46" fmla="*/ 1702595 w 1702595"/>
                    <a:gd name="connsiteY46" fmla="*/ 774700 h 1545431"/>
                    <a:gd name="connsiteX47" fmla="*/ 311945 w 1702595"/>
                    <a:gd name="connsiteY47" fmla="*/ 0 h 1545431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</a:cxnLst>
                  <a:rect l="l" t="t" r="r" b="b"/>
                  <a:pathLst>
                    <a:path w="1702595" h="1545431">
                      <a:moveTo>
                        <a:pt x="311945" y="0"/>
                      </a:moveTo>
                      <a:lnTo>
                        <a:pt x="221457" y="253206"/>
                      </a:lnTo>
                      <a:lnTo>
                        <a:pt x="300038" y="500856"/>
                      </a:lnTo>
                      <a:lnTo>
                        <a:pt x="252414" y="766762"/>
                      </a:lnTo>
                      <a:lnTo>
                        <a:pt x="159544" y="790575"/>
                      </a:lnTo>
                      <a:lnTo>
                        <a:pt x="100013" y="740569"/>
                      </a:lnTo>
                      <a:cubicBezTo>
                        <a:pt x="99220" y="897202"/>
                        <a:pt x="98426" y="1053835"/>
                        <a:pt x="97633" y="1210468"/>
                      </a:cubicBezTo>
                      <a:lnTo>
                        <a:pt x="50007" y="1200150"/>
                      </a:lnTo>
                      <a:lnTo>
                        <a:pt x="0" y="1259682"/>
                      </a:lnTo>
                      <a:lnTo>
                        <a:pt x="7145" y="1316832"/>
                      </a:lnTo>
                      <a:lnTo>
                        <a:pt x="64295" y="1372394"/>
                      </a:lnTo>
                      <a:lnTo>
                        <a:pt x="123827" y="1379537"/>
                      </a:lnTo>
                      <a:lnTo>
                        <a:pt x="195263" y="1347787"/>
                      </a:lnTo>
                      <a:lnTo>
                        <a:pt x="257176" y="1285875"/>
                      </a:lnTo>
                      <a:lnTo>
                        <a:pt x="292896" y="1281113"/>
                      </a:lnTo>
                      <a:lnTo>
                        <a:pt x="354807" y="1259681"/>
                      </a:lnTo>
                      <a:lnTo>
                        <a:pt x="404814" y="1202531"/>
                      </a:lnTo>
                      <a:lnTo>
                        <a:pt x="461964" y="1228725"/>
                      </a:lnTo>
                      <a:lnTo>
                        <a:pt x="514351" y="1245394"/>
                      </a:lnTo>
                      <a:lnTo>
                        <a:pt x="523876" y="1302544"/>
                      </a:lnTo>
                      <a:lnTo>
                        <a:pt x="607220" y="1283494"/>
                      </a:lnTo>
                      <a:cubicBezTo>
                        <a:pt x="607220" y="1243013"/>
                        <a:pt x="607221" y="1202531"/>
                        <a:pt x="607221" y="1162050"/>
                      </a:cubicBezTo>
                      <a:lnTo>
                        <a:pt x="650083" y="1173956"/>
                      </a:lnTo>
                      <a:lnTo>
                        <a:pt x="621508" y="1309687"/>
                      </a:lnTo>
                      <a:lnTo>
                        <a:pt x="631033" y="1347787"/>
                      </a:lnTo>
                      <a:lnTo>
                        <a:pt x="743745" y="1215231"/>
                      </a:lnTo>
                      <a:lnTo>
                        <a:pt x="973932" y="1545431"/>
                      </a:lnTo>
                      <a:lnTo>
                        <a:pt x="1004889" y="1528763"/>
                      </a:lnTo>
                      <a:lnTo>
                        <a:pt x="1009651" y="1459706"/>
                      </a:lnTo>
                      <a:lnTo>
                        <a:pt x="985839" y="1428750"/>
                      </a:lnTo>
                      <a:cubicBezTo>
                        <a:pt x="986633" y="1399381"/>
                        <a:pt x="987426" y="1348582"/>
                        <a:pt x="988220" y="1319213"/>
                      </a:cubicBezTo>
                      <a:lnTo>
                        <a:pt x="1090614" y="1314450"/>
                      </a:lnTo>
                      <a:lnTo>
                        <a:pt x="1140621" y="1231107"/>
                      </a:lnTo>
                      <a:lnTo>
                        <a:pt x="1204914" y="1185863"/>
                      </a:lnTo>
                      <a:lnTo>
                        <a:pt x="1257302" y="1193006"/>
                      </a:lnTo>
                      <a:lnTo>
                        <a:pt x="1281114" y="1237456"/>
                      </a:lnTo>
                      <a:lnTo>
                        <a:pt x="1328739" y="1171575"/>
                      </a:lnTo>
                      <a:lnTo>
                        <a:pt x="1388270" y="1178719"/>
                      </a:lnTo>
                      <a:lnTo>
                        <a:pt x="1437483" y="1116806"/>
                      </a:lnTo>
                      <a:cubicBezTo>
                        <a:pt x="1437748" y="1072356"/>
                        <a:pt x="1438012" y="1027906"/>
                        <a:pt x="1438277" y="983456"/>
                      </a:cubicBezTo>
                      <a:lnTo>
                        <a:pt x="1340645" y="931068"/>
                      </a:lnTo>
                      <a:lnTo>
                        <a:pt x="1331121" y="845344"/>
                      </a:lnTo>
                      <a:lnTo>
                        <a:pt x="1350170" y="802481"/>
                      </a:lnTo>
                      <a:lnTo>
                        <a:pt x="1421608" y="802482"/>
                      </a:lnTo>
                      <a:lnTo>
                        <a:pt x="1495425" y="726282"/>
                      </a:lnTo>
                      <a:lnTo>
                        <a:pt x="1559720" y="733425"/>
                      </a:lnTo>
                      <a:lnTo>
                        <a:pt x="1702595" y="774700"/>
                      </a:lnTo>
                      <a:lnTo>
                        <a:pt x="311945" y="0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103" name="Freeform 102"/>
                <p:cNvSpPr/>
                <p:nvPr/>
              </p:nvSpPr>
              <p:spPr>
                <a:xfrm>
                  <a:off x="3225799" y="96044"/>
                  <a:ext cx="1629569" cy="927100"/>
                </a:xfrm>
                <a:custGeom>
                  <a:avLst/>
                  <a:gdLst>
                    <a:gd name="connsiteX0" fmla="*/ 1847850 w 1847850"/>
                    <a:gd name="connsiteY0" fmla="*/ 400050 h 1162050"/>
                    <a:gd name="connsiteX1" fmla="*/ 1790700 w 1847850"/>
                    <a:gd name="connsiteY1" fmla="*/ 1162050 h 1162050"/>
                    <a:gd name="connsiteX2" fmla="*/ 990600 w 1847850"/>
                    <a:gd name="connsiteY2" fmla="*/ 1104900 h 1162050"/>
                    <a:gd name="connsiteX3" fmla="*/ 292100 w 1847850"/>
                    <a:gd name="connsiteY3" fmla="*/ 1022350 h 1162050"/>
                    <a:gd name="connsiteX4" fmla="*/ 133350 w 1847850"/>
                    <a:gd name="connsiteY4" fmla="*/ 654050 h 1162050"/>
                    <a:gd name="connsiteX5" fmla="*/ 0 w 1847850"/>
                    <a:gd name="connsiteY5" fmla="*/ 203200 h 1162050"/>
                    <a:gd name="connsiteX6" fmla="*/ 25400 w 1847850"/>
                    <a:gd name="connsiteY6" fmla="*/ 25400 h 1162050"/>
                    <a:gd name="connsiteX7" fmla="*/ 609600 w 1847850"/>
                    <a:gd name="connsiteY7" fmla="*/ 0 h 1162050"/>
                    <a:gd name="connsiteX8" fmla="*/ 1327150 w 1847850"/>
                    <a:gd name="connsiteY8" fmla="*/ 88900 h 1162050"/>
                    <a:gd name="connsiteX9" fmla="*/ 1847850 w 1847850"/>
                    <a:gd name="connsiteY9" fmla="*/ 400050 h 1162050"/>
                    <a:gd name="connsiteX0" fmla="*/ 1847850 w 1847850"/>
                    <a:gd name="connsiteY0" fmla="*/ 400050 h 1162050"/>
                    <a:gd name="connsiteX1" fmla="*/ 1790700 w 1847850"/>
                    <a:gd name="connsiteY1" fmla="*/ 1162050 h 1162050"/>
                    <a:gd name="connsiteX2" fmla="*/ 990600 w 1847850"/>
                    <a:gd name="connsiteY2" fmla="*/ 1104900 h 1162050"/>
                    <a:gd name="connsiteX3" fmla="*/ 292100 w 1847850"/>
                    <a:gd name="connsiteY3" fmla="*/ 1022350 h 1162050"/>
                    <a:gd name="connsiteX4" fmla="*/ 133350 w 1847850"/>
                    <a:gd name="connsiteY4" fmla="*/ 654050 h 1162050"/>
                    <a:gd name="connsiteX5" fmla="*/ 0 w 1847850"/>
                    <a:gd name="connsiteY5" fmla="*/ 203200 h 1162050"/>
                    <a:gd name="connsiteX6" fmla="*/ 101600 w 1847850"/>
                    <a:gd name="connsiteY6" fmla="*/ 51594 h 1162050"/>
                    <a:gd name="connsiteX7" fmla="*/ 609600 w 1847850"/>
                    <a:gd name="connsiteY7" fmla="*/ 0 h 1162050"/>
                    <a:gd name="connsiteX8" fmla="*/ 1327150 w 1847850"/>
                    <a:gd name="connsiteY8" fmla="*/ 88900 h 1162050"/>
                    <a:gd name="connsiteX9" fmla="*/ 1847850 w 1847850"/>
                    <a:gd name="connsiteY9" fmla="*/ 400050 h 1162050"/>
                    <a:gd name="connsiteX0" fmla="*/ 1847850 w 1847850"/>
                    <a:gd name="connsiteY0" fmla="*/ 348456 h 1110456"/>
                    <a:gd name="connsiteX1" fmla="*/ 1790700 w 1847850"/>
                    <a:gd name="connsiteY1" fmla="*/ 1110456 h 1110456"/>
                    <a:gd name="connsiteX2" fmla="*/ 990600 w 1847850"/>
                    <a:gd name="connsiteY2" fmla="*/ 1053306 h 1110456"/>
                    <a:gd name="connsiteX3" fmla="*/ 292100 w 1847850"/>
                    <a:gd name="connsiteY3" fmla="*/ 970756 h 1110456"/>
                    <a:gd name="connsiteX4" fmla="*/ 133350 w 1847850"/>
                    <a:gd name="connsiteY4" fmla="*/ 602456 h 1110456"/>
                    <a:gd name="connsiteX5" fmla="*/ 0 w 1847850"/>
                    <a:gd name="connsiteY5" fmla="*/ 151606 h 1110456"/>
                    <a:gd name="connsiteX6" fmla="*/ 101600 w 1847850"/>
                    <a:gd name="connsiteY6" fmla="*/ 0 h 1110456"/>
                    <a:gd name="connsiteX7" fmla="*/ 890588 w 1847850"/>
                    <a:gd name="connsiteY7" fmla="*/ 5556 h 1110456"/>
                    <a:gd name="connsiteX8" fmla="*/ 1327150 w 1847850"/>
                    <a:gd name="connsiteY8" fmla="*/ 37306 h 1110456"/>
                    <a:gd name="connsiteX9" fmla="*/ 1847850 w 1847850"/>
                    <a:gd name="connsiteY9" fmla="*/ 348456 h 1110456"/>
                    <a:gd name="connsiteX0" fmla="*/ 1847850 w 1847850"/>
                    <a:gd name="connsiteY0" fmla="*/ 348456 h 1110456"/>
                    <a:gd name="connsiteX1" fmla="*/ 1790700 w 1847850"/>
                    <a:gd name="connsiteY1" fmla="*/ 1110456 h 1110456"/>
                    <a:gd name="connsiteX2" fmla="*/ 990600 w 1847850"/>
                    <a:gd name="connsiteY2" fmla="*/ 1053306 h 1110456"/>
                    <a:gd name="connsiteX3" fmla="*/ 292100 w 1847850"/>
                    <a:gd name="connsiteY3" fmla="*/ 970756 h 1110456"/>
                    <a:gd name="connsiteX4" fmla="*/ 133350 w 1847850"/>
                    <a:gd name="connsiteY4" fmla="*/ 602456 h 1110456"/>
                    <a:gd name="connsiteX5" fmla="*/ 0 w 1847850"/>
                    <a:gd name="connsiteY5" fmla="*/ 151606 h 1110456"/>
                    <a:gd name="connsiteX6" fmla="*/ 101600 w 1847850"/>
                    <a:gd name="connsiteY6" fmla="*/ 0 h 1110456"/>
                    <a:gd name="connsiteX7" fmla="*/ 890588 w 1847850"/>
                    <a:gd name="connsiteY7" fmla="*/ 5556 h 1110456"/>
                    <a:gd name="connsiteX8" fmla="*/ 1102519 w 1847850"/>
                    <a:gd name="connsiteY8" fmla="*/ 18256 h 1110456"/>
                    <a:gd name="connsiteX9" fmla="*/ 1327150 w 1847850"/>
                    <a:gd name="connsiteY9" fmla="*/ 37306 h 1110456"/>
                    <a:gd name="connsiteX10" fmla="*/ 1847850 w 1847850"/>
                    <a:gd name="connsiteY10" fmla="*/ 348456 h 1110456"/>
                    <a:gd name="connsiteX0" fmla="*/ 1847850 w 1847850"/>
                    <a:gd name="connsiteY0" fmla="*/ 348456 h 1110456"/>
                    <a:gd name="connsiteX1" fmla="*/ 1790700 w 1847850"/>
                    <a:gd name="connsiteY1" fmla="*/ 1110456 h 1110456"/>
                    <a:gd name="connsiteX2" fmla="*/ 990600 w 1847850"/>
                    <a:gd name="connsiteY2" fmla="*/ 1053306 h 1110456"/>
                    <a:gd name="connsiteX3" fmla="*/ 292100 w 1847850"/>
                    <a:gd name="connsiteY3" fmla="*/ 970756 h 1110456"/>
                    <a:gd name="connsiteX4" fmla="*/ 133350 w 1847850"/>
                    <a:gd name="connsiteY4" fmla="*/ 602456 h 1110456"/>
                    <a:gd name="connsiteX5" fmla="*/ 0 w 1847850"/>
                    <a:gd name="connsiteY5" fmla="*/ 151606 h 1110456"/>
                    <a:gd name="connsiteX6" fmla="*/ 101600 w 1847850"/>
                    <a:gd name="connsiteY6" fmla="*/ 0 h 1110456"/>
                    <a:gd name="connsiteX7" fmla="*/ 890588 w 1847850"/>
                    <a:gd name="connsiteY7" fmla="*/ 5556 h 1110456"/>
                    <a:gd name="connsiteX8" fmla="*/ 1102519 w 1847850"/>
                    <a:gd name="connsiteY8" fmla="*/ 18256 h 1110456"/>
                    <a:gd name="connsiteX9" fmla="*/ 1200150 w 1847850"/>
                    <a:gd name="connsiteY9" fmla="*/ 25400 h 1110456"/>
                    <a:gd name="connsiteX10" fmla="*/ 1327150 w 1847850"/>
                    <a:gd name="connsiteY10" fmla="*/ 37306 h 1110456"/>
                    <a:gd name="connsiteX11" fmla="*/ 1847850 w 1847850"/>
                    <a:gd name="connsiteY11" fmla="*/ 348456 h 1110456"/>
                    <a:gd name="connsiteX0" fmla="*/ 1847850 w 1847850"/>
                    <a:gd name="connsiteY0" fmla="*/ 348456 h 1110456"/>
                    <a:gd name="connsiteX1" fmla="*/ 1790700 w 1847850"/>
                    <a:gd name="connsiteY1" fmla="*/ 1110456 h 1110456"/>
                    <a:gd name="connsiteX2" fmla="*/ 990600 w 1847850"/>
                    <a:gd name="connsiteY2" fmla="*/ 1053306 h 1110456"/>
                    <a:gd name="connsiteX3" fmla="*/ 292100 w 1847850"/>
                    <a:gd name="connsiteY3" fmla="*/ 970756 h 1110456"/>
                    <a:gd name="connsiteX4" fmla="*/ 133350 w 1847850"/>
                    <a:gd name="connsiteY4" fmla="*/ 602456 h 1110456"/>
                    <a:gd name="connsiteX5" fmla="*/ 0 w 1847850"/>
                    <a:gd name="connsiteY5" fmla="*/ 151606 h 1110456"/>
                    <a:gd name="connsiteX6" fmla="*/ 101600 w 1847850"/>
                    <a:gd name="connsiteY6" fmla="*/ 0 h 1110456"/>
                    <a:gd name="connsiteX7" fmla="*/ 890588 w 1847850"/>
                    <a:gd name="connsiteY7" fmla="*/ 5556 h 1110456"/>
                    <a:gd name="connsiteX8" fmla="*/ 912019 w 1847850"/>
                    <a:gd name="connsiteY8" fmla="*/ 32544 h 1110456"/>
                    <a:gd name="connsiteX9" fmla="*/ 1200150 w 1847850"/>
                    <a:gd name="connsiteY9" fmla="*/ 25400 h 1110456"/>
                    <a:gd name="connsiteX10" fmla="*/ 1327150 w 1847850"/>
                    <a:gd name="connsiteY10" fmla="*/ 37306 h 1110456"/>
                    <a:gd name="connsiteX11" fmla="*/ 1847850 w 1847850"/>
                    <a:gd name="connsiteY11" fmla="*/ 348456 h 1110456"/>
                    <a:gd name="connsiteX0" fmla="*/ 1847850 w 1847850"/>
                    <a:gd name="connsiteY0" fmla="*/ 348456 h 1110456"/>
                    <a:gd name="connsiteX1" fmla="*/ 1790700 w 1847850"/>
                    <a:gd name="connsiteY1" fmla="*/ 1110456 h 1110456"/>
                    <a:gd name="connsiteX2" fmla="*/ 990600 w 1847850"/>
                    <a:gd name="connsiteY2" fmla="*/ 1053306 h 1110456"/>
                    <a:gd name="connsiteX3" fmla="*/ 292100 w 1847850"/>
                    <a:gd name="connsiteY3" fmla="*/ 970756 h 1110456"/>
                    <a:gd name="connsiteX4" fmla="*/ 133350 w 1847850"/>
                    <a:gd name="connsiteY4" fmla="*/ 602456 h 1110456"/>
                    <a:gd name="connsiteX5" fmla="*/ 0 w 1847850"/>
                    <a:gd name="connsiteY5" fmla="*/ 151606 h 1110456"/>
                    <a:gd name="connsiteX6" fmla="*/ 101600 w 1847850"/>
                    <a:gd name="connsiteY6" fmla="*/ 0 h 1110456"/>
                    <a:gd name="connsiteX7" fmla="*/ 890588 w 1847850"/>
                    <a:gd name="connsiteY7" fmla="*/ 5556 h 1110456"/>
                    <a:gd name="connsiteX8" fmla="*/ 912019 w 1847850"/>
                    <a:gd name="connsiteY8" fmla="*/ 32544 h 1110456"/>
                    <a:gd name="connsiteX9" fmla="*/ 1145381 w 1847850"/>
                    <a:gd name="connsiteY9" fmla="*/ 25400 h 1110456"/>
                    <a:gd name="connsiteX10" fmla="*/ 1200150 w 1847850"/>
                    <a:gd name="connsiteY10" fmla="*/ 25400 h 1110456"/>
                    <a:gd name="connsiteX11" fmla="*/ 1327150 w 1847850"/>
                    <a:gd name="connsiteY11" fmla="*/ 37306 h 1110456"/>
                    <a:gd name="connsiteX12" fmla="*/ 1847850 w 1847850"/>
                    <a:gd name="connsiteY12" fmla="*/ 348456 h 1110456"/>
                    <a:gd name="connsiteX0" fmla="*/ 1847850 w 1847850"/>
                    <a:gd name="connsiteY0" fmla="*/ 348456 h 1110456"/>
                    <a:gd name="connsiteX1" fmla="*/ 1790700 w 1847850"/>
                    <a:gd name="connsiteY1" fmla="*/ 1110456 h 1110456"/>
                    <a:gd name="connsiteX2" fmla="*/ 990600 w 1847850"/>
                    <a:gd name="connsiteY2" fmla="*/ 1053306 h 1110456"/>
                    <a:gd name="connsiteX3" fmla="*/ 292100 w 1847850"/>
                    <a:gd name="connsiteY3" fmla="*/ 970756 h 1110456"/>
                    <a:gd name="connsiteX4" fmla="*/ 133350 w 1847850"/>
                    <a:gd name="connsiteY4" fmla="*/ 602456 h 1110456"/>
                    <a:gd name="connsiteX5" fmla="*/ 0 w 1847850"/>
                    <a:gd name="connsiteY5" fmla="*/ 151606 h 1110456"/>
                    <a:gd name="connsiteX6" fmla="*/ 101600 w 1847850"/>
                    <a:gd name="connsiteY6" fmla="*/ 0 h 1110456"/>
                    <a:gd name="connsiteX7" fmla="*/ 890588 w 1847850"/>
                    <a:gd name="connsiteY7" fmla="*/ 5556 h 1110456"/>
                    <a:gd name="connsiteX8" fmla="*/ 912019 w 1847850"/>
                    <a:gd name="connsiteY8" fmla="*/ 32544 h 1110456"/>
                    <a:gd name="connsiteX9" fmla="*/ 947737 w 1847850"/>
                    <a:gd name="connsiteY9" fmla="*/ 15875 h 1110456"/>
                    <a:gd name="connsiteX10" fmla="*/ 1200150 w 1847850"/>
                    <a:gd name="connsiteY10" fmla="*/ 25400 h 1110456"/>
                    <a:gd name="connsiteX11" fmla="*/ 1327150 w 1847850"/>
                    <a:gd name="connsiteY11" fmla="*/ 37306 h 1110456"/>
                    <a:gd name="connsiteX12" fmla="*/ 1847850 w 1847850"/>
                    <a:gd name="connsiteY12" fmla="*/ 348456 h 1110456"/>
                    <a:gd name="connsiteX0" fmla="*/ 1847850 w 1847850"/>
                    <a:gd name="connsiteY0" fmla="*/ 348456 h 1110456"/>
                    <a:gd name="connsiteX1" fmla="*/ 1790700 w 1847850"/>
                    <a:gd name="connsiteY1" fmla="*/ 1110456 h 1110456"/>
                    <a:gd name="connsiteX2" fmla="*/ 990600 w 1847850"/>
                    <a:gd name="connsiteY2" fmla="*/ 1053306 h 1110456"/>
                    <a:gd name="connsiteX3" fmla="*/ 292100 w 1847850"/>
                    <a:gd name="connsiteY3" fmla="*/ 970756 h 1110456"/>
                    <a:gd name="connsiteX4" fmla="*/ 133350 w 1847850"/>
                    <a:gd name="connsiteY4" fmla="*/ 602456 h 1110456"/>
                    <a:gd name="connsiteX5" fmla="*/ 0 w 1847850"/>
                    <a:gd name="connsiteY5" fmla="*/ 151606 h 1110456"/>
                    <a:gd name="connsiteX6" fmla="*/ 101600 w 1847850"/>
                    <a:gd name="connsiteY6" fmla="*/ 0 h 1110456"/>
                    <a:gd name="connsiteX7" fmla="*/ 890588 w 1847850"/>
                    <a:gd name="connsiteY7" fmla="*/ 5556 h 1110456"/>
                    <a:gd name="connsiteX8" fmla="*/ 912019 w 1847850"/>
                    <a:gd name="connsiteY8" fmla="*/ 32544 h 1110456"/>
                    <a:gd name="connsiteX9" fmla="*/ 947737 w 1847850"/>
                    <a:gd name="connsiteY9" fmla="*/ 15875 h 1110456"/>
                    <a:gd name="connsiteX10" fmla="*/ 1397794 w 1847850"/>
                    <a:gd name="connsiteY10" fmla="*/ 270668 h 1110456"/>
                    <a:gd name="connsiteX11" fmla="*/ 1327150 w 1847850"/>
                    <a:gd name="connsiteY11" fmla="*/ 37306 h 1110456"/>
                    <a:gd name="connsiteX12" fmla="*/ 1847850 w 1847850"/>
                    <a:gd name="connsiteY12" fmla="*/ 348456 h 1110456"/>
                    <a:gd name="connsiteX0" fmla="*/ 1847850 w 1847850"/>
                    <a:gd name="connsiteY0" fmla="*/ 348456 h 1110456"/>
                    <a:gd name="connsiteX1" fmla="*/ 1790700 w 1847850"/>
                    <a:gd name="connsiteY1" fmla="*/ 1110456 h 1110456"/>
                    <a:gd name="connsiteX2" fmla="*/ 990600 w 1847850"/>
                    <a:gd name="connsiteY2" fmla="*/ 1053306 h 1110456"/>
                    <a:gd name="connsiteX3" fmla="*/ 292100 w 1847850"/>
                    <a:gd name="connsiteY3" fmla="*/ 970756 h 1110456"/>
                    <a:gd name="connsiteX4" fmla="*/ 133350 w 1847850"/>
                    <a:gd name="connsiteY4" fmla="*/ 602456 h 1110456"/>
                    <a:gd name="connsiteX5" fmla="*/ 0 w 1847850"/>
                    <a:gd name="connsiteY5" fmla="*/ 151606 h 1110456"/>
                    <a:gd name="connsiteX6" fmla="*/ 101600 w 1847850"/>
                    <a:gd name="connsiteY6" fmla="*/ 0 h 1110456"/>
                    <a:gd name="connsiteX7" fmla="*/ 890588 w 1847850"/>
                    <a:gd name="connsiteY7" fmla="*/ 5556 h 1110456"/>
                    <a:gd name="connsiteX8" fmla="*/ 912019 w 1847850"/>
                    <a:gd name="connsiteY8" fmla="*/ 32544 h 1110456"/>
                    <a:gd name="connsiteX9" fmla="*/ 947737 w 1847850"/>
                    <a:gd name="connsiteY9" fmla="*/ 15875 h 1110456"/>
                    <a:gd name="connsiteX10" fmla="*/ 1397794 w 1847850"/>
                    <a:gd name="connsiteY10" fmla="*/ 270668 h 1110456"/>
                    <a:gd name="connsiteX11" fmla="*/ 1646238 w 1847850"/>
                    <a:gd name="connsiteY11" fmla="*/ 711200 h 1110456"/>
                    <a:gd name="connsiteX12" fmla="*/ 1847850 w 1847850"/>
                    <a:gd name="connsiteY12" fmla="*/ 348456 h 1110456"/>
                    <a:gd name="connsiteX0" fmla="*/ 1847850 w 1847850"/>
                    <a:gd name="connsiteY0" fmla="*/ 348456 h 1110456"/>
                    <a:gd name="connsiteX1" fmla="*/ 1790700 w 1847850"/>
                    <a:gd name="connsiteY1" fmla="*/ 1110456 h 1110456"/>
                    <a:gd name="connsiteX2" fmla="*/ 990600 w 1847850"/>
                    <a:gd name="connsiteY2" fmla="*/ 1053306 h 1110456"/>
                    <a:gd name="connsiteX3" fmla="*/ 292100 w 1847850"/>
                    <a:gd name="connsiteY3" fmla="*/ 970756 h 1110456"/>
                    <a:gd name="connsiteX4" fmla="*/ 133350 w 1847850"/>
                    <a:gd name="connsiteY4" fmla="*/ 602456 h 1110456"/>
                    <a:gd name="connsiteX5" fmla="*/ 0 w 1847850"/>
                    <a:gd name="connsiteY5" fmla="*/ 151606 h 1110456"/>
                    <a:gd name="connsiteX6" fmla="*/ 101600 w 1847850"/>
                    <a:gd name="connsiteY6" fmla="*/ 0 h 1110456"/>
                    <a:gd name="connsiteX7" fmla="*/ 890588 w 1847850"/>
                    <a:gd name="connsiteY7" fmla="*/ 5556 h 1110456"/>
                    <a:gd name="connsiteX8" fmla="*/ 912019 w 1847850"/>
                    <a:gd name="connsiteY8" fmla="*/ 32544 h 1110456"/>
                    <a:gd name="connsiteX9" fmla="*/ 947737 w 1847850"/>
                    <a:gd name="connsiteY9" fmla="*/ 15875 h 1110456"/>
                    <a:gd name="connsiteX10" fmla="*/ 1664494 w 1847850"/>
                    <a:gd name="connsiteY10" fmla="*/ 425450 h 1110456"/>
                    <a:gd name="connsiteX11" fmla="*/ 1646238 w 1847850"/>
                    <a:gd name="connsiteY11" fmla="*/ 711200 h 1110456"/>
                    <a:gd name="connsiteX12" fmla="*/ 1847850 w 1847850"/>
                    <a:gd name="connsiteY12" fmla="*/ 348456 h 1110456"/>
                    <a:gd name="connsiteX0" fmla="*/ 1731169 w 1790700"/>
                    <a:gd name="connsiteY0" fmla="*/ 746125 h 1110456"/>
                    <a:gd name="connsiteX1" fmla="*/ 1790700 w 1790700"/>
                    <a:gd name="connsiteY1" fmla="*/ 1110456 h 1110456"/>
                    <a:gd name="connsiteX2" fmla="*/ 990600 w 1790700"/>
                    <a:gd name="connsiteY2" fmla="*/ 1053306 h 1110456"/>
                    <a:gd name="connsiteX3" fmla="*/ 292100 w 1790700"/>
                    <a:gd name="connsiteY3" fmla="*/ 970756 h 1110456"/>
                    <a:gd name="connsiteX4" fmla="*/ 133350 w 1790700"/>
                    <a:gd name="connsiteY4" fmla="*/ 602456 h 1110456"/>
                    <a:gd name="connsiteX5" fmla="*/ 0 w 1790700"/>
                    <a:gd name="connsiteY5" fmla="*/ 151606 h 1110456"/>
                    <a:gd name="connsiteX6" fmla="*/ 101600 w 1790700"/>
                    <a:gd name="connsiteY6" fmla="*/ 0 h 1110456"/>
                    <a:gd name="connsiteX7" fmla="*/ 890588 w 1790700"/>
                    <a:gd name="connsiteY7" fmla="*/ 5556 h 1110456"/>
                    <a:gd name="connsiteX8" fmla="*/ 912019 w 1790700"/>
                    <a:gd name="connsiteY8" fmla="*/ 32544 h 1110456"/>
                    <a:gd name="connsiteX9" fmla="*/ 947737 w 1790700"/>
                    <a:gd name="connsiteY9" fmla="*/ 15875 h 1110456"/>
                    <a:gd name="connsiteX10" fmla="*/ 1664494 w 1790700"/>
                    <a:gd name="connsiteY10" fmla="*/ 425450 h 1110456"/>
                    <a:gd name="connsiteX11" fmla="*/ 1646238 w 1790700"/>
                    <a:gd name="connsiteY11" fmla="*/ 711200 h 1110456"/>
                    <a:gd name="connsiteX12" fmla="*/ 1731169 w 1790700"/>
                    <a:gd name="connsiteY12" fmla="*/ 746125 h 1110456"/>
                    <a:gd name="connsiteX0" fmla="*/ 1731169 w 1731169"/>
                    <a:gd name="connsiteY0" fmla="*/ 746125 h 1053306"/>
                    <a:gd name="connsiteX1" fmla="*/ 1638300 w 1731169"/>
                    <a:gd name="connsiteY1" fmla="*/ 927100 h 1053306"/>
                    <a:gd name="connsiteX2" fmla="*/ 990600 w 1731169"/>
                    <a:gd name="connsiteY2" fmla="*/ 1053306 h 1053306"/>
                    <a:gd name="connsiteX3" fmla="*/ 292100 w 1731169"/>
                    <a:gd name="connsiteY3" fmla="*/ 970756 h 1053306"/>
                    <a:gd name="connsiteX4" fmla="*/ 133350 w 1731169"/>
                    <a:gd name="connsiteY4" fmla="*/ 602456 h 1053306"/>
                    <a:gd name="connsiteX5" fmla="*/ 0 w 1731169"/>
                    <a:gd name="connsiteY5" fmla="*/ 151606 h 1053306"/>
                    <a:gd name="connsiteX6" fmla="*/ 101600 w 1731169"/>
                    <a:gd name="connsiteY6" fmla="*/ 0 h 1053306"/>
                    <a:gd name="connsiteX7" fmla="*/ 890588 w 1731169"/>
                    <a:gd name="connsiteY7" fmla="*/ 5556 h 1053306"/>
                    <a:gd name="connsiteX8" fmla="*/ 912019 w 1731169"/>
                    <a:gd name="connsiteY8" fmla="*/ 32544 h 1053306"/>
                    <a:gd name="connsiteX9" fmla="*/ 947737 w 1731169"/>
                    <a:gd name="connsiteY9" fmla="*/ 15875 h 1053306"/>
                    <a:gd name="connsiteX10" fmla="*/ 1664494 w 1731169"/>
                    <a:gd name="connsiteY10" fmla="*/ 425450 h 1053306"/>
                    <a:gd name="connsiteX11" fmla="*/ 1646238 w 1731169"/>
                    <a:gd name="connsiteY11" fmla="*/ 711200 h 1053306"/>
                    <a:gd name="connsiteX12" fmla="*/ 1731169 w 1731169"/>
                    <a:gd name="connsiteY12" fmla="*/ 746125 h 1053306"/>
                    <a:gd name="connsiteX0" fmla="*/ 1731169 w 1731169"/>
                    <a:gd name="connsiteY0" fmla="*/ 746125 h 1053306"/>
                    <a:gd name="connsiteX1" fmla="*/ 1681164 w 1731169"/>
                    <a:gd name="connsiteY1" fmla="*/ 842169 h 1053306"/>
                    <a:gd name="connsiteX2" fmla="*/ 1638300 w 1731169"/>
                    <a:gd name="connsiteY2" fmla="*/ 927100 h 1053306"/>
                    <a:gd name="connsiteX3" fmla="*/ 990600 w 1731169"/>
                    <a:gd name="connsiteY3" fmla="*/ 1053306 h 1053306"/>
                    <a:gd name="connsiteX4" fmla="*/ 292100 w 1731169"/>
                    <a:gd name="connsiteY4" fmla="*/ 970756 h 1053306"/>
                    <a:gd name="connsiteX5" fmla="*/ 133350 w 1731169"/>
                    <a:gd name="connsiteY5" fmla="*/ 602456 h 1053306"/>
                    <a:gd name="connsiteX6" fmla="*/ 0 w 1731169"/>
                    <a:gd name="connsiteY6" fmla="*/ 151606 h 1053306"/>
                    <a:gd name="connsiteX7" fmla="*/ 101600 w 1731169"/>
                    <a:gd name="connsiteY7" fmla="*/ 0 h 1053306"/>
                    <a:gd name="connsiteX8" fmla="*/ 890588 w 1731169"/>
                    <a:gd name="connsiteY8" fmla="*/ 5556 h 1053306"/>
                    <a:gd name="connsiteX9" fmla="*/ 912019 w 1731169"/>
                    <a:gd name="connsiteY9" fmla="*/ 32544 h 1053306"/>
                    <a:gd name="connsiteX10" fmla="*/ 947737 w 1731169"/>
                    <a:gd name="connsiteY10" fmla="*/ 15875 h 1053306"/>
                    <a:gd name="connsiteX11" fmla="*/ 1664494 w 1731169"/>
                    <a:gd name="connsiteY11" fmla="*/ 425450 h 1053306"/>
                    <a:gd name="connsiteX12" fmla="*/ 1646238 w 1731169"/>
                    <a:gd name="connsiteY12" fmla="*/ 711200 h 1053306"/>
                    <a:gd name="connsiteX13" fmla="*/ 1731169 w 1731169"/>
                    <a:gd name="connsiteY13" fmla="*/ 746125 h 1053306"/>
                    <a:gd name="connsiteX0" fmla="*/ 1731169 w 1731169"/>
                    <a:gd name="connsiteY0" fmla="*/ 746125 h 1053306"/>
                    <a:gd name="connsiteX1" fmla="*/ 1662114 w 1731169"/>
                    <a:gd name="connsiteY1" fmla="*/ 846932 h 1053306"/>
                    <a:gd name="connsiteX2" fmla="*/ 1638300 w 1731169"/>
                    <a:gd name="connsiteY2" fmla="*/ 927100 h 1053306"/>
                    <a:gd name="connsiteX3" fmla="*/ 990600 w 1731169"/>
                    <a:gd name="connsiteY3" fmla="*/ 1053306 h 1053306"/>
                    <a:gd name="connsiteX4" fmla="*/ 292100 w 1731169"/>
                    <a:gd name="connsiteY4" fmla="*/ 970756 h 1053306"/>
                    <a:gd name="connsiteX5" fmla="*/ 133350 w 1731169"/>
                    <a:gd name="connsiteY5" fmla="*/ 602456 h 1053306"/>
                    <a:gd name="connsiteX6" fmla="*/ 0 w 1731169"/>
                    <a:gd name="connsiteY6" fmla="*/ 151606 h 1053306"/>
                    <a:gd name="connsiteX7" fmla="*/ 101600 w 1731169"/>
                    <a:gd name="connsiteY7" fmla="*/ 0 h 1053306"/>
                    <a:gd name="connsiteX8" fmla="*/ 890588 w 1731169"/>
                    <a:gd name="connsiteY8" fmla="*/ 5556 h 1053306"/>
                    <a:gd name="connsiteX9" fmla="*/ 912019 w 1731169"/>
                    <a:gd name="connsiteY9" fmla="*/ 32544 h 1053306"/>
                    <a:gd name="connsiteX10" fmla="*/ 947737 w 1731169"/>
                    <a:gd name="connsiteY10" fmla="*/ 15875 h 1053306"/>
                    <a:gd name="connsiteX11" fmla="*/ 1664494 w 1731169"/>
                    <a:gd name="connsiteY11" fmla="*/ 425450 h 1053306"/>
                    <a:gd name="connsiteX12" fmla="*/ 1646238 w 1731169"/>
                    <a:gd name="connsiteY12" fmla="*/ 711200 h 1053306"/>
                    <a:gd name="connsiteX13" fmla="*/ 1731169 w 1731169"/>
                    <a:gd name="connsiteY13" fmla="*/ 746125 h 1053306"/>
                    <a:gd name="connsiteX0" fmla="*/ 1731169 w 1731169"/>
                    <a:gd name="connsiteY0" fmla="*/ 746125 h 1053306"/>
                    <a:gd name="connsiteX1" fmla="*/ 1702595 w 1731169"/>
                    <a:gd name="connsiteY1" fmla="*/ 792162 h 1053306"/>
                    <a:gd name="connsiteX2" fmla="*/ 1662114 w 1731169"/>
                    <a:gd name="connsiteY2" fmla="*/ 846932 h 1053306"/>
                    <a:gd name="connsiteX3" fmla="*/ 1638300 w 1731169"/>
                    <a:gd name="connsiteY3" fmla="*/ 927100 h 1053306"/>
                    <a:gd name="connsiteX4" fmla="*/ 990600 w 1731169"/>
                    <a:gd name="connsiteY4" fmla="*/ 1053306 h 1053306"/>
                    <a:gd name="connsiteX5" fmla="*/ 292100 w 1731169"/>
                    <a:gd name="connsiteY5" fmla="*/ 970756 h 1053306"/>
                    <a:gd name="connsiteX6" fmla="*/ 133350 w 1731169"/>
                    <a:gd name="connsiteY6" fmla="*/ 602456 h 1053306"/>
                    <a:gd name="connsiteX7" fmla="*/ 0 w 1731169"/>
                    <a:gd name="connsiteY7" fmla="*/ 151606 h 1053306"/>
                    <a:gd name="connsiteX8" fmla="*/ 101600 w 1731169"/>
                    <a:gd name="connsiteY8" fmla="*/ 0 h 1053306"/>
                    <a:gd name="connsiteX9" fmla="*/ 890588 w 1731169"/>
                    <a:gd name="connsiteY9" fmla="*/ 5556 h 1053306"/>
                    <a:gd name="connsiteX10" fmla="*/ 912019 w 1731169"/>
                    <a:gd name="connsiteY10" fmla="*/ 32544 h 1053306"/>
                    <a:gd name="connsiteX11" fmla="*/ 947737 w 1731169"/>
                    <a:gd name="connsiteY11" fmla="*/ 15875 h 1053306"/>
                    <a:gd name="connsiteX12" fmla="*/ 1664494 w 1731169"/>
                    <a:gd name="connsiteY12" fmla="*/ 425450 h 1053306"/>
                    <a:gd name="connsiteX13" fmla="*/ 1646238 w 1731169"/>
                    <a:gd name="connsiteY13" fmla="*/ 711200 h 1053306"/>
                    <a:gd name="connsiteX14" fmla="*/ 1731169 w 1731169"/>
                    <a:gd name="connsiteY14" fmla="*/ 746125 h 1053306"/>
                    <a:gd name="connsiteX0" fmla="*/ 1731169 w 1731169"/>
                    <a:gd name="connsiteY0" fmla="*/ 746125 h 1053306"/>
                    <a:gd name="connsiteX1" fmla="*/ 1697832 w 1731169"/>
                    <a:gd name="connsiteY1" fmla="*/ 849312 h 1053306"/>
                    <a:gd name="connsiteX2" fmla="*/ 1662114 w 1731169"/>
                    <a:gd name="connsiteY2" fmla="*/ 846932 h 1053306"/>
                    <a:gd name="connsiteX3" fmla="*/ 1638300 w 1731169"/>
                    <a:gd name="connsiteY3" fmla="*/ 927100 h 1053306"/>
                    <a:gd name="connsiteX4" fmla="*/ 990600 w 1731169"/>
                    <a:gd name="connsiteY4" fmla="*/ 1053306 h 1053306"/>
                    <a:gd name="connsiteX5" fmla="*/ 292100 w 1731169"/>
                    <a:gd name="connsiteY5" fmla="*/ 970756 h 1053306"/>
                    <a:gd name="connsiteX6" fmla="*/ 133350 w 1731169"/>
                    <a:gd name="connsiteY6" fmla="*/ 602456 h 1053306"/>
                    <a:gd name="connsiteX7" fmla="*/ 0 w 1731169"/>
                    <a:gd name="connsiteY7" fmla="*/ 151606 h 1053306"/>
                    <a:gd name="connsiteX8" fmla="*/ 101600 w 1731169"/>
                    <a:gd name="connsiteY8" fmla="*/ 0 h 1053306"/>
                    <a:gd name="connsiteX9" fmla="*/ 890588 w 1731169"/>
                    <a:gd name="connsiteY9" fmla="*/ 5556 h 1053306"/>
                    <a:gd name="connsiteX10" fmla="*/ 912019 w 1731169"/>
                    <a:gd name="connsiteY10" fmla="*/ 32544 h 1053306"/>
                    <a:gd name="connsiteX11" fmla="*/ 947737 w 1731169"/>
                    <a:gd name="connsiteY11" fmla="*/ 15875 h 1053306"/>
                    <a:gd name="connsiteX12" fmla="*/ 1664494 w 1731169"/>
                    <a:gd name="connsiteY12" fmla="*/ 425450 h 1053306"/>
                    <a:gd name="connsiteX13" fmla="*/ 1646238 w 1731169"/>
                    <a:gd name="connsiteY13" fmla="*/ 711200 h 1053306"/>
                    <a:gd name="connsiteX14" fmla="*/ 1731169 w 1731169"/>
                    <a:gd name="connsiteY14" fmla="*/ 746125 h 1053306"/>
                    <a:gd name="connsiteX0" fmla="*/ 1731169 w 1731169"/>
                    <a:gd name="connsiteY0" fmla="*/ 746125 h 970756"/>
                    <a:gd name="connsiteX1" fmla="*/ 1697832 w 1731169"/>
                    <a:gd name="connsiteY1" fmla="*/ 849312 h 970756"/>
                    <a:gd name="connsiteX2" fmla="*/ 1662114 w 1731169"/>
                    <a:gd name="connsiteY2" fmla="*/ 846932 h 970756"/>
                    <a:gd name="connsiteX3" fmla="*/ 1638300 w 1731169"/>
                    <a:gd name="connsiteY3" fmla="*/ 927100 h 970756"/>
                    <a:gd name="connsiteX4" fmla="*/ 1285875 w 1731169"/>
                    <a:gd name="connsiteY4" fmla="*/ 927100 h 970756"/>
                    <a:gd name="connsiteX5" fmla="*/ 292100 w 1731169"/>
                    <a:gd name="connsiteY5" fmla="*/ 970756 h 970756"/>
                    <a:gd name="connsiteX6" fmla="*/ 133350 w 1731169"/>
                    <a:gd name="connsiteY6" fmla="*/ 602456 h 970756"/>
                    <a:gd name="connsiteX7" fmla="*/ 0 w 1731169"/>
                    <a:gd name="connsiteY7" fmla="*/ 151606 h 970756"/>
                    <a:gd name="connsiteX8" fmla="*/ 101600 w 1731169"/>
                    <a:gd name="connsiteY8" fmla="*/ 0 h 970756"/>
                    <a:gd name="connsiteX9" fmla="*/ 890588 w 1731169"/>
                    <a:gd name="connsiteY9" fmla="*/ 5556 h 970756"/>
                    <a:gd name="connsiteX10" fmla="*/ 912019 w 1731169"/>
                    <a:gd name="connsiteY10" fmla="*/ 32544 h 970756"/>
                    <a:gd name="connsiteX11" fmla="*/ 947737 w 1731169"/>
                    <a:gd name="connsiteY11" fmla="*/ 15875 h 970756"/>
                    <a:gd name="connsiteX12" fmla="*/ 1664494 w 1731169"/>
                    <a:gd name="connsiteY12" fmla="*/ 425450 h 970756"/>
                    <a:gd name="connsiteX13" fmla="*/ 1646238 w 1731169"/>
                    <a:gd name="connsiteY13" fmla="*/ 711200 h 970756"/>
                    <a:gd name="connsiteX14" fmla="*/ 1731169 w 1731169"/>
                    <a:gd name="connsiteY14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1750 w 1629569"/>
                    <a:gd name="connsiteY6" fmla="*/ 602456 h 970756"/>
                    <a:gd name="connsiteX7" fmla="*/ 794 w 1629569"/>
                    <a:gd name="connsiteY7" fmla="*/ 282574 h 970756"/>
                    <a:gd name="connsiteX8" fmla="*/ 0 w 1629569"/>
                    <a:gd name="connsiteY8" fmla="*/ 0 h 970756"/>
                    <a:gd name="connsiteX9" fmla="*/ 788988 w 1629569"/>
                    <a:gd name="connsiteY9" fmla="*/ 5556 h 970756"/>
                    <a:gd name="connsiteX10" fmla="*/ 810419 w 1629569"/>
                    <a:gd name="connsiteY10" fmla="*/ 32544 h 970756"/>
                    <a:gd name="connsiteX11" fmla="*/ 846137 w 1629569"/>
                    <a:gd name="connsiteY11" fmla="*/ 15875 h 970756"/>
                    <a:gd name="connsiteX12" fmla="*/ 1562894 w 1629569"/>
                    <a:gd name="connsiteY12" fmla="*/ 425450 h 970756"/>
                    <a:gd name="connsiteX13" fmla="*/ 1544638 w 1629569"/>
                    <a:gd name="connsiteY13" fmla="*/ 711200 h 970756"/>
                    <a:gd name="connsiteX14" fmla="*/ 1629569 w 1629569"/>
                    <a:gd name="connsiteY14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1750 w 1629569"/>
                    <a:gd name="connsiteY6" fmla="*/ 602456 h 970756"/>
                    <a:gd name="connsiteX7" fmla="*/ 15082 w 1629569"/>
                    <a:gd name="connsiteY7" fmla="*/ 434975 h 970756"/>
                    <a:gd name="connsiteX8" fmla="*/ 794 w 1629569"/>
                    <a:gd name="connsiteY8" fmla="*/ 282574 h 970756"/>
                    <a:gd name="connsiteX9" fmla="*/ 0 w 1629569"/>
                    <a:gd name="connsiteY9" fmla="*/ 0 h 970756"/>
                    <a:gd name="connsiteX10" fmla="*/ 788988 w 1629569"/>
                    <a:gd name="connsiteY10" fmla="*/ 5556 h 970756"/>
                    <a:gd name="connsiteX11" fmla="*/ 810419 w 1629569"/>
                    <a:gd name="connsiteY11" fmla="*/ 32544 h 970756"/>
                    <a:gd name="connsiteX12" fmla="*/ 846137 w 1629569"/>
                    <a:gd name="connsiteY12" fmla="*/ 15875 h 970756"/>
                    <a:gd name="connsiteX13" fmla="*/ 1562894 w 1629569"/>
                    <a:gd name="connsiteY13" fmla="*/ 425450 h 970756"/>
                    <a:gd name="connsiteX14" fmla="*/ 1544638 w 1629569"/>
                    <a:gd name="connsiteY14" fmla="*/ 711200 h 970756"/>
                    <a:gd name="connsiteX15" fmla="*/ 1629569 w 1629569"/>
                    <a:gd name="connsiteY15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1750 w 1629569"/>
                    <a:gd name="connsiteY6" fmla="*/ 602456 h 970756"/>
                    <a:gd name="connsiteX7" fmla="*/ 474663 w 1629569"/>
                    <a:gd name="connsiteY7" fmla="*/ 287338 h 970756"/>
                    <a:gd name="connsiteX8" fmla="*/ 794 w 1629569"/>
                    <a:gd name="connsiteY8" fmla="*/ 282574 h 970756"/>
                    <a:gd name="connsiteX9" fmla="*/ 0 w 1629569"/>
                    <a:gd name="connsiteY9" fmla="*/ 0 h 970756"/>
                    <a:gd name="connsiteX10" fmla="*/ 788988 w 1629569"/>
                    <a:gd name="connsiteY10" fmla="*/ 5556 h 970756"/>
                    <a:gd name="connsiteX11" fmla="*/ 810419 w 1629569"/>
                    <a:gd name="connsiteY11" fmla="*/ 32544 h 970756"/>
                    <a:gd name="connsiteX12" fmla="*/ 846137 w 1629569"/>
                    <a:gd name="connsiteY12" fmla="*/ 15875 h 970756"/>
                    <a:gd name="connsiteX13" fmla="*/ 1562894 w 1629569"/>
                    <a:gd name="connsiteY13" fmla="*/ 425450 h 970756"/>
                    <a:gd name="connsiteX14" fmla="*/ 1544638 w 1629569"/>
                    <a:gd name="connsiteY14" fmla="*/ 711200 h 970756"/>
                    <a:gd name="connsiteX15" fmla="*/ 1629569 w 1629569"/>
                    <a:gd name="connsiteY15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1750 w 1629569"/>
                    <a:gd name="connsiteY6" fmla="*/ 602456 h 970756"/>
                    <a:gd name="connsiteX7" fmla="*/ 210345 w 1629569"/>
                    <a:gd name="connsiteY7" fmla="*/ 470694 h 970756"/>
                    <a:gd name="connsiteX8" fmla="*/ 474663 w 1629569"/>
                    <a:gd name="connsiteY8" fmla="*/ 287338 h 970756"/>
                    <a:gd name="connsiteX9" fmla="*/ 794 w 1629569"/>
                    <a:gd name="connsiteY9" fmla="*/ 282574 h 970756"/>
                    <a:gd name="connsiteX10" fmla="*/ 0 w 1629569"/>
                    <a:gd name="connsiteY10" fmla="*/ 0 h 970756"/>
                    <a:gd name="connsiteX11" fmla="*/ 788988 w 1629569"/>
                    <a:gd name="connsiteY11" fmla="*/ 5556 h 970756"/>
                    <a:gd name="connsiteX12" fmla="*/ 810419 w 1629569"/>
                    <a:gd name="connsiteY12" fmla="*/ 32544 h 970756"/>
                    <a:gd name="connsiteX13" fmla="*/ 846137 w 1629569"/>
                    <a:gd name="connsiteY13" fmla="*/ 15875 h 970756"/>
                    <a:gd name="connsiteX14" fmla="*/ 1562894 w 1629569"/>
                    <a:gd name="connsiteY14" fmla="*/ 425450 h 970756"/>
                    <a:gd name="connsiteX15" fmla="*/ 1544638 w 1629569"/>
                    <a:gd name="connsiteY15" fmla="*/ 711200 h 970756"/>
                    <a:gd name="connsiteX16" fmla="*/ 1629569 w 1629569"/>
                    <a:gd name="connsiteY16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1750 w 1629569"/>
                    <a:gd name="connsiteY6" fmla="*/ 602456 h 970756"/>
                    <a:gd name="connsiteX7" fmla="*/ 465139 w 1629569"/>
                    <a:gd name="connsiteY7" fmla="*/ 492125 h 970756"/>
                    <a:gd name="connsiteX8" fmla="*/ 474663 w 1629569"/>
                    <a:gd name="connsiteY8" fmla="*/ 287338 h 970756"/>
                    <a:gd name="connsiteX9" fmla="*/ 794 w 1629569"/>
                    <a:gd name="connsiteY9" fmla="*/ 282574 h 970756"/>
                    <a:gd name="connsiteX10" fmla="*/ 0 w 1629569"/>
                    <a:gd name="connsiteY10" fmla="*/ 0 h 970756"/>
                    <a:gd name="connsiteX11" fmla="*/ 788988 w 1629569"/>
                    <a:gd name="connsiteY11" fmla="*/ 5556 h 970756"/>
                    <a:gd name="connsiteX12" fmla="*/ 810419 w 1629569"/>
                    <a:gd name="connsiteY12" fmla="*/ 32544 h 970756"/>
                    <a:gd name="connsiteX13" fmla="*/ 846137 w 1629569"/>
                    <a:gd name="connsiteY13" fmla="*/ 15875 h 970756"/>
                    <a:gd name="connsiteX14" fmla="*/ 1562894 w 1629569"/>
                    <a:gd name="connsiteY14" fmla="*/ 425450 h 970756"/>
                    <a:gd name="connsiteX15" fmla="*/ 1544638 w 1629569"/>
                    <a:gd name="connsiteY15" fmla="*/ 711200 h 970756"/>
                    <a:gd name="connsiteX16" fmla="*/ 1629569 w 1629569"/>
                    <a:gd name="connsiteY16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1750 w 1629569"/>
                    <a:gd name="connsiteY6" fmla="*/ 602456 h 970756"/>
                    <a:gd name="connsiteX7" fmla="*/ 388939 w 1629569"/>
                    <a:gd name="connsiteY7" fmla="*/ 513556 h 970756"/>
                    <a:gd name="connsiteX8" fmla="*/ 465139 w 1629569"/>
                    <a:gd name="connsiteY8" fmla="*/ 492125 h 970756"/>
                    <a:gd name="connsiteX9" fmla="*/ 474663 w 1629569"/>
                    <a:gd name="connsiteY9" fmla="*/ 287338 h 970756"/>
                    <a:gd name="connsiteX10" fmla="*/ 794 w 1629569"/>
                    <a:gd name="connsiteY10" fmla="*/ 282574 h 970756"/>
                    <a:gd name="connsiteX11" fmla="*/ 0 w 1629569"/>
                    <a:gd name="connsiteY11" fmla="*/ 0 h 970756"/>
                    <a:gd name="connsiteX12" fmla="*/ 788988 w 1629569"/>
                    <a:gd name="connsiteY12" fmla="*/ 5556 h 970756"/>
                    <a:gd name="connsiteX13" fmla="*/ 810419 w 1629569"/>
                    <a:gd name="connsiteY13" fmla="*/ 32544 h 970756"/>
                    <a:gd name="connsiteX14" fmla="*/ 846137 w 1629569"/>
                    <a:gd name="connsiteY14" fmla="*/ 15875 h 970756"/>
                    <a:gd name="connsiteX15" fmla="*/ 1562894 w 1629569"/>
                    <a:gd name="connsiteY15" fmla="*/ 425450 h 970756"/>
                    <a:gd name="connsiteX16" fmla="*/ 1544638 w 1629569"/>
                    <a:gd name="connsiteY16" fmla="*/ 711200 h 970756"/>
                    <a:gd name="connsiteX17" fmla="*/ 1629569 w 1629569"/>
                    <a:gd name="connsiteY17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1750 w 1629569"/>
                    <a:gd name="connsiteY6" fmla="*/ 602456 h 970756"/>
                    <a:gd name="connsiteX7" fmla="*/ 429420 w 1629569"/>
                    <a:gd name="connsiteY7" fmla="*/ 461169 h 970756"/>
                    <a:gd name="connsiteX8" fmla="*/ 465139 w 1629569"/>
                    <a:gd name="connsiteY8" fmla="*/ 492125 h 970756"/>
                    <a:gd name="connsiteX9" fmla="*/ 474663 w 1629569"/>
                    <a:gd name="connsiteY9" fmla="*/ 287338 h 970756"/>
                    <a:gd name="connsiteX10" fmla="*/ 794 w 1629569"/>
                    <a:gd name="connsiteY10" fmla="*/ 282574 h 970756"/>
                    <a:gd name="connsiteX11" fmla="*/ 0 w 1629569"/>
                    <a:gd name="connsiteY11" fmla="*/ 0 h 970756"/>
                    <a:gd name="connsiteX12" fmla="*/ 788988 w 1629569"/>
                    <a:gd name="connsiteY12" fmla="*/ 5556 h 970756"/>
                    <a:gd name="connsiteX13" fmla="*/ 810419 w 1629569"/>
                    <a:gd name="connsiteY13" fmla="*/ 32544 h 970756"/>
                    <a:gd name="connsiteX14" fmla="*/ 846137 w 1629569"/>
                    <a:gd name="connsiteY14" fmla="*/ 15875 h 970756"/>
                    <a:gd name="connsiteX15" fmla="*/ 1562894 w 1629569"/>
                    <a:gd name="connsiteY15" fmla="*/ 425450 h 970756"/>
                    <a:gd name="connsiteX16" fmla="*/ 1544638 w 1629569"/>
                    <a:gd name="connsiteY16" fmla="*/ 711200 h 970756"/>
                    <a:gd name="connsiteX17" fmla="*/ 1629569 w 1629569"/>
                    <a:gd name="connsiteY17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1750 w 1629569"/>
                    <a:gd name="connsiteY6" fmla="*/ 602456 h 970756"/>
                    <a:gd name="connsiteX7" fmla="*/ 253207 w 1629569"/>
                    <a:gd name="connsiteY7" fmla="*/ 527844 h 970756"/>
                    <a:gd name="connsiteX8" fmla="*/ 429420 w 1629569"/>
                    <a:gd name="connsiteY8" fmla="*/ 461169 h 970756"/>
                    <a:gd name="connsiteX9" fmla="*/ 465139 w 1629569"/>
                    <a:gd name="connsiteY9" fmla="*/ 492125 h 970756"/>
                    <a:gd name="connsiteX10" fmla="*/ 474663 w 1629569"/>
                    <a:gd name="connsiteY10" fmla="*/ 287338 h 970756"/>
                    <a:gd name="connsiteX11" fmla="*/ 794 w 1629569"/>
                    <a:gd name="connsiteY11" fmla="*/ 282574 h 970756"/>
                    <a:gd name="connsiteX12" fmla="*/ 0 w 1629569"/>
                    <a:gd name="connsiteY12" fmla="*/ 0 h 970756"/>
                    <a:gd name="connsiteX13" fmla="*/ 788988 w 1629569"/>
                    <a:gd name="connsiteY13" fmla="*/ 5556 h 970756"/>
                    <a:gd name="connsiteX14" fmla="*/ 810419 w 1629569"/>
                    <a:gd name="connsiteY14" fmla="*/ 32544 h 970756"/>
                    <a:gd name="connsiteX15" fmla="*/ 846137 w 1629569"/>
                    <a:gd name="connsiteY15" fmla="*/ 15875 h 970756"/>
                    <a:gd name="connsiteX16" fmla="*/ 1562894 w 1629569"/>
                    <a:gd name="connsiteY16" fmla="*/ 425450 h 970756"/>
                    <a:gd name="connsiteX17" fmla="*/ 1544638 w 1629569"/>
                    <a:gd name="connsiteY17" fmla="*/ 711200 h 970756"/>
                    <a:gd name="connsiteX18" fmla="*/ 1629569 w 1629569"/>
                    <a:gd name="connsiteY18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1750 w 1629569"/>
                    <a:gd name="connsiteY6" fmla="*/ 602456 h 970756"/>
                    <a:gd name="connsiteX7" fmla="*/ 365126 w 1629569"/>
                    <a:gd name="connsiteY7" fmla="*/ 480219 h 970756"/>
                    <a:gd name="connsiteX8" fmla="*/ 429420 w 1629569"/>
                    <a:gd name="connsiteY8" fmla="*/ 461169 h 970756"/>
                    <a:gd name="connsiteX9" fmla="*/ 465139 w 1629569"/>
                    <a:gd name="connsiteY9" fmla="*/ 492125 h 970756"/>
                    <a:gd name="connsiteX10" fmla="*/ 474663 w 1629569"/>
                    <a:gd name="connsiteY10" fmla="*/ 287338 h 970756"/>
                    <a:gd name="connsiteX11" fmla="*/ 794 w 1629569"/>
                    <a:gd name="connsiteY11" fmla="*/ 282574 h 970756"/>
                    <a:gd name="connsiteX12" fmla="*/ 0 w 1629569"/>
                    <a:gd name="connsiteY12" fmla="*/ 0 h 970756"/>
                    <a:gd name="connsiteX13" fmla="*/ 788988 w 1629569"/>
                    <a:gd name="connsiteY13" fmla="*/ 5556 h 970756"/>
                    <a:gd name="connsiteX14" fmla="*/ 810419 w 1629569"/>
                    <a:gd name="connsiteY14" fmla="*/ 32544 h 970756"/>
                    <a:gd name="connsiteX15" fmla="*/ 846137 w 1629569"/>
                    <a:gd name="connsiteY15" fmla="*/ 15875 h 970756"/>
                    <a:gd name="connsiteX16" fmla="*/ 1562894 w 1629569"/>
                    <a:gd name="connsiteY16" fmla="*/ 425450 h 970756"/>
                    <a:gd name="connsiteX17" fmla="*/ 1544638 w 1629569"/>
                    <a:gd name="connsiteY17" fmla="*/ 711200 h 970756"/>
                    <a:gd name="connsiteX18" fmla="*/ 1629569 w 1629569"/>
                    <a:gd name="connsiteY18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324644 w 1629569"/>
                    <a:gd name="connsiteY6" fmla="*/ 588169 h 970756"/>
                    <a:gd name="connsiteX7" fmla="*/ 365126 w 1629569"/>
                    <a:gd name="connsiteY7" fmla="*/ 480219 h 970756"/>
                    <a:gd name="connsiteX8" fmla="*/ 429420 w 1629569"/>
                    <a:gd name="connsiteY8" fmla="*/ 461169 h 970756"/>
                    <a:gd name="connsiteX9" fmla="*/ 465139 w 1629569"/>
                    <a:gd name="connsiteY9" fmla="*/ 492125 h 970756"/>
                    <a:gd name="connsiteX10" fmla="*/ 474663 w 1629569"/>
                    <a:gd name="connsiteY10" fmla="*/ 287338 h 970756"/>
                    <a:gd name="connsiteX11" fmla="*/ 794 w 1629569"/>
                    <a:gd name="connsiteY11" fmla="*/ 282574 h 970756"/>
                    <a:gd name="connsiteX12" fmla="*/ 0 w 1629569"/>
                    <a:gd name="connsiteY12" fmla="*/ 0 h 970756"/>
                    <a:gd name="connsiteX13" fmla="*/ 788988 w 1629569"/>
                    <a:gd name="connsiteY13" fmla="*/ 5556 h 970756"/>
                    <a:gd name="connsiteX14" fmla="*/ 810419 w 1629569"/>
                    <a:gd name="connsiteY14" fmla="*/ 32544 h 970756"/>
                    <a:gd name="connsiteX15" fmla="*/ 846137 w 1629569"/>
                    <a:gd name="connsiteY15" fmla="*/ 15875 h 970756"/>
                    <a:gd name="connsiteX16" fmla="*/ 1562894 w 1629569"/>
                    <a:gd name="connsiteY16" fmla="*/ 425450 h 970756"/>
                    <a:gd name="connsiteX17" fmla="*/ 1544638 w 1629569"/>
                    <a:gd name="connsiteY17" fmla="*/ 711200 h 970756"/>
                    <a:gd name="connsiteX18" fmla="*/ 1629569 w 1629569"/>
                    <a:gd name="connsiteY18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293689 w 1629569"/>
                    <a:gd name="connsiteY6" fmla="*/ 668337 h 970756"/>
                    <a:gd name="connsiteX7" fmla="*/ 324644 w 1629569"/>
                    <a:gd name="connsiteY7" fmla="*/ 588169 h 970756"/>
                    <a:gd name="connsiteX8" fmla="*/ 365126 w 1629569"/>
                    <a:gd name="connsiteY8" fmla="*/ 480219 h 970756"/>
                    <a:gd name="connsiteX9" fmla="*/ 429420 w 1629569"/>
                    <a:gd name="connsiteY9" fmla="*/ 461169 h 970756"/>
                    <a:gd name="connsiteX10" fmla="*/ 465139 w 1629569"/>
                    <a:gd name="connsiteY10" fmla="*/ 492125 h 970756"/>
                    <a:gd name="connsiteX11" fmla="*/ 474663 w 1629569"/>
                    <a:gd name="connsiteY11" fmla="*/ 287338 h 970756"/>
                    <a:gd name="connsiteX12" fmla="*/ 794 w 1629569"/>
                    <a:gd name="connsiteY12" fmla="*/ 282574 h 970756"/>
                    <a:gd name="connsiteX13" fmla="*/ 0 w 1629569"/>
                    <a:gd name="connsiteY13" fmla="*/ 0 h 970756"/>
                    <a:gd name="connsiteX14" fmla="*/ 788988 w 1629569"/>
                    <a:gd name="connsiteY14" fmla="*/ 5556 h 970756"/>
                    <a:gd name="connsiteX15" fmla="*/ 810419 w 1629569"/>
                    <a:gd name="connsiteY15" fmla="*/ 32544 h 970756"/>
                    <a:gd name="connsiteX16" fmla="*/ 846137 w 1629569"/>
                    <a:gd name="connsiteY16" fmla="*/ 15875 h 970756"/>
                    <a:gd name="connsiteX17" fmla="*/ 1562894 w 1629569"/>
                    <a:gd name="connsiteY17" fmla="*/ 425450 h 970756"/>
                    <a:gd name="connsiteX18" fmla="*/ 1544638 w 1629569"/>
                    <a:gd name="connsiteY18" fmla="*/ 711200 h 970756"/>
                    <a:gd name="connsiteX19" fmla="*/ 1629569 w 1629569"/>
                    <a:gd name="connsiteY19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272258 w 1629569"/>
                    <a:gd name="connsiteY6" fmla="*/ 642144 h 970756"/>
                    <a:gd name="connsiteX7" fmla="*/ 324644 w 1629569"/>
                    <a:gd name="connsiteY7" fmla="*/ 588169 h 970756"/>
                    <a:gd name="connsiteX8" fmla="*/ 365126 w 1629569"/>
                    <a:gd name="connsiteY8" fmla="*/ 480219 h 970756"/>
                    <a:gd name="connsiteX9" fmla="*/ 429420 w 1629569"/>
                    <a:gd name="connsiteY9" fmla="*/ 461169 h 970756"/>
                    <a:gd name="connsiteX10" fmla="*/ 465139 w 1629569"/>
                    <a:gd name="connsiteY10" fmla="*/ 492125 h 970756"/>
                    <a:gd name="connsiteX11" fmla="*/ 474663 w 1629569"/>
                    <a:gd name="connsiteY11" fmla="*/ 287338 h 970756"/>
                    <a:gd name="connsiteX12" fmla="*/ 794 w 1629569"/>
                    <a:gd name="connsiteY12" fmla="*/ 282574 h 970756"/>
                    <a:gd name="connsiteX13" fmla="*/ 0 w 1629569"/>
                    <a:gd name="connsiteY13" fmla="*/ 0 h 970756"/>
                    <a:gd name="connsiteX14" fmla="*/ 788988 w 1629569"/>
                    <a:gd name="connsiteY14" fmla="*/ 5556 h 970756"/>
                    <a:gd name="connsiteX15" fmla="*/ 810419 w 1629569"/>
                    <a:gd name="connsiteY15" fmla="*/ 32544 h 970756"/>
                    <a:gd name="connsiteX16" fmla="*/ 846137 w 1629569"/>
                    <a:gd name="connsiteY16" fmla="*/ 15875 h 970756"/>
                    <a:gd name="connsiteX17" fmla="*/ 1562894 w 1629569"/>
                    <a:gd name="connsiteY17" fmla="*/ 425450 h 970756"/>
                    <a:gd name="connsiteX18" fmla="*/ 1544638 w 1629569"/>
                    <a:gd name="connsiteY18" fmla="*/ 711200 h 970756"/>
                    <a:gd name="connsiteX19" fmla="*/ 1629569 w 1629569"/>
                    <a:gd name="connsiteY19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241301 w 1629569"/>
                    <a:gd name="connsiteY6" fmla="*/ 768350 h 970756"/>
                    <a:gd name="connsiteX7" fmla="*/ 272258 w 1629569"/>
                    <a:gd name="connsiteY7" fmla="*/ 642144 h 970756"/>
                    <a:gd name="connsiteX8" fmla="*/ 324644 w 1629569"/>
                    <a:gd name="connsiteY8" fmla="*/ 588169 h 970756"/>
                    <a:gd name="connsiteX9" fmla="*/ 365126 w 1629569"/>
                    <a:gd name="connsiteY9" fmla="*/ 480219 h 970756"/>
                    <a:gd name="connsiteX10" fmla="*/ 429420 w 1629569"/>
                    <a:gd name="connsiteY10" fmla="*/ 461169 h 970756"/>
                    <a:gd name="connsiteX11" fmla="*/ 465139 w 1629569"/>
                    <a:gd name="connsiteY11" fmla="*/ 492125 h 970756"/>
                    <a:gd name="connsiteX12" fmla="*/ 474663 w 1629569"/>
                    <a:gd name="connsiteY12" fmla="*/ 287338 h 970756"/>
                    <a:gd name="connsiteX13" fmla="*/ 794 w 1629569"/>
                    <a:gd name="connsiteY13" fmla="*/ 282574 h 970756"/>
                    <a:gd name="connsiteX14" fmla="*/ 0 w 1629569"/>
                    <a:gd name="connsiteY14" fmla="*/ 0 h 970756"/>
                    <a:gd name="connsiteX15" fmla="*/ 788988 w 1629569"/>
                    <a:gd name="connsiteY15" fmla="*/ 5556 h 970756"/>
                    <a:gd name="connsiteX16" fmla="*/ 810419 w 1629569"/>
                    <a:gd name="connsiteY16" fmla="*/ 32544 h 970756"/>
                    <a:gd name="connsiteX17" fmla="*/ 846137 w 1629569"/>
                    <a:gd name="connsiteY17" fmla="*/ 15875 h 970756"/>
                    <a:gd name="connsiteX18" fmla="*/ 1562894 w 1629569"/>
                    <a:gd name="connsiteY18" fmla="*/ 425450 h 970756"/>
                    <a:gd name="connsiteX19" fmla="*/ 1544638 w 1629569"/>
                    <a:gd name="connsiteY19" fmla="*/ 711200 h 970756"/>
                    <a:gd name="connsiteX20" fmla="*/ 1629569 w 1629569"/>
                    <a:gd name="connsiteY20" fmla="*/ 746125 h 970756"/>
                    <a:gd name="connsiteX0" fmla="*/ 1629569 w 1629569"/>
                    <a:gd name="connsiteY0" fmla="*/ 746125 h 970756"/>
                    <a:gd name="connsiteX1" fmla="*/ 1596232 w 1629569"/>
                    <a:gd name="connsiteY1" fmla="*/ 849312 h 970756"/>
                    <a:gd name="connsiteX2" fmla="*/ 1560514 w 1629569"/>
                    <a:gd name="connsiteY2" fmla="*/ 846932 h 970756"/>
                    <a:gd name="connsiteX3" fmla="*/ 1536700 w 1629569"/>
                    <a:gd name="connsiteY3" fmla="*/ 927100 h 970756"/>
                    <a:gd name="connsiteX4" fmla="*/ 1184275 w 1629569"/>
                    <a:gd name="connsiteY4" fmla="*/ 927100 h 970756"/>
                    <a:gd name="connsiteX5" fmla="*/ 190500 w 1629569"/>
                    <a:gd name="connsiteY5" fmla="*/ 970756 h 970756"/>
                    <a:gd name="connsiteX6" fmla="*/ 284164 w 1629569"/>
                    <a:gd name="connsiteY6" fmla="*/ 742156 h 970756"/>
                    <a:gd name="connsiteX7" fmla="*/ 272258 w 1629569"/>
                    <a:gd name="connsiteY7" fmla="*/ 642144 h 970756"/>
                    <a:gd name="connsiteX8" fmla="*/ 324644 w 1629569"/>
                    <a:gd name="connsiteY8" fmla="*/ 588169 h 970756"/>
                    <a:gd name="connsiteX9" fmla="*/ 365126 w 1629569"/>
                    <a:gd name="connsiteY9" fmla="*/ 480219 h 970756"/>
                    <a:gd name="connsiteX10" fmla="*/ 429420 w 1629569"/>
                    <a:gd name="connsiteY10" fmla="*/ 461169 h 970756"/>
                    <a:gd name="connsiteX11" fmla="*/ 465139 w 1629569"/>
                    <a:gd name="connsiteY11" fmla="*/ 492125 h 970756"/>
                    <a:gd name="connsiteX12" fmla="*/ 474663 w 1629569"/>
                    <a:gd name="connsiteY12" fmla="*/ 287338 h 970756"/>
                    <a:gd name="connsiteX13" fmla="*/ 794 w 1629569"/>
                    <a:gd name="connsiteY13" fmla="*/ 282574 h 970756"/>
                    <a:gd name="connsiteX14" fmla="*/ 0 w 1629569"/>
                    <a:gd name="connsiteY14" fmla="*/ 0 h 970756"/>
                    <a:gd name="connsiteX15" fmla="*/ 788988 w 1629569"/>
                    <a:gd name="connsiteY15" fmla="*/ 5556 h 970756"/>
                    <a:gd name="connsiteX16" fmla="*/ 810419 w 1629569"/>
                    <a:gd name="connsiteY16" fmla="*/ 32544 h 970756"/>
                    <a:gd name="connsiteX17" fmla="*/ 846137 w 1629569"/>
                    <a:gd name="connsiteY17" fmla="*/ 15875 h 970756"/>
                    <a:gd name="connsiteX18" fmla="*/ 1562894 w 1629569"/>
                    <a:gd name="connsiteY18" fmla="*/ 425450 h 970756"/>
                    <a:gd name="connsiteX19" fmla="*/ 1544638 w 1629569"/>
                    <a:gd name="connsiteY19" fmla="*/ 711200 h 970756"/>
                    <a:gd name="connsiteX20" fmla="*/ 1629569 w 1629569"/>
                    <a:gd name="connsiteY20" fmla="*/ 746125 h 970756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264318 w 1629569"/>
                    <a:gd name="connsiteY5" fmla="*/ 801687 h 927100"/>
                    <a:gd name="connsiteX6" fmla="*/ 284164 w 1629569"/>
                    <a:gd name="connsiteY6" fmla="*/ 742156 h 927100"/>
                    <a:gd name="connsiteX7" fmla="*/ 272258 w 1629569"/>
                    <a:gd name="connsiteY7" fmla="*/ 642144 h 927100"/>
                    <a:gd name="connsiteX8" fmla="*/ 324644 w 1629569"/>
                    <a:gd name="connsiteY8" fmla="*/ 588169 h 927100"/>
                    <a:gd name="connsiteX9" fmla="*/ 365126 w 1629569"/>
                    <a:gd name="connsiteY9" fmla="*/ 480219 h 927100"/>
                    <a:gd name="connsiteX10" fmla="*/ 429420 w 1629569"/>
                    <a:gd name="connsiteY10" fmla="*/ 461169 h 927100"/>
                    <a:gd name="connsiteX11" fmla="*/ 465139 w 1629569"/>
                    <a:gd name="connsiteY11" fmla="*/ 492125 h 927100"/>
                    <a:gd name="connsiteX12" fmla="*/ 474663 w 1629569"/>
                    <a:gd name="connsiteY12" fmla="*/ 287338 h 927100"/>
                    <a:gd name="connsiteX13" fmla="*/ 794 w 1629569"/>
                    <a:gd name="connsiteY13" fmla="*/ 282574 h 927100"/>
                    <a:gd name="connsiteX14" fmla="*/ 0 w 1629569"/>
                    <a:gd name="connsiteY14" fmla="*/ 0 h 927100"/>
                    <a:gd name="connsiteX15" fmla="*/ 788988 w 1629569"/>
                    <a:gd name="connsiteY15" fmla="*/ 5556 h 927100"/>
                    <a:gd name="connsiteX16" fmla="*/ 810419 w 1629569"/>
                    <a:gd name="connsiteY16" fmla="*/ 32544 h 927100"/>
                    <a:gd name="connsiteX17" fmla="*/ 846137 w 1629569"/>
                    <a:gd name="connsiteY17" fmla="*/ 15875 h 927100"/>
                    <a:gd name="connsiteX18" fmla="*/ 1562894 w 1629569"/>
                    <a:gd name="connsiteY18" fmla="*/ 425450 h 927100"/>
                    <a:gd name="connsiteX19" fmla="*/ 1544638 w 1629569"/>
                    <a:gd name="connsiteY19" fmla="*/ 711200 h 927100"/>
                    <a:gd name="connsiteX20" fmla="*/ 1629569 w 1629569"/>
                    <a:gd name="connsiteY20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377032 w 1629569"/>
                    <a:gd name="connsiteY5" fmla="*/ 815975 h 927100"/>
                    <a:gd name="connsiteX6" fmla="*/ 264318 w 1629569"/>
                    <a:gd name="connsiteY6" fmla="*/ 801687 h 927100"/>
                    <a:gd name="connsiteX7" fmla="*/ 284164 w 1629569"/>
                    <a:gd name="connsiteY7" fmla="*/ 742156 h 927100"/>
                    <a:gd name="connsiteX8" fmla="*/ 272258 w 1629569"/>
                    <a:gd name="connsiteY8" fmla="*/ 642144 h 927100"/>
                    <a:gd name="connsiteX9" fmla="*/ 324644 w 1629569"/>
                    <a:gd name="connsiteY9" fmla="*/ 588169 h 927100"/>
                    <a:gd name="connsiteX10" fmla="*/ 365126 w 1629569"/>
                    <a:gd name="connsiteY10" fmla="*/ 480219 h 927100"/>
                    <a:gd name="connsiteX11" fmla="*/ 429420 w 1629569"/>
                    <a:gd name="connsiteY11" fmla="*/ 461169 h 927100"/>
                    <a:gd name="connsiteX12" fmla="*/ 465139 w 1629569"/>
                    <a:gd name="connsiteY12" fmla="*/ 492125 h 927100"/>
                    <a:gd name="connsiteX13" fmla="*/ 474663 w 1629569"/>
                    <a:gd name="connsiteY13" fmla="*/ 287338 h 927100"/>
                    <a:gd name="connsiteX14" fmla="*/ 794 w 1629569"/>
                    <a:gd name="connsiteY14" fmla="*/ 282574 h 927100"/>
                    <a:gd name="connsiteX15" fmla="*/ 0 w 1629569"/>
                    <a:gd name="connsiteY15" fmla="*/ 0 h 927100"/>
                    <a:gd name="connsiteX16" fmla="*/ 788988 w 1629569"/>
                    <a:gd name="connsiteY16" fmla="*/ 5556 h 927100"/>
                    <a:gd name="connsiteX17" fmla="*/ 810419 w 1629569"/>
                    <a:gd name="connsiteY17" fmla="*/ 32544 h 927100"/>
                    <a:gd name="connsiteX18" fmla="*/ 846137 w 1629569"/>
                    <a:gd name="connsiteY18" fmla="*/ 15875 h 927100"/>
                    <a:gd name="connsiteX19" fmla="*/ 1562894 w 1629569"/>
                    <a:gd name="connsiteY19" fmla="*/ 425450 h 927100"/>
                    <a:gd name="connsiteX20" fmla="*/ 1544638 w 1629569"/>
                    <a:gd name="connsiteY20" fmla="*/ 711200 h 927100"/>
                    <a:gd name="connsiteX21" fmla="*/ 1629569 w 1629569"/>
                    <a:gd name="connsiteY21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362745 w 1629569"/>
                    <a:gd name="connsiteY5" fmla="*/ 830263 h 927100"/>
                    <a:gd name="connsiteX6" fmla="*/ 264318 w 1629569"/>
                    <a:gd name="connsiteY6" fmla="*/ 801687 h 927100"/>
                    <a:gd name="connsiteX7" fmla="*/ 284164 w 1629569"/>
                    <a:gd name="connsiteY7" fmla="*/ 742156 h 927100"/>
                    <a:gd name="connsiteX8" fmla="*/ 272258 w 1629569"/>
                    <a:gd name="connsiteY8" fmla="*/ 642144 h 927100"/>
                    <a:gd name="connsiteX9" fmla="*/ 324644 w 1629569"/>
                    <a:gd name="connsiteY9" fmla="*/ 588169 h 927100"/>
                    <a:gd name="connsiteX10" fmla="*/ 365126 w 1629569"/>
                    <a:gd name="connsiteY10" fmla="*/ 480219 h 927100"/>
                    <a:gd name="connsiteX11" fmla="*/ 429420 w 1629569"/>
                    <a:gd name="connsiteY11" fmla="*/ 461169 h 927100"/>
                    <a:gd name="connsiteX12" fmla="*/ 465139 w 1629569"/>
                    <a:gd name="connsiteY12" fmla="*/ 492125 h 927100"/>
                    <a:gd name="connsiteX13" fmla="*/ 474663 w 1629569"/>
                    <a:gd name="connsiteY13" fmla="*/ 287338 h 927100"/>
                    <a:gd name="connsiteX14" fmla="*/ 794 w 1629569"/>
                    <a:gd name="connsiteY14" fmla="*/ 282574 h 927100"/>
                    <a:gd name="connsiteX15" fmla="*/ 0 w 1629569"/>
                    <a:gd name="connsiteY15" fmla="*/ 0 h 927100"/>
                    <a:gd name="connsiteX16" fmla="*/ 788988 w 1629569"/>
                    <a:gd name="connsiteY16" fmla="*/ 5556 h 927100"/>
                    <a:gd name="connsiteX17" fmla="*/ 810419 w 1629569"/>
                    <a:gd name="connsiteY17" fmla="*/ 32544 h 927100"/>
                    <a:gd name="connsiteX18" fmla="*/ 846137 w 1629569"/>
                    <a:gd name="connsiteY18" fmla="*/ 15875 h 927100"/>
                    <a:gd name="connsiteX19" fmla="*/ 1562894 w 1629569"/>
                    <a:gd name="connsiteY19" fmla="*/ 425450 h 927100"/>
                    <a:gd name="connsiteX20" fmla="*/ 1544638 w 1629569"/>
                    <a:gd name="connsiteY20" fmla="*/ 711200 h 927100"/>
                    <a:gd name="connsiteX21" fmla="*/ 1629569 w 1629569"/>
                    <a:gd name="connsiteY21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522289 w 1629569"/>
                    <a:gd name="connsiteY5" fmla="*/ 851694 h 927100"/>
                    <a:gd name="connsiteX6" fmla="*/ 362745 w 1629569"/>
                    <a:gd name="connsiteY6" fmla="*/ 830263 h 927100"/>
                    <a:gd name="connsiteX7" fmla="*/ 264318 w 1629569"/>
                    <a:gd name="connsiteY7" fmla="*/ 801687 h 927100"/>
                    <a:gd name="connsiteX8" fmla="*/ 284164 w 1629569"/>
                    <a:gd name="connsiteY8" fmla="*/ 742156 h 927100"/>
                    <a:gd name="connsiteX9" fmla="*/ 272258 w 1629569"/>
                    <a:gd name="connsiteY9" fmla="*/ 642144 h 927100"/>
                    <a:gd name="connsiteX10" fmla="*/ 324644 w 1629569"/>
                    <a:gd name="connsiteY10" fmla="*/ 588169 h 927100"/>
                    <a:gd name="connsiteX11" fmla="*/ 365126 w 1629569"/>
                    <a:gd name="connsiteY11" fmla="*/ 480219 h 927100"/>
                    <a:gd name="connsiteX12" fmla="*/ 429420 w 1629569"/>
                    <a:gd name="connsiteY12" fmla="*/ 461169 h 927100"/>
                    <a:gd name="connsiteX13" fmla="*/ 465139 w 1629569"/>
                    <a:gd name="connsiteY13" fmla="*/ 492125 h 927100"/>
                    <a:gd name="connsiteX14" fmla="*/ 474663 w 1629569"/>
                    <a:gd name="connsiteY14" fmla="*/ 287338 h 927100"/>
                    <a:gd name="connsiteX15" fmla="*/ 794 w 1629569"/>
                    <a:gd name="connsiteY15" fmla="*/ 282574 h 927100"/>
                    <a:gd name="connsiteX16" fmla="*/ 0 w 1629569"/>
                    <a:gd name="connsiteY16" fmla="*/ 0 h 927100"/>
                    <a:gd name="connsiteX17" fmla="*/ 788988 w 1629569"/>
                    <a:gd name="connsiteY17" fmla="*/ 5556 h 927100"/>
                    <a:gd name="connsiteX18" fmla="*/ 810419 w 1629569"/>
                    <a:gd name="connsiteY18" fmla="*/ 32544 h 927100"/>
                    <a:gd name="connsiteX19" fmla="*/ 846137 w 1629569"/>
                    <a:gd name="connsiteY19" fmla="*/ 15875 h 927100"/>
                    <a:gd name="connsiteX20" fmla="*/ 1562894 w 1629569"/>
                    <a:gd name="connsiteY20" fmla="*/ 425450 h 927100"/>
                    <a:gd name="connsiteX21" fmla="*/ 1544638 w 1629569"/>
                    <a:gd name="connsiteY21" fmla="*/ 711200 h 927100"/>
                    <a:gd name="connsiteX22" fmla="*/ 1629569 w 1629569"/>
                    <a:gd name="connsiteY22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603251 w 1629569"/>
                    <a:gd name="connsiteY5" fmla="*/ 735012 h 927100"/>
                    <a:gd name="connsiteX6" fmla="*/ 362745 w 1629569"/>
                    <a:gd name="connsiteY6" fmla="*/ 830263 h 927100"/>
                    <a:gd name="connsiteX7" fmla="*/ 264318 w 1629569"/>
                    <a:gd name="connsiteY7" fmla="*/ 801687 h 927100"/>
                    <a:gd name="connsiteX8" fmla="*/ 284164 w 1629569"/>
                    <a:gd name="connsiteY8" fmla="*/ 742156 h 927100"/>
                    <a:gd name="connsiteX9" fmla="*/ 272258 w 1629569"/>
                    <a:gd name="connsiteY9" fmla="*/ 642144 h 927100"/>
                    <a:gd name="connsiteX10" fmla="*/ 324644 w 1629569"/>
                    <a:gd name="connsiteY10" fmla="*/ 588169 h 927100"/>
                    <a:gd name="connsiteX11" fmla="*/ 365126 w 1629569"/>
                    <a:gd name="connsiteY11" fmla="*/ 480219 h 927100"/>
                    <a:gd name="connsiteX12" fmla="*/ 429420 w 1629569"/>
                    <a:gd name="connsiteY12" fmla="*/ 461169 h 927100"/>
                    <a:gd name="connsiteX13" fmla="*/ 465139 w 1629569"/>
                    <a:gd name="connsiteY13" fmla="*/ 492125 h 927100"/>
                    <a:gd name="connsiteX14" fmla="*/ 474663 w 1629569"/>
                    <a:gd name="connsiteY14" fmla="*/ 287338 h 927100"/>
                    <a:gd name="connsiteX15" fmla="*/ 794 w 1629569"/>
                    <a:gd name="connsiteY15" fmla="*/ 282574 h 927100"/>
                    <a:gd name="connsiteX16" fmla="*/ 0 w 1629569"/>
                    <a:gd name="connsiteY16" fmla="*/ 0 h 927100"/>
                    <a:gd name="connsiteX17" fmla="*/ 788988 w 1629569"/>
                    <a:gd name="connsiteY17" fmla="*/ 5556 h 927100"/>
                    <a:gd name="connsiteX18" fmla="*/ 810419 w 1629569"/>
                    <a:gd name="connsiteY18" fmla="*/ 32544 h 927100"/>
                    <a:gd name="connsiteX19" fmla="*/ 846137 w 1629569"/>
                    <a:gd name="connsiteY19" fmla="*/ 15875 h 927100"/>
                    <a:gd name="connsiteX20" fmla="*/ 1562894 w 1629569"/>
                    <a:gd name="connsiteY20" fmla="*/ 425450 h 927100"/>
                    <a:gd name="connsiteX21" fmla="*/ 1544638 w 1629569"/>
                    <a:gd name="connsiteY21" fmla="*/ 711200 h 927100"/>
                    <a:gd name="connsiteX22" fmla="*/ 1629569 w 1629569"/>
                    <a:gd name="connsiteY22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758032 w 1629569"/>
                    <a:gd name="connsiteY5" fmla="*/ 789781 h 927100"/>
                    <a:gd name="connsiteX6" fmla="*/ 603251 w 1629569"/>
                    <a:gd name="connsiteY6" fmla="*/ 735012 h 927100"/>
                    <a:gd name="connsiteX7" fmla="*/ 362745 w 1629569"/>
                    <a:gd name="connsiteY7" fmla="*/ 830263 h 927100"/>
                    <a:gd name="connsiteX8" fmla="*/ 264318 w 1629569"/>
                    <a:gd name="connsiteY8" fmla="*/ 801687 h 927100"/>
                    <a:gd name="connsiteX9" fmla="*/ 284164 w 1629569"/>
                    <a:gd name="connsiteY9" fmla="*/ 742156 h 927100"/>
                    <a:gd name="connsiteX10" fmla="*/ 272258 w 1629569"/>
                    <a:gd name="connsiteY10" fmla="*/ 642144 h 927100"/>
                    <a:gd name="connsiteX11" fmla="*/ 324644 w 1629569"/>
                    <a:gd name="connsiteY11" fmla="*/ 588169 h 927100"/>
                    <a:gd name="connsiteX12" fmla="*/ 365126 w 1629569"/>
                    <a:gd name="connsiteY12" fmla="*/ 480219 h 927100"/>
                    <a:gd name="connsiteX13" fmla="*/ 429420 w 1629569"/>
                    <a:gd name="connsiteY13" fmla="*/ 461169 h 927100"/>
                    <a:gd name="connsiteX14" fmla="*/ 465139 w 1629569"/>
                    <a:gd name="connsiteY14" fmla="*/ 492125 h 927100"/>
                    <a:gd name="connsiteX15" fmla="*/ 474663 w 1629569"/>
                    <a:gd name="connsiteY15" fmla="*/ 287338 h 927100"/>
                    <a:gd name="connsiteX16" fmla="*/ 794 w 1629569"/>
                    <a:gd name="connsiteY16" fmla="*/ 282574 h 927100"/>
                    <a:gd name="connsiteX17" fmla="*/ 0 w 1629569"/>
                    <a:gd name="connsiteY17" fmla="*/ 0 h 927100"/>
                    <a:gd name="connsiteX18" fmla="*/ 788988 w 1629569"/>
                    <a:gd name="connsiteY18" fmla="*/ 5556 h 927100"/>
                    <a:gd name="connsiteX19" fmla="*/ 810419 w 1629569"/>
                    <a:gd name="connsiteY19" fmla="*/ 32544 h 927100"/>
                    <a:gd name="connsiteX20" fmla="*/ 846137 w 1629569"/>
                    <a:gd name="connsiteY20" fmla="*/ 15875 h 927100"/>
                    <a:gd name="connsiteX21" fmla="*/ 1562894 w 1629569"/>
                    <a:gd name="connsiteY21" fmla="*/ 425450 h 927100"/>
                    <a:gd name="connsiteX22" fmla="*/ 1544638 w 1629569"/>
                    <a:gd name="connsiteY22" fmla="*/ 711200 h 927100"/>
                    <a:gd name="connsiteX23" fmla="*/ 1629569 w 1629569"/>
                    <a:gd name="connsiteY23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734219 w 1629569"/>
                    <a:gd name="connsiteY5" fmla="*/ 742156 h 927100"/>
                    <a:gd name="connsiteX6" fmla="*/ 603251 w 1629569"/>
                    <a:gd name="connsiteY6" fmla="*/ 735012 h 927100"/>
                    <a:gd name="connsiteX7" fmla="*/ 362745 w 1629569"/>
                    <a:gd name="connsiteY7" fmla="*/ 830263 h 927100"/>
                    <a:gd name="connsiteX8" fmla="*/ 264318 w 1629569"/>
                    <a:gd name="connsiteY8" fmla="*/ 801687 h 927100"/>
                    <a:gd name="connsiteX9" fmla="*/ 284164 w 1629569"/>
                    <a:gd name="connsiteY9" fmla="*/ 742156 h 927100"/>
                    <a:gd name="connsiteX10" fmla="*/ 272258 w 1629569"/>
                    <a:gd name="connsiteY10" fmla="*/ 642144 h 927100"/>
                    <a:gd name="connsiteX11" fmla="*/ 324644 w 1629569"/>
                    <a:gd name="connsiteY11" fmla="*/ 588169 h 927100"/>
                    <a:gd name="connsiteX12" fmla="*/ 365126 w 1629569"/>
                    <a:gd name="connsiteY12" fmla="*/ 480219 h 927100"/>
                    <a:gd name="connsiteX13" fmla="*/ 429420 w 1629569"/>
                    <a:gd name="connsiteY13" fmla="*/ 461169 h 927100"/>
                    <a:gd name="connsiteX14" fmla="*/ 465139 w 1629569"/>
                    <a:gd name="connsiteY14" fmla="*/ 492125 h 927100"/>
                    <a:gd name="connsiteX15" fmla="*/ 474663 w 1629569"/>
                    <a:gd name="connsiteY15" fmla="*/ 287338 h 927100"/>
                    <a:gd name="connsiteX16" fmla="*/ 794 w 1629569"/>
                    <a:gd name="connsiteY16" fmla="*/ 282574 h 927100"/>
                    <a:gd name="connsiteX17" fmla="*/ 0 w 1629569"/>
                    <a:gd name="connsiteY17" fmla="*/ 0 h 927100"/>
                    <a:gd name="connsiteX18" fmla="*/ 788988 w 1629569"/>
                    <a:gd name="connsiteY18" fmla="*/ 5556 h 927100"/>
                    <a:gd name="connsiteX19" fmla="*/ 810419 w 1629569"/>
                    <a:gd name="connsiteY19" fmla="*/ 32544 h 927100"/>
                    <a:gd name="connsiteX20" fmla="*/ 846137 w 1629569"/>
                    <a:gd name="connsiteY20" fmla="*/ 15875 h 927100"/>
                    <a:gd name="connsiteX21" fmla="*/ 1562894 w 1629569"/>
                    <a:gd name="connsiteY21" fmla="*/ 425450 h 927100"/>
                    <a:gd name="connsiteX22" fmla="*/ 1544638 w 1629569"/>
                    <a:gd name="connsiteY22" fmla="*/ 711200 h 927100"/>
                    <a:gd name="connsiteX23" fmla="*/ 1629569 w 1629569"/>
                    <a:gd name="connsiteY23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734219 w 1629569"/>
                    <a:gd name="connsiteY5" fmla="*/ 742156 h 927100"/>
                    <a:gd name="connsiteX6" fmla="*/ 667545 w 1629569"/>
                    <a:gd name="connsiteY6" fmla="*/ 739775 h 927100"/>
                    <a:gd name="connsiteX7" fmla="*/ 603251 w 1629569"/>
                    <a:gd name="connsiteY7" fmla="*/ 735012 h 927100"/>
                    <a:gd name="connsiteX8" fmla="*/ 362745 w 1629569"/>
                    <a:gd name="connsiteY8" fmla="*/ 830263 h 927100"/>
                    <a:gd name="connsiteX9" fmla="*/ 264318 w 1629569"/>
                    <a:gd name="connsiteY9" fmla="*/ 801687 h 927100"/>
                    <a:gd name="connsiteX10" fmla="*/ 284164 w 1629569"/>
                    <a:gd name="connsiteY10" fmla="*/ 742156 h 927100"/>
                    <a:gd name="connsiteX11" fmla="*/ 272258 w 1629569"/>
                    <a:gd name="connsiteY11" fmla="*/ 642144 h 927100"/>
                    <a:gd name="connsiteX12" fmla="*/ 324644 w 1629569"/>
                    <a:gd name="connsiteY12" fmla="*/ 588169 h 927100"/>
                    <a:gd name="connsiteX13" fmla="*/ 365126 w 1629569"/>
                    <a:gd name="connsiteY13" fmla="*/ 480219 h 927100"/>
                    <a:gd name="connsiteX14" fmla="*/ 429420 w 1629569"/>
                    <a:gd name="connsiteY14" fmla="*/ 461169 h 927100"/>
                    <a:gd name="connsiteX15" fmla="*/ 465139 w 1629569"/>
                    <a:gd name="connsiteY15" fmla="*/ 492125 h 927100"/>
                    <a:gd name="connsiteX16" fmla="*/ 474663 w 1629569"/>
                    <a:gd name="connsiteY16" fmla="*/ 287338 h 927100"/>
                    <a:gd name="connsiteX17" fmla="*/ 794 w 1629569"/>
                    <a:gd name="connsiteY17" fmla="*/ 282574 h 927100"/>
                    <a:gd name="connsiteX18" fmla="*/ 0 w 1629569"/>
                    <a:gd name="connsiteY18" fmla="*/ 0 h 927100"/>
                    <a:gd name="connsiteX19" fmla="*/ 788988 w 1629569"/>
                    <a:gd name="connsiteY19" fmla="*/ 5556 h 927100"/>
                    <a:gd name="connsiteX20" fmla="*/ 810419 w 1629569"/>
                    <a:gd name="connsiteY20" fmla="*/ 32544 h 927100"/>
                    <a:gd name="connsiteX21" fmla="*/ 846137 w 1629569"/>
                    <a:gd name="connsiteY21" fmla="*/ 15875 h 927100"/>
                    <a:gd name="connsiteX22" fmla="*/ 1562894 w 1629569"/>
                    <a:gd name="connsiteY22" fmla="*/ 425450 h 927100"/>
                    <a:gd name="connsiteX23" fmla="*/ 1544638 w 1629569"/>
                    <a:gd name="connsiteY23" fmla="*/ 711200 h 927100"/>
                    <a:gd name="connsiteX24" fmla="*/ 1629569 w 1629569"/>
                    <a:gd name="connsiteY24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734219 w 1629569"/>
                    <a:gd name="connsiteY5" fmla="*/ 742156 h 927100"/>
                    <a:gd name="connsiteX6" fmla="*/ 688977 w 1629569"/>
                    <a:gd name="connsiteY6" fmla="*/ 749300 h 927100"/>
                    <a:gd name="connsiteX7" fmla="*/ 603251 w 1629569"/>
                    <a:gd name="connsiteY7" fmla="*/ 735012 h 927100"/>
                    <a:gd name="connsiteX8" fmla="*/ 362745 w 1629569"/>
                    <a:gd name="connsiteY8" fmla="*/ 830263 h 927100"/>
                    <a:gd name="connsiteX9" fmla="*/ 264318 w 1629569"/>
                    <a:gd name="connsiteY9" fmla="*/ 801687 h 927100"/>
                    <a:gd name="connsiteX10" fmla="*/ 284164 w 1629569"/>
                    <a:gd name="connsiteY10" fmla="*/ 742156 h 927100"/>
                    <a:gd name="connsiteX11" fmla="*/ 272258 w 1629569"/>
                    <a:gd name="connsiteY11" fmla="*/ 642144 h 927100"/>
                    <a:gd name="connsiteX12" fmla="*/ 324644 w 1629569"/>
                    <a:gd name="connsiteY12" fmla="*/ 588169 h 927100"/>
                    <a:gd name="connsiteX13" fmla="*/ 365126 w 1629569"/>
                    <a:gd name="connsiteY13" fmla="*/ 480219 h 927100"/>
                    <a:gd name="connsiteX14" fmla="*/ 429420 w 1629569"/>
                    <a:gd name="connsiteY14" fmla="*/ 461169 h 927100"/>
                    <a:gd name="connsiteX15" fmla="*/ 465139 w 1629569"/>
                    <a:gd name="connsiteY15" fmla="*/ 492125 h 927100"/>
                    <a:gd name="connsiteX16" fmla="*/ 474663 w 1629569"/>
                    <a:gd name="connsiteY16" fmla="*/ 287338 h 927100"/>
                    <a:gd name="connsiteX17" fmla="*/ 794 w 1629569"/>
                    <a:gd name="connsiteY17" fmla="*/ 282574 h 927100"/>
                    <a:gd name="connsiteX18" fmla="*/ 0 w 1629569"/>
                    <a:gd name="connsiteY18" fmla="*/ 0 h 927100"/>
                    <a:gd name="connsiteX19" fmla="*/ 788988 w 1629569"/>
                    <a:gd name="connsiteY19" fmla="*/ 5556 h 927100"/>
                    <a:gd name="connsiteX20" fmla="*/ 810419 w 1629569"/>
                    <a:gd name="connsiteY20" fmla="*/ 32544 h 927100"/>
                    <a:gd name="connsiteX21" fmla="*/ 846137 w 1629569"/>
                    <a:gd name="connsiteY21" fmla="*/ 15875 h 927100"/>
                    <a:gd name="connsiteX22" fmla="*/ 1562894 w 1629569"/>
                    <a:gd name="connsiteY22" fmla="*/ 425450 h 927100"/>
                    <a:gd name="connsiteX23" fmla="*/ 1544638 w 1629569"/>
                    <a:gd name="connsiteY23" fmla="*/ 711200 h 927100"/>
                    <a:gd name="connsiteX24" fmla="*/ 1629569 w 1629569"/>
                    <a:gd name="connsiteY24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922339 w 1629569"/>
                    <a:gd name="connsiteY5" fmla="*/ 823119 h 927100"/>
                    <a:gd name="connsiteX6" fmla="*/ 734219 w 1629569"/>
                    <a:gd name="connsiteY6" fmla="*/ 742156 h 927100"/>
                    <a:gd name="connsiteX7" fmla="*/ 688977 w 1629569"/>
                    <a:gd name="connsiteY7" fmla="*/ 749300 h 927100"/>
                    <a:gd name="connsiteX8" fmla="*/ 603251 w 1629569"/>
                    <a:gd name="connsiteY8" fmla="*/ 735012 h 927100"/>
                    <a:gd name="connsiteX9" fmla="*/ 362745 w 1629569"/>
                    <a:gd name="connsiteY9" fmla="*/ 830263 h 927100"/>
                    <a:gd name="connsiteX10" fmla="*/ 264318 w 1629569"/>
                    <a:gd name="connsiteY10" fmla="*/ 801687 h 927100"/>
                    <a:gd name="connsiteX11" fmla="*/ 284164 w 1629569"/>
                    <a:gd name="connsiteY11" fmla="*/ 742156 h 927100"/>
                    <a:gd name="connsiteX12" fmla="*/ 272258 w 1629569"/>
                    <a:gd name="connsiteY12" fmla="*/ 642144 h 927100"/>
                    <a:gd name="connsiteX13" fmla="*/ 324644 w 1629569"/>
                    <a:gd name="connsiteY13" fmla="*/ 588169 h 927100"/>
                    <a:gd name="connsiteX14" fmla="*/ 365126 w 1629569"/>
                    <a:gd name="connsiteY14" fmla="*/ 480219 h 927100"/>
                    <a:gd name="connsiteX15" fmla="*/ 429420 w 1629569"/>
                    <a:gd name="connsiteY15" fmla="*/ 461169 h 927100"/>
                    <a:gd name="connsiteX16" fmla="*/ 465139 w 1629569"/>
                    <a:gd name="connsiteY16" fmla="*/ 492125 h 927100"/>
                    <a:gd name="connsiteX17" fmla="*/ 474663 w 1629569"/>
                    <a:gd name="connsiteY17" fmla="*/ 287338 h 927100"/>
                    <a:gd name="connsiteX18" fmla="*/ 794 w 1629569"/>
                    <a:gd name="connsiteY18" fmla="*/ 282574 h 927100"/>
                    <a:gd name="connsiteX19" fmla="*/ 0 w 1629569"/>
                    <a:gd name="connsiteY19" fmla="*/ 0 h 927100"/>
                    <a:gd name="connsiteX20" fmla="*/ 788988 w 1629569"/>
                    <a:gd name="connsiteY20" fmla="*/ 5556 h 927100"/>
                    <a:gd name="connsiteX21" fmla="*/ 810419 w 1629569"/>
                    <a:gd name="connsiteY21" fmla="*/ 32544 h 927100"/>
                    <a:gd name="connsiteX22" fmla="*/ 846137 w 1629569"/>
                    <a:gd name="connsiteY22" fmla="*/ 15875 h 927100"/>
                    <a:gd name="connsiteX23" fmla="*/ 1562894 w 1629569"/>
                    <a:gd name="connsiteY23" fmla="*/ 425450 h 927100"/>
                    <a:gd name="connsiteX24" fmla="*/ 1544638 w 1629569"/>
                    <a:gd name="connsiteY24" fmla="*/ 711200 h 927100"/>
                    <a:gd name="connsiteX25" fmla="*/ 1629569 w 1629569"/>
                    <a:gd name="connsiteY25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767558 w 1629569"/>
                    <a:gd name="connsiteY5" fmla="*/ 739775 h 927100"/>
                    <a:gd name="connsiteX6" fmla="*/ 734219 w 1629569"/>
                    <a:gd name="connsiteY6" fmla="*/ 742156 h 927100"/>
                    <a:gd name="connsiteX7" fmla="*/ 688977 w 1629569"/>
                    <a:gd name="connsiteY7" fmla="*/ 749300 h 927100"/>
                    <a:gd name="connsiteX8" fmla="*/ 603251 w 1629569"/>
                    <a:gd name="connsiteY8" fmla="*/ 735012 h 927100"/>
                    <a:gd name="connsiteX9" fmla="*/ 362745 w 1629569"/>
                    <a:gd name="connsiteY9" fmla="*/ 830263 h 927100"/>
                    <a:gd name="connsiteX10" fmla="*/ 264318 w 1629569"/>
                    <a:gd name="connsiteY10" fmla="*/ 801687 h 927100"/>
                    <a:gd name="connsiteX11" fmla="*/ 284164 w 1629569"/>
                    <a:gd name="connsiteY11" fmla="*/ 742156 h 927100"/>
                    <a:gd name="connsiteX12" fmla="*/ 272258 w 1629569"/>
                    <a:gd name="connsiteY12" fmla="*/ 642144 h 927100"/>
                    <a:gd name="connsiteX13" fmla="*/ 324644 w 1629569"/>
                    <a:gd name="connsiteY13" fmla="*/ 588169 h 927100"/>
                    <a:gd name="connsiteX14" fmla="*/ 365126 w 1629569"/>
                    <a:gd name="connsiteY14" fmla="*/ 480219 h 927100"/>
                    <a:gd name="connsiteX15" fmla="*/ 429420 w 1629569"/>
                    <a:gd name="connsiteY15" fmla="*/ 461169 h 927100"/>
                    <a:gd name="connsiteX16" fmla="*/ 465139 w 1629569"/>
                    <a:gd name="connsiteY16" fmla="*/ 492125 h 927100"/>
                    <a:gd name="connsiteX17" fmla="*/ 474663 w 1629569"/>
                    <a:gd name="connsiteY17" fmla="*/ 287338 h 927100"/>
                    <a:gd name="connsiteX18" fmla="*/ 794 w 1629569"/>
                    <a:gd name="connsiteY18" fmla="*/ 282574 h 927100"/>
                    <a:gd name="connsiteX19" fmla="*/ 0 w 1629569"/>
                    <a:gd name="connsiteY19" fmla="*/ 0 h 927100"/>
                    <a:gd name="connsiteX20" fmla="*/ 788988 w 1629569"/>
                    <a:gd name="connsiteY20" fmla="*/ 5556 h 927100"/>
                    <a:gd name="connsiteX21" fmla="*/ 810419 w 1629569"/>
                    <a:gd name="connsiteY21" fmla="*/ 32544 h 927100"/>
                    <a:gd name="connsiteX22" fmla="*/ 846137 w 1629569"/>
                    <a:gd name="connsiteY22" fmla="*/ 15875 h 927100"/>
                    <a:gd name="connsiteX23" fmla="*/ 1562894 w 1629569"/>
                    <a:gd name="connsiteY23" fmla="*/ 425450 h 927100"/>
                    <a:gd name="connsiteX24" fmla="*/ 1544638 w 1629569"/>
                    <a:gd name="connsiteY24" fmla="*/ 711200 h 927100"/>
                    <a:gd name="connsiteX25" fmla="*/ 1629569 w 1629569"/>
                    <a:gd name="connsiteY25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834232 w 1629569"/>
                    <a:gd name="connsiteY5" fmla="*/ 768350 h 927100"/>
                    <a:gd name="connsiteX6" fmla="*/ 767558 w 1629569"/>
                    <a:gd name="connsiteY6" fmla="*/ 739775 h 927100"/>
                    <a:gd name="connsiteX7" fmla="*/ 734219 w 1629569"/>
                    <a:gd name="connsiteY7" fmla="*/ 742156 h 927100"/>
                    <a:gd name="connsiteX8" fmla="*/ 688977 w 1629569"/>
                    <a:gd name="connsiteY8" fmla="*/ 749300 h 927100"/>
                    <a:gd name="connsiteX9" fmla="*/ 603251 w 1629569"/>
                    <a:gd name="connsiteY9" fmla="*/ 735012 h 927100"/>
                    <a:gd name="connsiteX10" fmla="*/ 362745 w 1629569"/>
                    <a:gd name="connsiteY10" fmla="*/ 830263 h 927100"/>
                    <a:gd name="connsiteX11" fmla="*/ 264318 w 1629569"/>
                    <a:gd name="connsiteY11" fmla="*/ 801687 h 927100"/>
                    <a:gd name="connsiteX12" fmla="*/ 284164 w 1629569"/>
                    <a:gd name="connsiteY12" fmla="*/ 742156 h 927100"/>
                    <a:gd name="connsiteX13" fmla="*/ 272258 w 1629569"/>
                    <a:gd name="connsiteY13" fmla="*/ 642144 h 927100"/>
                    <a:gd name="connsiteX14" fmla="*/ 324644 w 1629569"/>
                    <a:gd name="connsiteY14" fmla="*/ 588169 h 927100"/>
                    <a:gd name="connsiteX15" fmla="*/ 365126 w 1629569"/>
                    <a:gd name="connsiteY15" fmla="*/ 480219 h 927100"/>
                    <a:gd name="connsiteX16" fmla="*/ 429420 w 1629569"/>
                    <a:gd name="connsiteY16" fmla="*/ 461169 h 927100"/>
                    <a:gd name="connsiteX17" fmla="*/ 465139 w 1629569"/>
                    <a:gd name="connsiteY17" fmla="*/ 492125 h 927100"/>
                    <a:gd name="connsiteX18" fmla="*/ 474663 w 1629569"/>
                    <a:gd name="connsiteY18" fmla="*/ 287338 h 927100"/>
                    <a:gd name="connsiteX19" fmla="*/ 794 w 1629569"/>
                    <a:gd name="connsiteY19" fmla="*/ 282574 h 927100"/>
                    <a:gd name="connsiteX20" fmla="*/ 0 w 1629569"/>
                    <a:gd name="connsiteY20" fmla="*/ 0 h 927100"/>
                    <a:gd name="connsiteX21" fmla="*/ 788988 w 1629569"/>
                    <a:gd name="connsiteY21" fmla="*/ 5556 h 927100"/>
                    <a:gd name="connsiteX22" fmla="*/ 810419 w 1629569"/>
                    <a:gd name="connsiteY22" fmla="*/ 32544 h 927100"/>
                    <a:gd name="connsiteX23" fmla="*/ 846137 w 1629569"/>
                    <a:gd name="connsiteY23" fmla="*/ 15875 h 927100"/>
                    <a:gd name="connsiteX24" fmla="*/ 1562894 w 1629569"/>
                    <a:gd name="connsiteY24" fmla="*/ 425450 h 927100"/>
                    <a:gd name="connsiteX25" fmla="*/ 1544638 w 1629569"/>
                    <a:gd name="connsiteY25" fmla="*/ 711200 h 927100"/>
                    <a:gd name="connsiteX26" fmla="*/ 1629569 w 1629569"/>
                    <a:gd name="connsiteY26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810420 w 1629569"/>
                    <a:gd name="connsiteY5" fmla="*/ 701675 h 927100"/>
                    <a:gd name="connsiteX6" fmla="*/ 767558 w 1629569"/>
                    <a:gd name="connsiteY6" fmla="*/ 739775 h 927100"/>
                    <a:gd name="connsiteX7" fmla="*/ 734219 w 1629569"/>
                    <a:gd name="connsiteY7" fmla="*/ 742156 h 927100"/>
                    <a:gd name="connsiteX8" fmla="*/ 688977 w 1629569"/>
                    <a:gd name="connsiteY8" fmla="*/ 749300 h 927100"/>
                    <a:gd name="connsiteX9" fmla="*/ 603251 w 1629569"/>
                    <a:gd name="connsiteY9" fmla="*/ 735012 h 927100"/>
                    <a:gd name="connsiteX10" fmla="*/ 362745 w 1629569"/>
                    <a:gd name="connsiteY10" fmla="*/ 830263 h 927100"/>
                    <a:gd name="connsiteX11" fmla="*/ 264318 w 1629569"/>
                    <a:gd name="connsiteY11" fmla="*/ 801687 h 927100"/>
                    <a:gd name="connsiteX12" fmla="*/ 284164 w 1629569"/>
                    <a:gd name="connsiteY12" fmla="*/ 742156 h 927100"/>
                    <a:gd name="connsiteX13" fmla="*/ 272258 w 1629569"/>
                    <a:gd name="connsiteY13" fmla="*/ 642144 h 927100"/>
                    <a:gd name="connsiteX14" fmla="*/ 324644 w 1629569"/>
                    <a:gd name="connsiteY14" fmla="*/ 588169 h 927100"/>
                    <a:gd name="connsiteX15" fmla="*/ 365126 w 1629569"/>
                    <a:gd name="connsiteY15" fmla="*/ 480219 h 927100"/>
                    <a:gd name="connsiteX16" fmla="*/ 429420 w 1629569"/>
                    <a:gd name="connsiteY16" fmla="*/ 461169 h 927100"/>
                    <a:gd name="connsiteX17" fmla="*/ 465139 w 1629569"/>
                    <a:gd name="connsiteY17" fmla="*/ 492125 h 927100"/>
                    <a:gd name="connsiteX18" fmla="*/ 474663 w 1629569"/>
                    <a:gd name="connsiteY18" fmla="*/ 287338 h 927100"/>
                    <a:gd name="connsiteX19" fmla="*/ 794 w 1629569"/>
                    <a:gd name="connsiteY19" fmla="*/ 282574 h 927100"/>
                    <a:gd name="connsiteX20" fmla="*/ 0 w 1629569"/>
                    <a:gd name="connsiteY20" fmla="*/ 0 h 927100"/>
                    <a:gd name="connsiteX21" fmla="*/ 788988 w 1629569"/>
                    <a:gd name="connsiteY21" fmla="*/ 5556 h 927100"/>
                    <a:gd name="connsiteX22" fmla="*/ 810419 w 1629569"/>
                    <a:gd name="connsiteY22" fmla="*/ 32544 h 927100"/>
                    <a:gd name="connsiteX23" fmla="*/ 846137 w 1629569"/>
                    <a:gd name="connsiteY23" fmla="*/ 15875 h 927100"/>
                    <a:gd name="connsiteX24" fmla="*/ 1562894 w 1629569"/>
                    <a:gd name="connsiteY24" fmla="*/ 425450 h 927100"/>
                    <a:gd name="connsiteX25" fmla="*/ 1544638 w 1629569"/>
                    <a:gd name="connsiteY25" fmla="*/ 711200 h 927100"/>
                    <a:gd name="connsiteX26" fmla="*/ 1629569 w 1629569"/>
                    <a:gd name="connsiteY26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1086645 w 1629569"/>
                    <a:gd name="connsiteY5" fmla="*/ 861219 h 927100"/>
                    <a:gd name="connsiteX6" fmla="*/ 810420 w 1629569"/>
                    <a:gd name="connsiteY6" fmla="*/ 701675 h 927100"/>
                    <a:gd name="connsiteX7" fmla="*/ 767558 w 1629569"/>
                    <a:gd name="connsiteY7" fmla="*/ 739775 h 927100"/>
                    <a:gd name="connsiteX8" fmla="*/ 734219 w 1629569"/>
                    <a:gd name="connsiteY8" fmla="*/ 742156 h 927100"/>
                    <a:gd name="connsiteX9" fmla="*/ 688977 w 1629569"/>
                    <a:gd name="connsiteY9" fmla="*/ 749300 h 927100"/>
                    <a:gd name="connsiteX10" fmla="*/ 603251 w 1629569"/>
                    <a:gd name="connsiteY10" fmla="*/ 735012 h 927100"/>
                    <a:gd name="connsiteX11" fmla="*/ 362745 w 1629569"/>
                    <a:gd name="connsiteY11" fmla="*/ 830263 h 927100"/>
                    <a:gd name="connsiteX12" fmla="*/ 264318 w 1629569"/>
                    <a:gd name="connsiteY12" fmla="*/ 801687 h 927100"/>
                    <a:gd name="connsiteX13" fmla="*/ 284164 w 1629569"/>
                    <a:gd name="connsiteY13" fmla="*/ 742156 h 927100"/>
                    <a:gd name="connsiteX14" fmla="*/ 272258 w 1629569"/>
                    <a:gd name="connsiteY14" fmla="*/ 642144 h 927100"/>
                    <a:gd name="connsiteX15" fmla="*/ 324644 w 1629569"/>
                    <a:gd name="connsiteY15" fmla="*/ 588169 h 927100"/>
                    <a:gd name="connsiteX16" fmla="*/ 365126 w 1629569"/>
                    <a:gd name="connsiteY16" fmla="*/ 480219 h 927100"/>
                    <a:gd name="connsiteX17" fmla="*/ 429420 w 1629569"/>
                    <a:gd name="connsiteY17" fmla="*/ 461169 h 927100"/>
                    <a:gd name="connsiteX18" fmla="*/ 465139 w 1629569"/>
                    <a:gd name="connsiteY18" fmla="*/ 492125 h 927100"/>
                    <a:gd name="connsiteX19" fmla="*/ 474663 w 1629569"/>
                    <a:gd name="connsiteY19" fmla="*/ 287338 h 927100"/>
                    <a:gd name="connsiteX20" fmla="*/ 794 w 1629569"/>
                    <a:gd name="connsiteY20" fmla="*/ 282574 h 927100"/>
                    <a:gd name="connsiteX21" fmla="*/ 0 w 1629569"/>
                    <a:gd name="connsiteY21" fmla="*/ 0 h 927100"/>
                    <a:gd name="connsiteX22" fmla="*/ 788988 w 1629569"/>
                    <a:gd name="connsiteY22" fmla="*/ 5556 h 927100"/>
                    <a:gd name="connsiteX23" fmla="*/ 810419 w 1629569"/>
                    <a:gd name="connsiteY23" fmla="*/ 32544 h 927100"/>
                    <a:gd name="connsiteX24" fmla="*/ 846137 w 1629569"/>
                    <a:gd name="connsiteY24" fmla="*/ 15875 h 927100"/>
                    <a:gd name="connsiteX25" fmla="*/ 1562894 w 1629569"/>
                    <a:gd name="connsiteY25" fmla="*/ 425450 h 927100"/>
                    <a:gd name="connsiteX26" fmla="*/ 1544638 w 1629569"/>
                    <a:gd name="connsiteY26" fmla="*/ 711200 h 927100"/>
                    <a:gd name="connsiteX27" fmla="*/ 1629569 w 1629569"/>
                    <a:gd name="connsiteY27" fmla="*/ 746125 h 927100"/>
                    <a:gd name="connsiteX0" fmla="*/ 1629569 w 1629569"/>
                    <a:gd name="connsiteY0" fmla="*/ 746125 h 1218406"/>
                    <a:gd name="connsiteX1" fmla="*/ 1596232 w 1629569"/>
                    <a:gd name="connsiteY1" fmla="*/ 849312 h 1218406"/>
                    <a:gd name="connsiteX2" fmla="*/ 1560514 w 1629569"/>
                    <a:gd name="connsiteY2" fmla="*/ 846932 h 1218406"/>
                    <a:gd name="connsiteX3" fmla="*/ 1536700 w 1629569"/>
                    <a:gd name="connsiteY3" fmla="*/ 927100 h 1218406"/>
                    <a:gd name="connsiteX4" fmla="*/ 1184275 w 1629569"/>
                    <a:gd name="connsiteY4" fmla="*/ 927100 h 1218406"/>
                    <a:gd name="connsiteX5" fmla="*/ 884239 w 1629569"/>
                    <a:gd name="connsiteY5" fmla="*/ 1218406 h 1218406"/>
                    <a:gd name="connsiteX6" fmla="*/ 810420 w 1629569"/>
                    <a:gd name="connsiteY6" fmla="*/ 701675 h 1218406"/>
                    <a:gd name="connsiteX7" fmla="*/ 767558 w 1629569"/>
                    <a:gd name="connsiteY7" fmla="*/ 739775 h 1218406"/>
                    <a:gd name="connsiteX8" fmla="*/ 734219 w 1629569"/>
                    <a:gd name="connsiteY8" fmla="*/ 742156 h 1218406"/>
                    <a:gd name="connsiteX9" fmla="*/ 688977 w 1629569"/>
                    <a:gd name="connsiteY9" fmla="*/ 749300 h 1218406"/>
                    <a:gd name="connsiteX10" fmla="*/ 603251 w 1629569"/>
                    <a:gd name="connsiteY10" fmla="*/ 735012 h 1218406"/>
                    <a:gd name="connsiteX11" fmla="*/ 362745 w 1629569"/>
                    <a:gd name="connsiteY11" fmla="*/ 830263 h 1218406"/>
                    <a:gd name="connsiteX12" fmla="*/ 264318 w 1629569"/>
                    <a:gd name="connsiteY12" fmla="*/ 801687 h 1218406"/>
                    <a:gd name="connsiteX13" fmla="*/ 284164 w 1629569"/>
                    <a:gd name="connsiteY13" fmla="*/ 742156 h 1218406"/>
                    <a:gd name="connsiteX14" fmla="*/ 272258 w 1629569"/>
                    <a:gd name="connsiteY14" fmla="*/ 642144 h 1218406"/>
                    <a:gd name="connsiteX15" fmla="*/ 324644 w 1629569"/>
                    <a:gd name="connsiteY15" fmla="*/ 588169 h 1218406"/>
                    <a:gd name="connsiteX16" fmla="*/ 365126 w 1629569"/>
                    <a:gd name="connsiteY16" fmla="*/ 480219 h 1218406"/>
                    <a:gd name="connsiteX17" fmla="*/ 429420 w 1629569"/>
                    <a:gd name="connsiteY17" fmla="*/ 461169 h 1218406"/>
                    <a:gd name="connsiteX18" fmla="*/ 465139 w 1629569"/>
                    <a:gd name="connsiteY18" fmla="*/ 492125 h 1218406"/>
                    <a:gd name="connsiteX19" fmla="*/ 474663 w 1629569"/>
                    <a:gd name="connsiteY19" fmla="*/ 287338 h 1218406"/>
                    <a:gd name="connsiteX20" fmla="*/ 794 w 1629569"/>
                    <a:gd name="connsiteY20" fmla="*/ 282574 h 1218406"/>
                    <a:gd name="connsiteX21" fmla="*/ 0 w 1629569"/>
                    <a:gd name="connsiteY21" fmla="*/ 0 h 1218406"/>
                    <a:gd name="connsiteX22" fmla="*/ 788988 w 1629569"/>
                    <a:gd name="connsiteY22" fmla="*/ 5556 h 1218406"/>
                    <a:gd name="connsiteX23" fmla="*/ 810419 w 1629569"/>
                    <a:gd name="connsiteY23" fmla="*/ 32544 h 1218406"/>
                    <a:gd name="connsiteX24" fmla="*/ 846137 w 1629569"/>
                    <a:gd name="connsiteY24" fmla="*/ 15875 h 1218406"/>
                    <a:gd name="connsiteX25" fmla="*/ 1562894 w 1629569"/>
                    <a:gd name="connsiteY25" fmla="*/ 425450 h 1218406"/>
                    <a:gd name="connsiteX26" fmla="*/ 1544638 w 1629569"/>
                    <a:gd name="connsiteY26" fmla="*/ 711200 h 1218406"/>
                    <a:gd name="connsiteX27" fmla="*/ 1629569 w 1629569"/>
                    <a:gd name="connsiteY27" fmla="*/ 746125 h 1218406"/>
                    <a:gd name="connsiteX0" fmla="*/ 1629569 w 1629569"/>
                    <a:gd name="connsiteY0" fmla="*/ 746125 h 1218406"/>
                    <a:gd name="connsiteX1" fmla="*/ 1596232 w 1629569"/>
                    <a:gd name="connsiteY1" fmla="*/ 849312 h 1218406"/>
                    <a:gd name="connsiteX2" fmla="*/ 1560514 w 1629569"/>
                    <a:gd name="connsiteY2" fmla="*/ 846932 h 1218406"/>
                    <a:gd name="connsiteX3" fmla="*/ 1536700 w 1629569"/>
                    <a:gd name="connsiteY3" fmla="*/ 927100 h 1218406"/>
                    <a:gd name="connsiteX4" fmla="*/ 1184275 w 1629569"/>
                    <a:gd name="connsiteY4" fmla="*/ 927100 h 1218406"/>
                    <a:gd name="connsiteX5" fmla="*/ 884239 w 1629569"/>
                    <a:gd name="connsiteY5" fmla="*/ 1218406 h 1218406"/>
                    <a:gd name="connsiteX6" fmla="*/ 841376 w 1629569"/>
                    <a:gd name="connsiteY6" fmla="*/ 923131 h 1218406"/>
                    <a:gd name="connsiteX7" fmla="*/ 810420 w 1629569"/>
                    <a:gd name="connsiteY7" fmla="*/ 701675 h 1218406"/>
                    <a:gd name="connsiteX8" fmla="*/ 767558 w 1629569"/>
                    <a:gd name="connsiteY8" fmla="*/ 739775 h 1218406"/>
                    <a:gd name="connsiteX9" fmla="*/ 734219 w 1629569"/>
                    <a:gd name="connsiteY9" fmla="*/ 742156 h 1218406"/>
                    <a:gd name="connsiteX10" fmla="*/ 688977 w 1629569"/>
                    <a:gd name="connsiteY10" fmla="*/ 749300 h 1218406"/>
                    <a:gd name="connsiteX11" fmla="*/ 603251 w 1629569"/>
                    <a:gd name="connsiteY11" fmla="*/ 735012 h 1218406"/>
                    <a:gd name="connsiteX12" fmla="*/ 362745 w 1629569"/>
                    <a:gd name="connsiteY12" fmla="*/ 830263 h 1218406"/>
                    <a:gd name="connsiteX13" fmla="*/ 264318 w 1629569"/>
                    <a:gd name="connsiteY13" fmla="*/ 801687 h 1218406"/>
                    <a:gd name="connsiteX14" fmla="*/ 284164 w 1629569"/>
                    <a:gd name="connsiteY14" fmla="*/ 742156 h 1218406"/>
                    <a:gd name="connsiteX15" fmla="*/ 272258 w 1629569"/>
                    <a:gd name="connsiteY15" fmla="*/ 642144 h 1218406"/>
                    <a:gd name="connsiteX16" fmla="*/ 324644 w 1629569"/>
                    <a:gd name="connsiteY16" fmla="*/ 588169 h 1218406"/>
                    <a:gd name="connsiteX17" fmla="*/ 365126 w 1629569"/>
                    <a:gd name="connsiteY17" fmla="*/ 480219 h 1218406"/>
                    <a:gd name="connsiteX18" fmla="*/ 429420 w 1629569"/>
                    <a:gd name="connsiteY18" fmla="*/ 461169 h 1218406"/>
                    <a:gd name="connsiteX19" fmla="*/ 465139 w 1629569"/>
                    <a:gd name="connsiteY19" fmla="*/ 492125 h 1218406"/>
                    <a:gd name="connsiteX20" fmla="*/ 474663 w 1629569"/>
                    <a:gd name="connsiteY20" fmla="*/ 287338 h 1218406"/>
                    <a:gd name="connsiteX21" fmla="*/ 794 w 1629569"/>
                    <a:gd name="connsiteY21" fmla="*/ 282574 h 1218406"/>
                    <a:gd name="connsiteX22" fmla="*/ 0 w 1629569"/>
                    <a:gd name="connsiteY22" fmla="*/ 0 h 1218406"/>
                    <a:gd name="connsiteX23" fmla="*/ 788988 w 1629569"/>
                    <a:gd name="connsiteY23" fmla="*/ 5556 h 1218406"/>
                    <a:gd name="connsiteX24" fmla="*/ 810419 w 1629569"/>
                    <a:gd name="connsiteY24" fmla="*/ 32544 h 1218406"/>
                    <a:gd name="connsiteX25" fmla="*/ 846137 w 1629569"/>
                    <a:gd name="connsiteY25" fmla="*/ 15875 h 1218406"/>
                    <a:gd name="connsiteX26" fmla="*/ 1562894 w 1629569"/>
                    <a:gd name="connsiteY26" fmla="*/ 425450 h 1218406"/>
                    <a:gd name="connsiteX27" fmla="*/ 1544638 w 1629569"/>
                    <a:gd name="connsiteY27" fmla="*/ 711200 h 1218406"/>
                    <a:gd name="connsiteX28" fmla="*/ 1629569 w 1629569"/>
                    <a:gd name="connsiteY28" fmla="*/ 746125 h 1218406"/>
                    <a:gd name="connsiteX0" fmla="*/ 1629569 w 1629569"/>
                    <a:gd name="connsiteY0" fmla="*/ 746125 h 1218406"/>
                    <a:gd name="connsiteX1" fmla="*/ 1596232 w 1629569"/>
                    <a:gd name="connsiteY1" fmla="*/ 849312 h 1218406"/>
                    <a:gd name="connsiteX2" fmla="*/ 1560514 w 1629569"/>
                    <a:gd name="connsiteY2" fmla="*/ 846932 h 1218406"/>
                    <a:gd name="connsiteX3" fmla="*/ 1536700 w 1629569"/>
                    <a:gd name="connsiteY3" fmla="*/ 927100 h 1218406"/>
                    <a:gd name="connsiteX4" fmla="*/ 1184275 w 1629569"/>
                    <a:gd name="connsiteY4" fmla="*/ 927100 h 1218406"/>
                    <a:gd name="connsiteX5" fmla="*/ 884239 w 1629569"/>
                    <a:gd name="connsiteY5" fmla="*/ 1218406 h 1218406"/>
                    <a:gd name="connsiteX6" fmla="*/ 841376 w 1629569"/>
                    <a:gd name="connsiteY6" fmla="*/ 754062 h 1218406"/>
                    <a:gd name="connsiteX7" fmla="*/ 810420 w 1629569"/>
                    <a:gd name="connsiteY7" fmla="*/ 701675 h 1218406"/>
                    <a:gd name="connsiteX8" fmla="*/ 767558 w 1629569"/>
                    <a:gd name="connsiteY8" fmla="*/ 739775 h 1218406"/>
                    <a:gd name="connsiteX9" fmla="*/ 734219 w 1629569"/>
                    <a:gd name="connsiteY9" fmla="*/ 742156 h 1218406"/>
                    <a:gd name="connsiteX10" fmla="*/ 688977 w 1629569"/>
                    <a:gd name="connsiteY10" fmla="*/ 749300 h 1218406"/>
                    <a:gd name="connsiteX11" fmla="*/ 603251 w 1629569"/>
                    <a:gd name="connsiteY11" fmla="*/ 735012 h 1218406"/>
                    <a:gd name="connsiteX12" fmla="*/ 362745 w 1629569"/>
                    <a:gd name="connsiteY12" fmla="*/ 830263 h 1218406"/>
                    <a:gd name="connsiteX13" fmla="*/ 264318 w 1629569"/>
                    <a:gd name="connsiteY13" fmla="*/ 801687 h 1218406"/>
                    <a:gd name="connsiteX14" fmla="*/ 284164 w 1629569"/>
                    <a:gd name="connsiteY14" fmla="*/ 742156 h 1218406"/>
                    <a:gd name="connsiteX15" fmla="*/ 272258 w 1629569"/>
                    <a:gd name="connsiteY15" fmla="*/ 642144 h 1218406"/>
                    <a:gd name="connsiteX16" fmla="*/ 324644 w 1629569"/>
                    <a:gd name="connsiteY16" fmla="*/ 588169 h 1218406"/>
                    <a:gd name="connsiteX17" fmla="*/ 365126 w 1629569"/>
                    <a:gd name="connsiteY17" fmla="*/ 480219 h 1218406"/>
                    <a:gd name="connsiteX18" fmla="*/ 429420 w 1629569"/>
                    <a:gd name="connsiteY18" fmla="*/ 461169 h 1218406"/>
                    <a:gd name="connsiteX19" fmla="*/ 465139 w 1629569"/>
                    <a:gd name="connsiteY19" fmla="*/ 492125 h 1218406"/>
                    <a:gd name="connsiteX20" fmla="*/ 474663 w 1629569"/>
                    <a:gd name="connsiteY20" fmla="*/ 287338 h 1218406"/>
                    <a:gd name="connsiteX21" fmla="*/ 794 w 1629569"/>
                    <a:gd name="connsiteY21" fmla="*/ 282574 h 1218406"/>
                    <a:gd name="connsiteX22" fmla="*/ 0 w 1629569"/>
                    <a:gd name="connsiteY22" fmla="*/ 0 h 1218406"/>
                    <a:gd name="connsiteX23" fmla="*/ 788988 w 1629569"/>
                    <a:gd name="connsiteY23" fmla="*/ 5556 h 1218406"/>
                    <a:gd name="connsiteX24" fmla="*/ 810419 w 1629569"/>
                    <a:gd name="connsiteY24" fmla="*/ 32544 h 1218406"/>
                    <a:gd name="connsiteX25" fmla="*/ 846137 w 1629569"/>
                    <a:gd name="connsiteY25" fmla="*/ 15875 h 1218406"/>
                    <a:gd name="connsiteX26" fmla="*/ 1562894 w 1629569"/>
                    <a:gd name="connsiteY26" fmla="*/ 425450 h 1218406"/>
                    <a:gd name="connsiteX27" fmla="*/ 1544638 w 1629569"/>
                    <a:gd name="connsiteY27" fmla="*/ 711200 h 1218406"/>
                    <a:gd name="connsiteX28" fmla="*/ 1629569 w 1629569"/>
                    <a:gd name="connsiteY28" fmla="*/ 746125 h 1218406"/>
                    <a:gd name="connsiteX0" fmla="*/ 1629569 w 1629569"/>
                    <a:gd name="connsiteY0" fmla="*/ 746125 h 1218406"/>
                    <a:gd name="connsiteX1" fmla="*/ 1596232 w 1629569"/>
                    <a:gd name="connsiteY1" fmla="*/ 849312 h 1218406"/>
                    <a:gd name="connsiteX2" fmla="*/ 1560514 w 1629569"/>
                    <a:gd name="connsiteY2" fmla="*/ 846932 h 1218406"/>
                    <a:gd name="connsiteX3" fmla="*/ 1536700 w 1629569"/>
                    <a:gd name="connsiteY3" fmla="*/ 927100 h 1218406"/>
                    <a:gd name="connsiteX4" fmla="*/ 1184275 w 1629569"/>
                    <a:gd name="connsiteY4" fmla="*/ 927100 h 1218406"/>
                    <a:gd name="connsiteX5" fmla="*/ 884239 w 1629569"/>
                    <a:gd name="connsiteY5" fmla="*/ 1218406 h 1218406"/>
                    <a:gd name="connsiteX6" fmla="*/ 846139 w 1629569"/>
                    <a:gd name="connsiteY6" fmla="*/ 868362 h 1218406"/>
                    <a:gd name="connsiteX7" fmla="*/ 841376 w 1629569"/>
                    <a:gd name="connsiteY7" fmla="*/ 754062 h 1218406"/>
                    <a:gd name="connsiteX8" fmla="*/ 810420 w 1629569"/>
                    <a:gd name="connsiteY8" fmla="*/ 701675 h 1218406"/>
                    <a:gd name="connsiteX9" fmla="*/ 767558 w 1629569"/>
                    <a:gd name="connsiteY9" fmla="*/ 739775 h 1218406"/>
                    <a:gd name="connsiteX10" fmla="*/ 734219 w 1629569"/>
                    <a:gd name="connsiteY10" fmla="*/ 742156 h 1218406"/>
                    <a:gd name="connsiteX11" fmla="*/ 688977 w 1629569"/>
                    <a:gd name="connsiteY11" fmla="*/ 749300 h 1218406"/>
                    <a:gd name="connsiteX12" fmla="*/ 603251 w 1629569"/>
                    <a:gd name="connsiteY12" fmla="*/ 735012 h 1218406"/>
                    <a:gd name="connsiteX13" fmla="*/ 362745 w 1629569"/>
                    <a:gd name="connsiteY13" fmla="*/ 830263 h 1218406"/>
                    <a:gd name="connsiteX14" fmla="*/ 264318 w 1629569"/>
                    <a:gd name="connsiteY14" fmla="*/ 801687 h 1218406"/>
                    <a:gd name="connsiteX15" fmla="*/ 284164 w 1629569"/>
                    <a:gd name="connsiteY15" fmla="*/ 742156 h 1218406"/>
                    <a:gd name="connsiteX16" fmla="*/ 272258 w 1629569"/>
                    <a:gd name="connsiteY16" fmla="*/ 642144 h 1218406"/>
                    <a:gd name="connsiteX17" fmla="*/ 324644 w 1629569"/>
                    <a:gd name="connsiteY17" fmla="*/ 588169 h 1218406"/>
                    <a:gd name="connsiteX18" fmla="*/ 365126 w 1629569"/>
                    <a:gd name="connsiteY18" fmla="*/ 480219 h 1218406"/>
                    <a:gd name="connsiteX19" fmla="*/ 429420 w 1629569"/>
                    <a:gd name="connsiteY19" fmla="*/ 461169 h 1218406"/>
                    <a:gd name="connsiteX20" fmla="*/ 465139 w 1629569"/>
                    <a:gd name="connsiteY20" fmla="*/ 492125 h 1218406"/>
                    <a:gd name="connsiteX21" fmla="*/ 474663 w 1629569"/>
                    <a:gd name="connsiteY21" fmla="*/ 287338 h 1218406"/>
                    <a:gd name="connsiteX22" fmla="*/ 794 w 1629569"/>
                    <a:gd name="connsiteY22" fmla="*/ 282574 h 1218406"/>
                    <a:gd name="connsiteX23" fmla="*/ 0 w 1629569"/>
                    <a:gd name="connsiteY23" fmla="*/ 0 h 1218406"/>
                    <a:gd name="connsiteX24" fmla="*/ 788988 w 1629569"/>
                    <a:gd name="connsiteY24" fmla="*/ 5556 h 1218406"/>
                    <a:gd name="connsiteX25" fmla="*/ 810419 w 1629569"/>
                    <a:gd name="connsiteY25" fmla="*/ 32544 h 1218406"/>
                    <a:gd name="connsiteX26" fmla="*/ 846137 w 1629569"/>
                    <a:gd name="connsiteY26" fmla="*/ 15875 h 1218406"/>
                    <a:gd name="connsiteX27" fmla="*/ 1562894 w 1629569"/>
                    <a:gd name="connsiteY27" fmla="*/ 425450 h 1218406"/>
                    <a:gd name="connsiteX28" fmla="*/ 1544638 w 1629569"/>
                    <a:gd name="connsiteY28" fmla="*/ 711200 h 1218406"/>
                    <a:gd name="connsiteX29" fmla="*/ 1629569 w 1629569"/>
                    <a:gd name="connsiteY29" fmla="*/ 746125 h 1218406"/>
                    <a:gd name="connsiteX0" fmla="*/ 1629569 w 1629569"/>
                    <a:gd name="connsiteY0" fmla="*/ 746125 h 1218406"/>
                    <a:gd name="connsiteX1" fmla="*/ 1596232 w 1629569"/>
                    <a:gd name="connsiteY1" fmla="*/ 849312 h 1218406"/>
                    <a:gd name="connsiteX2" fmla="*/ 1560514 w 1629569"/>
                    <a:gd name="connsiteY2" fmla="*/ 846932 h 1218406"/>
                    <a:gd name="connsiteX3" fmla="*/ 1536700 w 1629569"/>
                    <a:gd name="connsiteY3" fmla="*/ 927100 h 1218406"/>
                    <a:gd name="connsiteX4" fmla="*/ 1184275 w 1629569"/>
                    <a:gd name="connsiteY4" fmla="*/ 927100 h 1218406"/>
                    <a:gd name="connsiteX5" fmla="*/ 884239 w 1629569"/>
                    <a:gd name="connsiteY5" fmla="*/ 1218406 h 1218406"/>
                    <a:gd name="connsiteX6" fmla="*/ 896145 w 1629569"/>
                    <a:gd name="connsiteY6" fmla="*/ 751681 h 1218406"/>
                    <a:gd name="connsiteX7" fmla="*/ 841376 w 1629569"/>
                    <a:gd name="connsiteY7" fmla="*/ 754062 h 1218406"/>
                    <a:gd name="connsiteX8" fmla="*/ 810420 w 1629569"/>
                    <a:gd name="connsiteY8" fmla="*/ 701675 h 1218406"/>
                    <a:gd name="connsiteX9" fmla="*/ 767558 w 1629569"/>
                    <a:gd name="connsiteY9" fmla="*/ 739775 h 1218406"/>
                    <a:gd name="connsiteX10" fmla="*/ 734219 w 1629569"/>
                    <a:gd name="connsiteY10" fmla="*/ 742156 h 1218406"/>
                    <a:gd name="connsiteX11" fmla="*/ 688977 w 1629569"/>
                    <a:gd name="connsiteY11" fmla="*/ 749300 h 1218406"/>
                    <a:gd name="connsiteX12" fmla="*/ 603251 w 1629569"/>
                    <a:gd name="connsiteY12" fmla="*/ 735012 h 1218406"/>
                    <a:gd name="connsiteX13" fmla="*/ 362745 w 1629569"/>
                    <a:gd name="connsiteY13" fmla="*/ 830263 h 1218406"/>
                    <a:gd name="connsiteX14" fmla="*/ 264318 w 1629569"/>
                    <a:gd name="connsiteY14" fmla="*/ 801687 h 1218406"/>
                    <a:gd name="connsiteX15" fmla="*/ 284164 w 1629569"/>
                    <a:gd name="connsiteY15" fmla="*/ 742156 h 1218406"/>
                    <a:gd name="connsiteX16" fmla="*/ 272258 w 1629569"/>
                    <a:gd name="connsiteY16" fmla="*/ 642144 h 1218406"/>
                    <a:gd name="connsiteX17" fmla="*/ 324644 w 1629569"/>
                    <a:gd name="connsiteY17" fmla="*/ 588169 h 1218406"/>
                    <a:gd name="connsiteX18" fmla="*/ 365126 w 1629569"/>
                    <a:gd name="connsiteY18" fmla="*/ 480219 h 1218406"/>
                    <a:gd name="connsiteX19" fmla="*/ 429420 w 1629569"/>
                    <a:gd name="connsiteY19" fmla="*/ 461169 h 1218406"/>
                    <a:gd name="connsiteX20" fmla="*/ 465139 w 1629569"/>
                    <a:gd name="connsiteY20" fmla="*/ 492125 h 1218406"/>
                    <a:gd name="connsiteX21" fmla="*/ 474663 w 1629569"/>
                    <a:gd name="connsiteY21" fmla="*/ 287338 h 1218406"/>
                    <a:gd name="connsiteX22" fmla="*/ 794 w 1629569"/>
                    <a:gd name="connsiteY22" fmla="*/ 282574 h 1218406"/>
                    <a:gd name="connsiteX23" fmla="*/ 0 w 1629569"/>
                    <a:gd name="connsiteY23" fmla="*/ 0 h 1218406"/>
                    <a:gd name="connsiteX24" fmla="*/ 788988 w 1629569"/>
                    <a:gd name="connsiteY24" fmla="*/ 5556 h 1218406"/>
                    <a:gd name="connsiteX25" fmla="*/ 810419 w 1629569"/>
                    <a:gd name="connsiteY25" fmla="*/ 32544 h 1218406"/>
                    <a:gd name="connsiteX26" fmla="*/ 846137 w 1629569"/>
                    <a:gd name="connsiteY26" fmla="*/ 15875 h 1218406"/>
                    <a:gd name="connsiteX27" fmla="*/ 1562894 w 1629569"/>
                    <a:gd name="connsiteY27" fmla="*/ 425450 h 1218406"/>
                    <a:gd name="connsiteX28" fmla="*/ 1544638 w 1629569"/>
                    <a:gd name="connsiteY28" fmla="*/ 711200 h 1218406"/>
                    <a:gd name="connsiteX29" fmla="*/ 1629569 w 1629569"/>
                    <a:gd name="connsiteY29" fmla="*/ 746125 h 1218406"/>
                    <a:gd name="connsiteX0" fmla="*/ 1629569 w 1629569"/>
                    <a:gd name="connsiteY0" fmla="*/ 746125 h 1218406"/>
                    <a:gd name="connsiteX1" fmla="*/ 1596232 w 1629569"/>
                    <a:gd name="connsiteY1" fmla="*/ 849312 h 1218406"/>
                    <a:gd name="connsiteX2" fmla="*/ 1560514 w 1629569"/>
                    <a:gd name="connsiteY2" fmla="*/ 846932 h 1218406"/>
                    <a:gd name="connsiteX3" fmla="*/ 1536700 w 1629569"/>
                    <a:gd name="connsiteY3" fmla="*/ 927100 h 1218406"/>
                    <a:gd name="connsiteX4" fmla="*/ 1184275 w 1629569"/>
                    <a:gd name="connsiteY4" fmla="*/ 927100 h 1218406"/>
                    <a:gd name="connsiteX5" fmla="*/ 884239 w 1629569"/>
                    <a:gd name="connsiteY5" fmla="*/ 1218406 h 1218406"/>
                    <a:gd name="connsiteX6" fmla="*/ 893764 w 1629569"/>
                    <a:gd name="connsiteY6" fmla="*/ 982662 h 1218406"/>
                    <a:gd name="connsiteX7" fmla="*/ 896145 w 1629569"/>
                    <a:gd name="connsiteY7" fmla="*/ 751681 h 1218406"/>
                    <a:gd name="connsiteX8" fmla="*/ 841376 w 1629569"/>
                    <a:gd name="connsiteY8" fmla="*/ 754062 h 1218406"/>
                    <a:gd name="connsiteX9" fmla="*/ 810420 w 1629569"/>
                    <a:gd name="connsiteY9" fmla="*/ 701675 h 1218406"/>
                    <a:gd name="connsiteX10" fmla="*/ 767558 w 1629569"/>
                    <a:gd name="connsiteY10" fmla="*/ 739775 h 1218406"/>
                    <a:gd name="connsiteX11" fmla="*/ 734219 w 1629569"/>
                    <a:gd name="connsiteY11" fmla="*/ 742156 h 1218406"/>
                    <a:gd name="connsiteX12" fmla="*/ 688977 w 1629569"/>
                    <a:gd name="connsiteY12" fmla="*/ 749300 h 1218406"/>
                    <a:gd name="connsiteX13" fmla="*/ 603251 w 1629569"/>
                    <a:gd name="connsiteY13" fmla="*/ 735012 h 1218406"/>
                    <a:gd name="connsiteX14" fmla="*/ 362745 w 1629569"/>
                    <a:gd name="connsiteY14" fmla="*/ 830263 h 1218406"/>
                    <a:gd name="connsiteX15" fmla="*/ 264318 w 1629569"/>
                    <a:gd name="connsiteY15" fmla="*/ 801687 h 1218406"/>
                    <a:gd name="connsiteX16" fmla="*/ 284164 w 1629569"/>
                    <a:gd name="connsiteY16" fmla="*/ 742156 h 1218406"/>
                    <a:gd name="connsiteX17" fmla="*/ 272258 w 1629569"/>
                    <a:gd name="connsiteY17" fmla="*/ 642144 h 1218406"/>
                    <a:gd name="connsiteX18" fmla="*/ 324644 w 1629569"/>
                    <a:gd name="connsiteY18" fmla="*/ 588169 h 1218406"/>
                    <a:gd name="connsiteX19" fmla="*/ 365126 w 1629569"/>
                    <a:gd name="connsiteY19" fmla="*/ 480219 h 1218406"/>
                    <a:gd name="connsiteX20" fmla="*/ 429420 w 1629569"/>
                    <a:gd name="connsiteY20" fmla="*/ 461169 h 1218406"/>
                    <a:gd name="connsiteX21" fmla="*/ 465139 w 1629569"/>
                    <a:gd name="connsiteY21" fmla="*/ 492125 h 1218406"/>
                    <a:gd name="connsiteX22" fmla="*/ 474663 w 1629569"/>
                    <a:gd name="connsiteY22" fmla="*/ 287338 h 1218406"/>
                    <a:gd name="connsiteX23" fmla="*/ 794 w 1629569"/>
                    <a:gd name="connsiteY23" fmla="*/ 282574 h 1218406"/>
                    <a:gd name="connsiteX24" fmla="*/ 0 w 1629569"/>
                    <a:gd name="connsiteY24" fmla="*/ 0 h 1218406"/>
                    <a:gd name="connsiteX25" fmla="*/ 788988 w 1629569"/>
                    <a:gd name="connsiteY25" fmla="*/ 5556 h 1218406"/>
                    <a:gd name="connsiteX26" fmla="*/ 810419 w 1629569"/>
                    <a:gd name="connsiteY26" fmla="*/ 32544 h 1218406"/>
                    <a:gd name="connsiteX27" fmla="*/ 846137 w 1629569"/>
                    <a:gd name="connsiteY27" fmla="*/ 15875 h 1218406"/>
                    <a:gd name="connsiteX28" fmla="*/ 1562894 w 1629569"/>
                    <a:gd name="connsiteY28" fmla="*/ 425450 h 1218406"/>
                    <a:gd name="connsiteX29" fmla="*/ 1544638 w 1629569"/>
                    <a:gd name="connsiteY29" fmla="*/ 711200 h 1218406"/>
                    <a:gd name="connsiteX30" fmla="*/ 1629569 w 1629569"/>
                    <a:gd name="connsiteY30" fmla="*/ 746125 h 1218406"/>
                    <a:gd name="connsiteX0" fmla="*/ 1629569 w 1629569"/>
                    <a:gd name="connsiteY0" fmla="*/ 746125 h 1218406"/>
                    <a:gd name="connsiteX1" fmla="*/ 1596232 w 1629569"/>
                    <a:gd name="connsiteY1" fmla="*/ 849312 h 1218406"/>
                    <a:gd name="connsiteX2" fmla="*/ 1560514 w 1629569"/>
                    <a:gd name="connsiteY2" fmla="*/ 846932 h 1218406"/>
                    <a:gd name="connsiteX3" fmla="*/ 1536700 w 1629569"/>
                    <a:gd name="connsiteY3" fmla="*/ 927100 h 1218406"/>
                    <a:gd name="connsiteX4" fmla="*/ 1184275 w 1629569"/>
                    <a:gd name="connsiteY4" fmla="*/ 927100 h 1218406"/>
                    <a:gd name="connsiteX5" fmla="*/ 884239 w 1629569"/>
                    <a:gd name="connsiteY5" fmla="*/ 1218406 h 1218406"/>
                    <a:gd name="connsiteX6" fmla="*/ 984252 w 1629569"/>
                    <a:gd name="connsiteY6" fmla="*/ 1001712 h 1218406"/>
                    <a:gd name="connsiteX7" fmla="*/ 896145 w 1629569"/>
                    <a:gd name="connsiteY7" fmla="*/ 751681 h 1218406"/>
                    <a:gd name="connsiteX8" fmla="*/ 841376 w 1629569"/>
                    <a:gd name="connsiteY8" fmla="*/ 754062 h 1218406"/>
                    <a:gd name="connsiteX9" fmla="*/ 810420 w 1629569"/>
                    <a:gd name="connsiteY9" fmla="*/ 701675 h 1218406"/>
                    <a:gd name="connsiteX10" fmla="*/ 767558 w 1629569"/>
                    <a:gd name="connsiteY10" fmla="*/ 739775 h 1218406"/>
                    <a:gd name="connsiteX11" fmla="*/ 734219 w 1629569"/>
                    <a:gd name="connsiteY11" fmla="*/ 742156 h 1218406"/>
                    <a:gd name="connsiteX12" fmla="*/ 688977 w 1629569"/>
                    <a:gd name="connsiteY12" fmla="*/ 749300 h 1218406"/>
                    <a:gd name="connsiteX13" fmla="*/ 603251 w 1629569"/>
                    <a:gd name="connsiteY13" fmla="*/ 735012 h 1218406"/>
                    <a:gd name="connsiteX14" fmla="*/ 362745 w 1629569"/>
                    <a:gd name="connsiteY14" fmla="*/ 830263 h 1218406"/>
                    <a:gd name="connsiteX15" fmla="*/ 264318 w 1629569"/>
                    <a:gd name="connsiteY15" fmla="*/ 801687 h 1218406"/>
                    <a:gd name="connsiteX16" fmla="*/ 284164 w 1629569"/>
                    <a:gd name="connsiteY16" fmla="*/ 742156 h 1218406"/>
                    <a:gd name="connsiteX17" fmla="*/ 272258 w 1629569"/>
                    <a:gd name="connsiteY17" fmla="*/ 642144 h 1218406"/>
                    <a:gd name="connsiteX18" fmla="*/ 324644 w 1629569"/>
                    <a:gd name="connsiteY18" fmla="*/ 588169 h 1218406"/>
                    <a:gd name="connsiteX19" fmla="*/ 365126 w 1629569"/>
                    <a:gd name="connsiteY19" fmla="*/ 480219 h 1218406"/>
                    <a:gd name="connsiteX20" fmla="*/ 429420 w 1629569"/>
                    <a:gd name="connsiteY20" fmla="*/ 461169 h 1218406"/>
                    <a:gd name="connsiteX21" fmla="*/ 465139 w 1629569"/>
                    <a:gd name="connsiteY21" fmla="*/ 492125 h 1218406"/>
                    <a:gd name="connsiteX22" fmla="*/ 474663 w 1629569"/>
                    <a:gd name="connsiteY22" fmla="*/ 287338 h 1218406"/>
                    <a:gd name="connsiteX23" fmla="*/ 794 w 1629569"/>
                    <a:gd name="connsiteY23" fmla="*/ 282574 h 1218406"/>
                    <a:gd name="connsiteX24" fmla="*/ 0 w 1629569"/>
                    <a:gd name="connsiteY24" fmla="*/ 0 h 1218406"/>
                    <a:gd name="connsiteX25" fmla="*/ 788988 w 1629569"/>
                    <a:gd name="connsiteY25" fmla="*/ 5556 h 1218406"/>
                    <a:gd name="connsiteX26" fmla="*/ 810419 w 1629569"/>
                    <a:gd name="connsiteY26" fmla="*/ 32544 h 1218406"/>
                    <a:gd name="connsiteX27" fmla="*/ 846137 w 1629569"/>
                    <a:gd name="connsiteY27" fmla="*/ 15875 h 1218406"/>
                    <a:gd name="connsiteX28" fmla="*/ 1562894 w 1629569"/>
                    <a:gd name="connsiteY28" fmla="*/ 425450 h 1218406"/>
                    <a:gd name="connsiteX29" fmla="*/ 1544638 w 1629569"/>
                    <a:gd name="connsiteY29" fmla="*/ 711200 h 1218406"/>
                    <a:gd name="connsiteX30" fmla="*/ 1629569 w 1629569"/>
                    <a:gd name="connsiteY30" fmla="*/ 746125 h 1218406"/>
                    <a:gd name="connsiteX0" fmla="*/ 1629569 w 1629569"/>
                    <a:gd name="connsiteY0" fmla="*/ 746125 h 1218406"/>
                    <a:gd name="connsiteX1" fmla="*/ 1596232 w 1629569"/>
                    <a:gd name="connsiteY1" fmla="*/ 849312 h 1218406"/>
                    <a:gd name="connsiteX2" fmla="*/ 1560514 w 1629569"/>
                    <a:gd name="connsiteY2" fmla="*/ 846932 h 1218406"/>
                    <a:gd name="connsiteX3" fmla="*/ 1536700 w 1629569"/>
                    <a:gd name="connsiteY3" fmla="*/ 927100 h 1218406"/>
                    <a:gd name="connsiteX4" fmla="*/ 1184275 w 1629569"/>
                    <a:gd name="connsiteY4" fmla="*/ 927100 h 1218406"/>
                    <a:gd name="connsiteX5" fmla="*/ 884239 w 1629569"/>
                    <a:gd name="connsiteY5" fmla="*/ 1218406 h 1218406"/>
                    <a:gd name="connsiteX6" fmla="*/ 984252 w 1629569"/>
                    <a:gd name="connsiteY6" fmla="*/ 1001712 h 1218406"/>
                    <a:gd name="connsiteX7" fmla="*/ 896145 w 1629569"/>
                    <a:gd name="connsiteY7" fmla="*/ 751681 h 1218406"/>
                    <a:gd name="connsiteX8" fmla="*/ 841376 w 1629569"/>
                    <a:gd name="connsiteY8" fmla="*/ 754062 h 1218406"/>
                    <a:gd name="connsiteX9" fmla="*/ 810420 w 1629569"/>
                    <a:gd name="connsiteY9" fmla="*/ 701675 h 1218406"/>
                    <a:gd name="connsiteX10" fmla="*/ 767558 w 1629569"/>
                    <a:gd name="connsiteY10" fmla="*/ 739775 h 1218406"/>
                    <a:gd name="connsiteX11" fmla="*/ 734219 w 1629569"/>
                    <a:gd name="connsiteY11" fmla="*/ 742156 h 1218406"/>
                    <a:gd name="connsiteX12" fmla="*/ 688977 w 1629569"/>
                    <a:gd name="connsiteY12" fmla="*/ 749300 h 1218406"/>
                    <a:gd name="connsiteX13" fmla="*/ 603251 w 1629569"/>
                    <a:gd name="connsiteY13" fmla="*/ 735012 h 1218406"/>
                    <a:gd name="connsiteX14" fmla="*/ 362745 w 1629569"/>
                    <a:gd name="connsiteY14" fmla="*/ 830263 h 1218406"/>
                    <a:gd name="connsiteX15" fmla="*/ 264318 w 1629569"/>
                    <a:gd name="connsiteY15" fmla="*/ 801687 h 1218406"/>
                    <a:gd name="connsiteX16" fmla="*/ 284164 w 1629569"/>
                    <a:gd name="connsiteY16" fmla="*/ 742156 h 1218406"/>
                    <a:gd name="connsiteX17" fmla="*/ 272258 w 1629569"/>
                    <a:gd name="connsiteY17" fmla="*/ 642144 h 1218406"/>
                    <a:gd name="connsiteX18" fmla="*/ 324644 w 1629569"/>
                    <a:gd name="connsiteY18" fmla="*/ 588169 h 1218406"/>
                    <a:gd name="connsiteX19" fmla="*/ 365126 w 1629569"/>
                    <a:gd name="connsiteY19" fmla="*/ 480219 h 1218406"/>
                    <a:gd name="connsiteX20" fmla="*/ 429420 w 1629569"/>
                    <a:gd name="connsiteY20" fmla="*/ 461169 h 1218406"/>
                    <a:gd name="connsiteX21" fmla="*/ 465139 w 1629569"/>
                    <a:gd name="connsiteY21" fmla="*/ 492125 h 1218406"/>
                    <a:gd name="connsiteX22" fmla="*/ 474663 w 1629569"/>
                    <a:gd name="connsiteY22" fmla="*/ 287338 h 1218406"/>
                    <a:gd name="connsiteX23" fmla="*/ 794 w 1629569"/>
                    <a:gd name="connsiteY23" fmla="*/ 282574 h 1218406"/>
                    <a:gd name="connsiteX24" fmla="*/ 0 w 1629569"/>
                    <a:gd name="connsiteY24" fmla="*/ 0 h 1218406"/>
                    <a:gd name="connsiteX25" fmla="*/ 788988 w 1629569"/>
                    <a:gd name="connsiteY25" fmla="*/ 5556 h 1218406"/>
                    <a:gd name="connsiteX26" fmla="*/ 810419 w 1629569"/>
                    <a:gd name="connsiteY26" fmla="*/ 32544 h 1218406"/>
                    <a:gd name="connsiteX27" fmla="*/ 846137 w 1629569"/>
                    <a:gd name="connsiteY27" fmla="*/ 15875 h 1218406"/>
                    <a:gd name="connsiteX28" fmla="*/ 1562894 w 1629569"/>
                    <a:gd name="connsiteY28" fmla="*/ 425450 h 1218406"/>
                    <a:gd name="connsiteX29" fmla="*/ 1544638 w 1629569"/>
                    <a:gd name="connsiteY29" fmla="*/ 711200 h 1218406"/>
                    <a:gd name="connsiteX30" fmla="*/ 1629569 w 1629569"/>
                    <a:gd name="connsiteY30" fmla="*/ 746125 h 1218406"/>
                    <a:gd name="connsiteX0" fmla="*/ 1629569 w 1629569"/>
                    <a:gd name="connsiteY0" fmla="*/ 746125 h 1218406"/>
                    <a:gd name="connsiteX1" fmla="*/ 1596232 w 1629569"/>
                    <a:gd name="connsiteY1" fmla="*/ 849312 h 1218406"/>
                    <a:gd name="connsiteX2" fmla="*/ 1560514 w 1629569"/>
                    <a:gd name="connsiteY2" fmla="*/ 846932 h 1218406"/>
                    <a:gd name="connsiteX3" fmla="*/ 1536700 w 1629569"/>
                    <a:gd name="connsiteY3" fmla="*/ 927100 h 1218406"/>
                    <a:gd name="connsiteX4" fmla="*/ 1184275 w 1629569"/>
                    <a:gd name="connsiteY4" fmla="*/ 927100 h 1218406"/>
                    <a:gd name="connsiteX5" fmla="*/ 884239 w 1629569"/>
                    <a:gd name="connsiteY5" fmla="*/ 1218406 h 1218406"/>
                    <a:gd name="connsiteX6" fmla="*/ 972346 w 1629569"/>
                    <a:gd name="connsiteY6" fmla="*/ 775494 h 1218406"/>
                    <a:gd name="connsiteX7" fmla="*/ 896145 w 1629569"/>
                    <a:gd name="connsiteY7" fmla="*/ 751681 h 1218406"/>
                    <a:gd name="connsiteX8" fmla="*/ 841376 w 1629569"/>
                    <a:gd name="connsiteY8" fmla="*/ 754062 h 1218406"/>
                    <a:gd name="connsiteX9" fmla="*/ 810420 w 1629569"/>
                    <a:gd name="connsiteY9" fmla="*/ 701675 h 1218406"/>
                    <a:gd name="connsiteX10" fmla="*/ 767558 w 1629569"/>
                    <a:gd name="connsiteY10" fmla="*/ 739775 h 1218406"/>
                    <a:gd name="connsiteX11" fmla="*/ 734219 w 1629569"/>
                    <a:gd name="connsiteY11" fmla="*/ 742156 h 1218406"/>
                    <a:gd name="connsiteX12" fmla="*/ 688977 w 1629569"/>
                    <a:gd name="connsiteY12" fmla="*/ 749300 h 1218406"/>
                    <a:gd name="connsiteX13" fmla="*/ 603251 w 1629569"/>
                    <a:gd name="connsiteY13" fmla="*/ 735012 h 1218406"/>
                    <a:gd name="connsiteX14" fmla="*/ 362745 w 1629569"/>
                    <a:gd name="connsiteY14" fmla="*/ 830263 h 1218406"/>
                    <a:gd name="connsiteX15" fmla="*/ 264318 w 1629569"/>
                    <a:gd name="connsiteY15" fmla="*/ 801687 h 1218406"/>
                    <a:gd name="connsiteX16" fmla="*/ 284164 w 1629569"/>
                    <a:gd name="connsiteY16" fmla="*/ 742156 h 1218406"/>
                    <a:gd name="connsiteX17" fmla="*/ 272258 w 1629569"/>
                    <a:gd name="connsiteY17" fmla="*/ 642144 h 1218406"/>
                    <a:gd name="connsiteX18" fmla="*/ 324644 w 1629569"/>
                    <a:gd name="connsiteY18" fmla="*/ 588169 h 1218406"/>
                    <a:gd name="connsiteX19" fmla="*/ 365126 w 1629569"/>
                    <a:gd name="connsiteY19" fmla="*/ 480219 h 1218406"/>
                    <a:gd name="connsiteX20" fmla="*/ 429420 w 1629569"/>
                    <a:gd name="connsiteY20" fmla="*/ 461169 h 1218406"/>
                    <a:gd name="connsiteX21" fmla="*/ 465139 w 1629569"/>
                    <a:gd name="connsiteY21" fmla="*/ 492125 h 1218406"/>
                    <a:gd name="connsiteX22" fmla="*/ 474663 w 1629569"/>
                    <a:gd name="connsiteY22" fmla="*/ 287338 h 1218406"/>
                    <a:gd name="connsiteX23" fmla="*/ 794 w 1629569"/>
                    <a:gd name="connsiteY23" fmla="*/ 282574 h 1218406"/>
                    <a:gd name="connsiteX24" fmla="*/ 0 w 1629569"/>
                    <a:gd name="connsiteY24" fmla="*/ 0 h 1218406"/>
                    <a:gd name="connsiteX25" fmla="*/ 788988 w 1629569"/>
                    <a:gd name="connsiteY25" fmla="*/ 5556 h 1218406"/>
                    <a:gd name="connsiteX26" fmla="*/ 810419 w 1629569"/>
                    <a:gd name="connsiteY26" fmla="*/ 32544 h 1218406"/>
                    <a:gd name="connsiteX27" fmla="*/ 846137 w 1629569"/>
                    <a:gd name="connsiteY27" fmla="*/ 15875 h 1218406"/>
                    <a:gd name="connsiteX28" fmla="*/ 1562894 w 1629569"/>
                    <a:gd name="connsiteY28" fmla="*/ 425450 h 1218406"/>
                    <a:gd name="connsiteX29" fmla="*/ 1544638 w 1629569"/>
                    <a:gd name="connsiteY29" fmla="*/ 711200 h 1218406"/>
                    <a:gd name="connsiteX30" fmla="*/ 1629569 w 1629569"/>
                    <a:gd name="connsiteY30" fmla="*/ 746125 h 1218406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1119983 w 1629569"/>
                    <a:gd name="connsiteY5" fmla="*/ 896937 h 927100"/>
                    <a:gd name="connsiteX6" fmla="*/ 972346 w 1629569"/>
                    <a:gd name="connsiteY6" fmla="*/ 775494 h 927100"/>
                    <a:gd name="connsiteX7" fmla="*/ 896145 w 1629569"/>
                    <a:gd name="connsiteY7" fmla="*/ 751681 h 927100"/>
                    <a:gd name="connsiteX8" fmla="*/ 841376 w 1629569"/>
                    <a:gd name="connsiteY8" fmla="*/ 754062 h 927100"/>
                    <a:gd name="connsiteX9" fmla="*/ 810420 w 1629569"/>
                    <a:gd name="connsiteY9" fmla="*/ 701675 h 927100"/>
                    <a:gd name="connsiteX10" fmla="*/ 767558 w 1629569"/>
                    <a:gd name="connsiteY10" fmla="*/ 739775 h 927100"/>
                    <a:gd name="connsiteX11" fmla="*/ 734219 w 1629569"/>
                    <a:gd name="connsiteY11" fmla="*/ 742156 h 927100"/>
                    <a:gd name="connsiteX12" fmla="*/ 688977 w 1629569"/>
                    <a:gd name="connsiteY12" fmla="*/ 749300 h 927100"/>
                    <a:gd name="connsiteX13" fmla="*/ 603251 w 1629569"/>
                    <a:gd name="connsiteY13" fmla="*/ 735012 h 927100"/>
                    <a:gd name="connsiteX14" fmla="*/ 362745 w 1629569"/>
                    <a:gd name="connsiteY14" fmla="*/ 830263 h 927100"/>
                    <a:gd name="connsiteX15" fmla="*/ 264318 w 1629569"/>
                    <a:gd name="connsiteY15" fmla="*/ 801687 h 927100"/>
                    <a:gd name="connsiteX16" fmla="*/ 284164 w 1629569"/>
                    <a:gd name="connsiteY16" fmla="*/ 742156 h 927100"/>
                    <a:gd name="connsiteX17" fmla="*/ 272258 w 1629569"/>
                    <a:gd name="connsiteY17" fmla="*/ 642144 h 927100"/>
                    <a:gd name="connsiteX18" fmla="*/ 324644 w 1629569"/>
                    <a:gd name="connsiteY18" fmla="*/ 588169 h 927100"/>
                    <a:gd name="connsiteX19" fmla="*/ 365126 w 1629569"/>
                    <a:gd name="connsiteY19" fmla="*/ 480219 h 927100"/>
                    <a:gd name="connsiteX20" fmla="*/ 429420 w 1629569"/>
                    <a:gd name="connsiteY20" fmla="*/ 461169 h 927100"/>
                    <a:gd name="connsiteX21" fmla="*/ 465139 w 1629569"/>
                    <a:gd name="connsiteY21" fmla="*/ 492125 h 927100"/>
                    <a:gd name="connsiteX22" fmla="*/ 474663 w 1629569"/>
                    <a:gd name="connsiteY22" fmla="*/ 287338 h 927100"/>
                    <a:gd name="connsiteX23" fmla="*/ 794 w 1629569"/>
                    <a:gd name="connsiteY23" fmla="*/ 282574 h 927100"/>
                    <a:gd name="connsiteX24" fmla="*/ 0 w 1629569"/>
                    <a:gd name="connsiteY24" fmla="*/ 0 h 927100"/>
                    <a:gd name="connsiteX25" fmla="*/ 788988 w 1629569"/>
                    <a:gd name="connsiteY25" fmla="*/ 5556 h 927100"/>
                    <a:gd name="connsiteX26" fmla="*/ 810419 w 1629569"/>
                    <a:gd name="connsiteY26" fmla="*/ 32544 h 927100"/>
                    <a:gd name="connsiteX27" fmla="*/ 846137 w 1629569"/>
                    <a:gd name="connsiteY27" fmla="*/ 15875 h 927100"/>
                    <a:gd name="connsiteX28" fmla="*/ 1562894 w 1629569"/>
                    <a:gd name="connsiteY28" fmla="*/ 425450 h 927100"/>
                    <a:gd name="connsiteX29" fmla="*/ 1544638 w 1629569"/>
                    <a:gd name="connsiteY29" fmla="*/ 711200 h 927100"/>
                    <a:gd name="connsiteX30" fmla="*/ 1629569 w 1629569"/>
                    <a:gd name="connsiteY30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1119983 w 1629569"/>
                    <a:gd name="connsiteY5" fmla="*/ 896937 h 927100"/>
                    <a:gd name="connsiteX6" fmla="*/ 1096170 w 1629569"/>
                    <a:gd name="connsiteY6" fmla="*/ 875506 h 927100"/>
                    <a:gd name="connsiteX7" fmla="*/ 972346 w 1629569"/>
                    <a:gd name="connsiteY7" fmla="*/ 775494 h 927100"/>
                    <a:gd name="connsiteX8" fmla="*/ 896145 w 1629569"/>
                    <a:gd name="connsiteY8" fmla="*/ 751681 h 927100"/>
                    <a:gd name="connsiteX9" fmla="*/ 841376 w 1629569"/>
                    <a:gd name="connsiteY9" fmla="*/ 754062 h 927100"/>
                    <a:gd name="connsiteX10" fmla="*/ 810420 w 1629569"/>
                    <a:gd name="connsiteY10" fmla="*/ 701675 h 927100"/>
                    <a:gd name="connsiteX11" fmla="*/ 767558 w 1629569"/>
                    <a:gd name="connsiteY11" fmla="*/ 739775 h 927100"/>
                    <a:gd name="connsiteX12" fmla="*/ 734219 w 1629569"/>
                    <a:gd name="connsiteY12" fmla="*/ 742156 h 927100"/>
                    <a:gd name="connsiteX13" fmla="*/ 688977 w 1629569"/>
                    <a:gd name="connsiteY13" fmla="*/ 749300 h 927100"/>
                    <a:gd name="connsiteX14" fmla="*/ 603251 w 1629569"/>
                    <a:gd name="connsiteY14" fmla="*/ 735012 h 927100"/>
                    <a:gd name="connsiteX15" fmla="*/ 362745 w 1629569"/>
                    <a:gd name="connsiteY15" fmla="*/ 830263 h 927100"/>
                    <a:gd name="connsiteX16" fmla="*/ 264318 w 1629569"/>
                    <a:gd name="connsiteY16" fmla="*/ 801687 h 927100"/>
                    <a:gd name="connsiteX17" fmla="*/ 284164 w 1629569"/>
                    <a:gd name="connsiteY17" fmla="*/ 742156 h 927100"/>
                    <a:gd name="connsiteX18" fmla="*/ 272258 w 1629569"/>
                    <a:gd name="connsiteY18" fmla="*/ 642144 h 927100"/>
                    <a:gd name="connsiteX19" fmla="*/ 324644 w 1629569"/>
                    <a:gd name="connsiteY19" fmla="*/ 588169 h 927100"/>
                    <a:gd name="connsiteX20" fmla="*/ 365126 w 1629569"/>
                    <a:gd name="connsiteY20" fmla="*/ 480219 h 927100"/>
                    <a:gd name="connsiteX21" fmla="*/ 429420 w 1629569"/>
                    <a:gd name="connsiteY21" fmla="*/ 461169 h 927100"/>
                    <a:gd name="connsiteX22" fmla="*/ 465139 w 1629569"/>
                    <a:gd name="connsiteY22" fmla="*/ 492125 h 927100"/>
                    <a:gd name="connsiteX23" fmla="*/ 474663 w 1629569"/>
                    <a:gd name="connsiteY23" fmla="*/ 287338 h 927100"/>
                    <a:gd name="connsiteX24" fmla="*/ 794 w 1629569"/>
                    <a:gd name="connsiteY24" fmla="*/ 282574 h 927100"/>
                    <a:gd name="connsiteX25" fmla="*/ 0 w 1629569"/>
                    <a:gd name="connsiteY25" fmla="*/ 0 h 927100"/>
                    <a:gd name="connsiteX26" fmla="*/ 788988 w 1629569"/>
                    <a:gd name="connsiteY26" fmla="*/ 5556 h 927100"/>
                    <a:gd name="connsiteX27" fmla="*/ 810419 w 1629569"/>
                    <a:gd name="connsiteY27" fmla="*/ 32544 h 927100"/>
                    <a:gd name="connsiteX28" fmla="*/ 846137 w 1629569"/>
                    <a:gd name="connsiteY28" fmla="*/ 15875 h 927100"/>
                    <a:gd name="connsiteX29" fmla="*/ 1562894 w 1629569"/>
                    <a:gd name="connsiteY29" fmla="*/ 425450 h 927100"/>
                    <a:gd name="connsiteX30" fmla="*/ 1544638 w 1629569"/>
                    <a:gd name="connsiteY30" fmla="*/ 711200 h 927100"/>
                    <a:gd name="connsiteX31" fmla="*/ 1629569 w 1629569"/>
                    <a:gd name="connsiteY31" fmla="*/ 746125 h 927100"/>
                    <a:gd name="connsiteX0" fmla="*/ 1629569 w 1629569"/>
                    <a:gd name="connsiteY0" fmla="*/ 746125 h 1108869"/>
                    <a:gd name="connsiteX1" fmla="*/ 1596232 w 1629569"/>
                    <a:gd name="connsiteY1" fmla="*/ 849312 h 1108869"/>
                    <a:gd name="connsiteX2" fmla="*/ 1560514 w 1629569"/>
                    <a:gd name="connsiteY2" fmla="*/ 846932 h 1108869"/>
                    <a:gd name="connsiteX3" fmla="*/ 1536700 w 1629569"/>
                    <a:gd name="connsiteY3" fmla="*/ 927100 h 1108869"/>
                    <a:gd name="connsiteX4" fmla="*/ 1184275 w 1629569"/>
                    <a:gd name="connsiteY4" fmla="*/ 927100 h 1108869"/>
                    <a:gd name="connsiteX5" fmla="*/ 1119983 w 1629569"/>
                    <a:gd name="connsiteY5" fmla="*/ 896937 h 1108869"/>
                    <a:gd name="connsiteX6" fmla="*/ 867570 w 1629569"/>
                    <a:gd name="connsiteY6" fmla="*/ 1108869 h 1108869"/>
                    <a:gd name="connsiteX7" fmla="*/ 972346 w 1629569"/>
                    <a:gd name="connsiteY7" fmla="*/ 775494 h 1108869"/>
                    <a:gd name="connsiteX8" fmla="*/ 896145 w 1629569"/>
                    <a:gd name="connsiteY8" fmla="*/ 751681 h 1108869"/>
                    <a:gd name="connsiteX9" fmla="*/ 841376 w 1629569"/>
                    <a:gd name="connsiteY9" fmla="*/ 754062 h 1108869"/>
                    <a:gd name="connsiteX10" fmla="*/ 810420 w 1629569"/>
                    <a:gd name="connsiteY10" fmla="*/ 701675 h 1108869"/>
                    <a:gd name="connsiteX11" fmla="*/ 767558 w 1629569"/>
                    <a:gd name="connsiteY11" fmla="*/ 739775 h 1108869"/>
                    <a:gd name="connsiteX12" fmla="*/ 734219 w 1629569"/>
                    <a:gd name="connsiteY12" fmla="*/ 742156 h 1108869"/>
                    <a:gd name="connsiteX13" fmla="*/ 688977 w 1629569"/>
                    <a:gd name="connsiteY13" fmla="*/ 749300 h 1108869"/>
                    <a:gd name="connsiteX14" fmla="*/ 603251 w 1629569"/>
                    <a:gd name="connsiteY14" fmla="*/ 735012 h 1108869"/>
                    <a:gd name="connsiteX15" fmla="*/ 362745 w 1629569"/>
                    <a:gd name="connsiteY15" fmla="*/ 830263 h 1108869"/>
                    <a:gd name="connsiteX16" fmla="*/ 264318 w 1629569"/>
                    <a:gd name="connsiteY16" fmla="*/ 801687 h 1108869"/>
                    <a:gd name="connsiteX17" fmla="*/ 284164 w 1629569"/>
                    <a:gd name="connsiteY17" fmla="*/ 742156 h 1108869"/>
                    <a:gd name="connsiteX18" fmla="*/ 272258 w 1629569"/>
                    <a:gd name="connsiteY18" fmla="*/ 642144 h 1108869"/>
                    <a:gd name="connsiteX19" fmla="*/ 324644 w 1629569"/>
                    <a:gd name="connsiteY19" fmla="*/ 588169 h 1108869"/>
                    <a:gd name="connsiteX20" fmla="*/ 365126 w 1629569"/>
                    <a:gd name="connsiteY20" fmla="*/ 480219 h 1108869"/>
                    <a:gd name="connsiteX21" fmla="*/ 429420 w 1629569"/>
                    <a:gd name="connsiteY21" fmla="*/ 461169 h 1108869"/>
                    <a:gd name="connsiteX22" fmla="*/ 465139 w 1629569"/>
                    <a:gd name="connsiteY22" fmla="*/ 492125 h 1108869"/>
                    <a:gd name="connsiteX23" fmla="*/ 474663 w 1629569"/>
                    <a:gd name="connsiteY23" fmla="*/ 287338 h 1108869"/>
                    <a:gd name="connsiteX24" fmla="*/ 794 w 1629569"/>
                    <a:gd name="connsiteY24" fmla="*/ 282574 h 1108869"/>
                    <a:gd name="connsiteX25" fmla="*/ 0 w 1629569"/>
                    <a:gd name="connsiteY25" fmla="*/ 0 h 1108869"/>
                    <a:gd name="connsiteX26" fmla="*/ 788988 w 1629569"/>
                    <a:gd name="connsiteY26" fmla="*/ 5556 h 1108869"/>
                    <a:gd name="connsiteX27" fmla="*/ 810419 w 1629569"/>
                    <a:gd name="connsiteY27" fmla="*/ 32544 h 1108869"/>
                    <a:gd name="connsiteX28" fmla="*/ 846137 w 1629569"/>
                    <a:gd name="connsiteY28" fmla="*/ 15875 h 1108869"/>
                    <a:gd name="connsiteX29" fmla="*/ 1562894 w 1629569"/>
                    <a:gd name="connsiteY29" fmla="*/ 425450 h 1108869"/>
                    <a:gd name="connsiteX30" fmla="*/ 1544638 w 1629569"/>
                    <a:gd name="connsiteY30" fmla="*/ 711200 h 1108869"/>
                    <a:gd name="connsiteX31" fmla="*/ 1629569 w 1629569"/>
                    <a:gd name="connsiteY31" fmla="*/ 746125 h 1108869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1119983 w 1629569"/>
                    <a:gd name="connsiteY5" fmla="*/ 896937 h 927100"/>
                    <a:gd name="connsiteX6" fmla="*/ 1093789 w 1629569"/>
                    <a:gd name="connsiteY6" fmla="*/ 899319 h 927100"/>
                    <a:gd name="connsiteX7" fmla="*/ 972346 w 1629569"/>
                    <a:gd name="connsiteY7" fmla="*/ 775494 h 927100"/>
                    <a:gd name="connsiteX8" fmla="*/ 896145 w 1629569"/>
                    <a:gd name="connsiteY8" fmla="*/ 751681 h 927100"/>
                    <a:gd name="connsiteX9" fmla="*/ 841376 w 1629569"/>
                    <a:gd name="connsiteY9" fmla="*/ 754062 h 927100"/>
                    <a:gd name="connsiteX10" fmla="*/ 810420 w 1629569"/>
                    <a:gd name="connsiteY10" fmla="*/ 701675 h 927100"/>
                    <a:gd name="connsiteX11" fmla="*/ 767558 w 1629569"/>
                    <a:gd name="connsiteY11" fmla="*/ 739775 h 927100"/>
                    <a:gd name="connsiteX12" fmla="*/ 734219 w 1629569"/>
                    <a:gd name="connsiteY12" fmla="*/ 742156 h 927100"/>
                    <a:gd name="connsiteX13" fmla="*/ 688977 w 1629569"/>
                    <a:gd name="connsiteY13" fmla="*/ 749300 h 927100"/>
                    <a:gd name="connsiteX14" fmla="*/ 603251 w 1629569"/>
                    <a:gd name="connsiteY14" fmla="*/ 735012 h 927100"/>
                    <a:gd name="connsiteX15" fmla="*/ 362745 w 1629569"/>
                    <a:gd name="connsiteY15" fmla="*/ 830263 h 927100"/>
                    <a:gd name="connsiteX16" fmla="*/ 264318 w 1629569"/>
                    <a:gd name="connsiteY16" fmla="*/ 801687 h 927100"/>
                    <a:gd name="connsiteX17" fmla="*/ 284164 w 1629569"/>
                    <a:gd name="connsiteY17" fmla="*/ 742156 h 927100"/>
                    <a:gd name="connsiteX18" fmla="*/ 272258 w 1629569"/>
                    <a:gd name="connsiteY18" fmla="*/ 642144 h 927100"/>
                    <a:gd name="connsiteX19" fmla="*/ 324644 w 1629569"/>
                    <a:gd name="connsiteY19" fmla="*/ 588169 h 927100"/>
                    <a:gd name="connsiteX20" fmla="*/ 365126 w 1629569"/>
                    <a:gd name="connsiteY20" fmla="*/ 480219 h 927100"/>
                    <a:gd name="connsiteX21" fmla="*/ 429420 w 1629569"/>
                    <a:gd name="connsiteY21" fmla="*/ 461169 h 927100"/>
                    <a:gd name="connsiteX22" fmla="*/ 465139 w 1629569"/>
                    <a:gd name="connsiteY22" fmla="*/ 492125 h 927100"/>
                    <a:gd name="connsiteX23" fmla="*/ 474663 w 1629569"/>
                    <a:gd name="connsiteY23" fmla="*/ 287338 h 927100"/>
                    <a:gd name="connsiteX24" fmla="*/ 794 w 1629569"/>
                    <a:gd name="connsiteY24" fmla="*/ 282574 h 927100"/>
                    <a:gd name="connsiteX25" fmla="*/ 0 w 1629569"/>
                    <a:gd name="connsiteY25" fmla="*/ 0 h 927100"/>
                    <a:gd name="connsiteX26" fmla="*/ 788988 w 1629569"/>
                    <a:gd name="connsiteY26" fmla="*/ 5556 h 927100"/>
                    <a:gd name="connsiteX27" fmla="*/ 810419 w 1629569"/>
                    <a:gd name="connsiteY27" fmla="*/ 32544 h 927100"/>
                    <a:gd name="connsiteX28" fmla="*/ 846137 w 1629569"/>
                    <a:gd name="connsiteY28" fmla="*/ 15875 h 927100"/>
                    <a:gd name="connsiteX29" fmla="*/ 1562894 w 1629569"/>
                    <a:gd name="connsiteY29" fmla="*/ 425450 h 927100"/>
                    <a:gd name="connsiteX30" fmla="*/ 1544638 w 1629569"/>
                    <a:gd name="connsiteY30" fmla="*/ 711200 h 927100"/>
                    <a:gd name="connsiteX31" fmla="*/ 1629569 w 1629569"/>
                    <a:gd name="connsiteY31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1119983 w 1629569"/>
                    <a:gd name="connsiteY5" fmla="*/ 896937 h 927100"/>
                    <a:gd name="connsiteX6" fmla="*/ 1093789 w 1629569"/>
                    <a:gd name="connsiteY6" fmla="*/ 899319 h 927100"/>
                    <a:gd name="connsiteX7" fmla="*/ 1039020 w 1629569"/>
                    <a:gd name="connsiteY7" fmla="*/ 835025 h 927100"/>
                    <a:gd name="connsiteX8" fmla="*/ 972346 w 1629569"/>
                    <a:gd name="connsiteY8" fmla="*/ 775494 h 927100"/>
                    <a:gd name="connsiteX9" fmla="*/ 896145 w 1629569"/>
                    <a:gd name="connsiteY9" fmla="*/ 751681 h 927100"/>
                    <a:gd name="connsiteX10" fmla="*/ 841376 w 1629569"/>
                    <a:gd name="connsiteY10" fmla="*/ 754062 h 927100"/>
                    <a:gd name="connsiteX11" fmla="*/ 810420 w 1629569"/>
                    <a:gd name="connsiteY11" fmla="*/ 701675 h 927100"/>
                    <a:gd name="connsiteX12" fmla="*/ 767558 w 1629569"/>
                    <a:gd name="connsiteY12" fmla="*/ 739775 h 927100"/>
                    <a:gd name="connsiteX13" fmla="*/ 734219 w 1629569"/>
                    <a:gd name="connsiteY13" fmla="*/ 742156 h 927100"/>
                    <a:gd name="connsiteX14" fmla="*/ 688977 w 1629569"/>
                    <a:gd name="connsiteY14" fmla="*/ 749300 h 927100"/>
                    <a:gd name="connsiteX15" fmla="*/ 603251 w 1629569"/>
                    <a:gd name="connsiteY15" fmla="*/ 735012 h 927100"/>
                    <a:gd name="connsiteX16" fmla="*/ 362745 w 1629569"/>
                    <a:gd name="connsiteY16" fmla="*/ 830263 h 927100"/>
                    <a:gd name="connsiteX17" fmla="*/ 264318 w 1629569"/>
                    <a:gd name="connsiteY17" fmla="*/ 801687 h 927100"/>
                    <a:gd name="connsiteX18" fmla="*/ 284164 w 1629569"/>
                    <a:gd name="connsiteY18" fmla="*/ 742156 h 927100"/>
                    <a:gd name="connsiteX19" fmla="*/ 272258 w 1629569"/>
                    <a:gd name="connsiteY19" fmla="*/ 642144 h 927100"/>
                    <a:gd name="connsiteX20" fmla="*/ 324644 w 1629569"/>
                    <a:gd name="connsiteY20" fmla="*/ 588169 h 927100"/>
                    <a:gd name="connsiteX21" fmla="*/ 365126 w 1629569"/>
                    <a:gd name="connsiteY21" fmla="*/ 480219 h 927100"/>
                    <a:gd name="connsiteX22" fmla="*/ 429420 w 1629569"/>
                    <a:gd name="connsiteY22" fmla="*/ 461169 h 927100"/>
                    <a:gd name="connsiteX23" fmla="*/ 465139 w 1629569"/>
                    <a:gd name="connsiteY23" fmla="*/ 492125 h 927100"/>
                    <a:gd name="connsiteX24" fmla="*/ 474663 w 1629569"/>
                    <a:gd name="connsiteY24" fmla="*/ 287338 h 927100"/>
                    <a:gd name="connsiteX25" fmla="*/ 794 w 1629569"/>
                    <a:gd name="connsiteY25" fmla="*/ 282574 h 927100"/>
                    <a:gd name="connsiteX26" fmla="*/ 0 w 1629569"/>
                    <a:gd name="connsiteY26" fmla="*/ 0 h 927100"/>
                    <a:gd name="connsiteX27" fmla="*/ 788988 w 1629569"/>
                    <a:gd name="connsiteY27" fmla="*/ 5556 h 927100"/>
                    <a:gd name="connsiteX28" fmla="*/ 810419 w 1629569"/>
                    <a:gd name="connsiteY28" fmla="*/ 32544 h 927100"/>
                    <a:gd name="connsiteX29" fmla="*/ 846137 w 1629569"/>
                    <a:gd name="connsiteY29" fmla="*/ 15875 h 927100"/>
                    <a:gd name="connsiteX30" fmla="*/ 1562894 w 1629569"/>
                    <a:gd name="connsiteY30" fmla="*/ 425450 h 927100"/>
                    <a:gd name="connsiteX31" fmla="*/ 1544638 w 1629569"/>
                    <a:gd name="connsiteY31" fmla="*/ 711200 h 927100"/>
                    <a:gd name="connsiteX32" fmla="*/ 1629569 w 1629569"/>
                    <a:gd name="connsiteY32" fmla="*/ 746125 h 927100"/>
                    <a:gd name="connsiteX0" fmla="*/ 1629569 w 1629569"/>
                    <a:gd name="connsiteY0" fmla="*/ 746125 h 963613"/>
                    <a:gd name="connsiteX1" fmla="*/ 1596232 w 1629569"/>
                    <a:gd name="connsiteY1" fmla="*/ 849312 h 963613"/>
                    <a:gd name="connsiteX2" fmla="*/ 1560514 w 1629569"/>
                    <a:gd name="connsiteY2" fmla="*/ 846932 h 963613"/>
                    <a:gd name="connsiteX3" fmla="*/ 1536700 w 1629569"/>
                    <a:gd name="connsiteY3" fmla="*/ 927100 h 963613"/>
                    <a:gd name="connsiteX4" fmla="*/ 1184275 w 1629569"/>
                    <a:gd name="connsiteY4" fmla="*/ 927100 h 963613"/>
                    <a:gd name="connsiteX5" fmla="*/ 1119983 w 1629569"/>
                    <a:gd name="connsiteY5" fmla="*/ 896937 h 963613"/>
                    <a:gd name="connsiteX6" fmla="*/ 1093789 w 1629569"/>
                    <a:gd name="connsiteY6" fmla="*/ 899319 h 963613"/>
                    <a:gd name="connsiteX7" fmla="*/ 919958 w 1629569"/>
                    <a:gd name="connsiteY7" fmla="*/ 963613 h 963613"/>
                    <a:gd name="connsiteX8" fmla="*/ 972346 w 1629569"/>
                    <a:gd name="connsiteY8" fmla="*/ 775494 h 963613"/>
                    <a:gd name="connsiteX9" fmla="*/ 896145 w 1629569"/>
                    <a:gd name="connsiteY9" fmla="*/ 751681 h 963613"/>
                    <a:gd name="connsiteX10" fmla="*/ 841376 w 1629569"/>
                    <a:gd name="connsiteY10" fmla="*/ 754062 h 963613"/>
                    <a:gd name="connsiteX11" fmla="*/ 810420 w 1629569"/>
                    <a:gd name="connsiteY11" fmla="*/ 701675 h 963613"/>
                    <a:gd name="connsiteX12" fmla="*/ 767558 w 1629569"/>
                    <a:gd name="connsiteY12" fmla="*/ 739775 h 963613"/>
                    <a:gd name="connsiteX13" fmla="*/ 734219 w 1629569"/>
                    <a:gd name="connsiteY13" fmla="*/ 742156 h 963613"/>
                    <a:gd name="connsiteX14" fmla="*/ 688977 w 1629569"/>
                    <a:gd name="connsiteY14" fmla="*/ 749300 h 963613"/>
                    <a:gd name="connsiteX15" fmla="*/ 603251 w 1629569"/>
                    <a:gd name="connsiteY15" fmla="*/ 735012 h 963613"/>
                    <a:gd name="connsiteX16" fmla="*/ 362745 w 1629569"/>
                    <a:gd name="connsiteY16" fmla="*/ 830263 h 963613"/>
                    <a:gd name="connsiteX17" fmla="*/ 264318 w 1629569"/>
                    <a:gd name="connsiteY17" fmla="*/ 801687 h 963613"/>
                    <a:gd name="connsiteX18" fmla="*/ 284164 w 1629569"/>
                    <a:gd name="connsiteY18" fmla="*/ 742156 h 963613"/>
                    <a:gd name="connsiteX19" fmla="*/ 272258 w 1629569"/>
                    <a:gd name="connsiteY19" fmla="*/ 642144 h 963613"/>
                    <a:gd name="connsiteX20" fmla="*/ 324644 w 1629569"/>
                    <a:gd name="connsiteY20" fmla="*/ 588169 h 963613"/>
                    <a:gd name="connsiteX21" fmla="*/ 365126 w 1629569"/>
                    <a:gd name="connsiteY21" fmla="*/ 480219 h 963613"/>
                    <a:gd name="connsiteX22" fmla="*/ 429420 w 1629569"/>
                    <a:gd name="connsiteY22" fmla="*/ 461169 h 963613"/>
                    <a:gd name="connsiteX23" fmla="*/ 465139 w 1629569"/>
                    <a:gd name="connsiteY23" fmla="*/ 492125 h 963613"/>
                    <a:gd name="connsiteX24" fmla="*/ 474663 w 1629569"/>
                    <a:gd name="connsiteY24" fmla="*/ 287338 h 963613"/>
                    <a:gd name="connsiteX25" fmla="*/ 794 w 1629569"/>
                    <a:gd name="connsiteY25" fmla="*/ 282574 h 963613"/>
                    <a:gd name="connsiteX26" fmla="*/ 0 w 1629569"/>
                    <a:gd name="connsiteY26" fmla="*/ 0 h 963613"/>
                    <a:gd name="connsiteX27" fmla="*/ 788988 w 1629569"/>
                    <a:gd name="connsiteY27" fmla="*/ 5556 h 963613"/>
                    <a:gd name="connsiteX28" fmla="*/ 810419 w 1629569"/>
                    <a:gd name="connsiteY28" fmla="*/ 32544 h 963613"/>
                    <a:gd name="connsiteX29" fmla="*/ 846137 w 1629569"/>
                    <a:gd name="connsiteY29" fmla="*/ 15875 h 963613"/>
                    <a:gd name="connsiteX30" fmla="*/ 1562894 w 1629569"/>
                    <a:gd name="connsiteY30" fmla="*/ 425450 h 963613"/>
                    <a:gd name="connsiteX31" fmla="*/ 1544638 w 1629569"/>
                    <a:gd name="connsiteY31" fmla="*/ 711200 h 963613"/>
                    <a:gd name="connsiteX32" fmla="*/ 1629569 w 1629569"/>
                    <a:gd name="connsiteY32" fmla="*/ 746125 h 963613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1119983 w 1629569"/>
                    <a:gd name="connsiteY5" fmla="*/ 896937 h 927100"/>
                    <a:gd name="connsiteX6" fmla="*/ 1093789 w 1629569"/>
                    <a:gd name="connsiteY6" fmla="*/ 899319 h 927100"/>
                    <a:gd name="connsiteX7" fmla="*/ 1039021 w 1629569"/>
                    <a:gd name="connsiteY7" fmla="*/ 854075 h 927100"/>
                    <a:gd name="connsiteX8" fmla="*/ 972346 w 1629569"/>
                    <a:gd name="connsiteY8" fmla="*/ 775494 h 927100"/>
                    <a:gd name="connsiteX9" fmla="*/ 896145 w 1629569"/>
                    <a:gd name="connsiteY9" fmla="*/ 751681 h 927100"/>
                    <a:gd name="connsiteX10" fmla="*/ 841376 w 1629569"/>
                    <a:gd name="connsiteY10" fmla="*/ 754062 h 927100"/>
                    <a:gd name="connsiteX11" fmla="*/ 810420 w 1629569"/>
                    <a:gd name="connsiteY11" fmla="*/ 701675 h 927100"/>
                    <a:gd name="connsiteX12" fmla="*/ 767558 w 1629569"/>
                    <a:gd name="connsiteY12" fmla="*/ 739775 h 927100"/>
                    <a:gd name="connsiteX13" fmla="*/ 734219 w 1629569"/>
                    <a:gd name="connsiteY13" fmla="*/ 742156 h 927100"/>
                    <a:gd name="connsiteX14" fmla="*/ 688977 w 1629569"/>
                    <a:gd name="connsiteY14" fmla="*/ 749300 h 927100"/>
                    <a:gd name="connsiteX15" fmla="*/ 603251 w 1629569"/>
                    <a:gd name="connsiteY15" fmla="*/ 735012 h 927100"/>
                    <a:gd name="connsiteX16" fmla="*/ 362745 w 1629569"/>
                    <a:gd name="connsiteY16" fmla="*/ 830263 h 927100"/>
                    <a:gd name="connsiteX17" fmla="*/ 264318 w 1629569"/>
                    <a:gd name="connsiteY17" fmla="*/ 801687 h 927100"/>
                    <a:gd name="connsiteX18" fmla="*/ 284164 w 1629569"/>
                    <a:gd name="connsiteY18" fmla="*/ 742156 h 927100"/>
                    <a:gd name="connsiteX19" fmla="*/ 272258 w 1629569"/>
                    <a:gd name="connsiteY19" fmla="*/ 642144 h 927100"/>
                    <a:gd name="connsiteX20" fmla="*/ 324644 w 1629569"/>
                    <a:gd name="connsiteY20" fmla="*/ 588169 h 927100"/>
                    <a:gd name="connsiteX21" fmla="*/ 365126 w 1629569"/>
                    <a:gd name="connsiteY21" fmla="*/ 480219 h 927100"/>
                    <a:gd name="connsiteX22" fmla="*/ 429420 w 1629569"/>
                    <a:gd name="connsiteY22" fmla="*/ 461169 h 927100"/>
                    <a:gd name="connsiteX23" fmla="*/ 465139 w 1629569"/>
                    <a:gd name="connsiteY23" fmla="*/ 492125 h 927100"/>
                    <a:gd name="connsiteX24" fmla="*/ 474663 w 1629569"/>
                    <a:gd name="connsiteY24" fmla="*/ 287338 h 927100"/>
                    <a:gd name="connsiteX25" fmla="*/ 794 w 1629569"/>
                    <a:gd name="connsiteY25" fmla="*/ 282574 h 927100"/>
                    <a:gd name="connsiteX26" fmla="*/ 0 w 1629569"/>
                    <a:gd name="connsiteY26" fmla="*/ 0 h 927100"/>
                    <a:gd name="connsiteX27" fmla="*/ 788988 w 1629569"/>
                    <a:gd name="connsiteY27" fmla="*/ 5556 h 927100"/>
                    <a:gd name="connsiteX28" fmla="*/ 810419 w 1629569"/>
                    <a:gd name="connsiteY28" fmla="*/ 32544 h 927100"/>
                    <a:gd name="connsiteX29" fmla="*/ 846137 w 1629569"/>
                    <a:gd name="connsiteY29" fmla="*/ 15875 h 927100"/>
                    <a:gd name="connsiteX30" fmla="*/ 1562894 w 1629569"/>
                    <a:gd name="connsiteY30" fmla="*/ 425450 h 927100"/>
                    <a:gd name="connsiteX31" fmla="*/ 1544638 w 1629569"/>
                    <a:gd name="connsiteY31" fmla="*/ 711200 h 927100"/>
                    <a:gd name="connsiteX32" fmla="*/ 1629569 w 1629569"/>
                    <a:gd name="connsiteY32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1119983 w 1629569"/>
                    <a:gd name="connsiteY5" fmla="*/ 896937 h 927100"/>
                    <a:gd name="connsiteX6" fmla="*/ 1093789 w 1629569"/>
                    <a:gd name="connsiteY6" fmla="*/ 899319 h 927100"/>
                    <a:gd name="connsiteX7" fmla="*/ 1039021 w 1629569"/>
                    <a:gd name="connsiteY7" fmla="*/ 854075 h 927100"/>
                    <a:gd name="connsiteX8" fmla="*/ 1003301 w 1629569"/>
                    <a:gd name="connsiteY8" fmla="*/ 811212 h 927100"/>
                    <a:gd name="connsiteX9" fmla="*/ 972346 w 1629569"/>
                    <a:gd name="connsiteY9" fmla="*/ 775494 h 927100"/>
                    <a:gd name="connsiteX10" fmla="*/ 896145 w 1629569"/>
                    <a:gd name="connsiteY10" fmla="*/ 751681 h 927100"/>
                    <a:gd name="connsiteX11" fmla="*/ 841376 w 1629569"/>
                    <a:gd name="connsiteY11" fmla="*/ 754062 h 927100"/>
                    <a:gd name="connsiteX12" fmla="*/ 810420 w 1629569"/>
                    <a:gd name="connsiteY12" fmla="*/ 701675 h 927100"/>
                    <a:gd name="connsiteX13" fmla="*/ 767558 w 1629569"/>
                    <a:gd name="connsiteY13" fmla="*/ 739775 h 927100"/>
                    <a:gd name="connsiteX14" fmla="*/ 734219 w 1629569"/>
                    <a:gd name="connsiteY14" fmla="*/ 742156 h 927100"/>
                    <a:gd name="connsiteX15" fmla="*/ 688977 w 1629569"/>
                    <a:gd name="connsiteY15" fmla="*/ 749300 h 927100"/>
                    <a:gd name="connsiteX16" fmla="*/ 603251 w 1629569"/>
                    <a:gd name="connsiteY16" fmla="*/ 735012 h 927100"/>
                    <a:gd name="connsiteX17" fmla="*/ 362745 w 1629569"/>
                    <a:gd name="connsiteY17" fmla="*/ 830263 h 927100"/>
                    <a:gd name="connsiteX18" fmla="*/ 264318 w 1629569"/>
                    <a:gd name="connsiteY18" fmla="*/ 801687 h 927100"/>
                    <a:gd name="connsiteX19" fmla="*/ 284164 w 1629569"/>
                    <a:gd name="connsiteY19" fmla="*/ 742156 h 927100"/>
                    <a:gd name="connsiteX20" fmla="*/ 272258 w 1629569"/>
                    <a:gd name="connsiteY20" fmla="*/ 642144 h 927100"/>
                    <a:gd name="connsiteX21" fmla="*/ 324644 w 1629569"/>
                    <a:gd name="connsiteY21" fmla="*/ 588169 h 927100"/>
                    <a:gd name="connsiteX22" fmla="*/ 365126 w 1629569"/>
                    <a:gd name="connsiteY22" fmla="*/ 480219 h 927100"/>
                    <a:gd name="connsiteX23" fmla="*/ 429420 w 1629569"/>
                    <a:gd name="connsiteY23" fmla="*/ 461169 h 927100"/>
                    <a:gd name="connsiteX24" fmla="*/ 465139 w 1629569"/>
                    <a:gd name="connsiteY24" fmla="*/ 492125 h 927100"/>
                    <a:gd name="connsiteX25" fmla="*/ 474663 w 1629569"/>
                    <a:gd name="connsiteY25" fmla="*/ 287338 h 927100"/>
                    <a:gd name="connsiteX26" fmla="*/ 794 w 1629569"/>
                    <a:gd name="connsiteY26" fmla="*/ 282574 h 927100"/>
                    <a:gd name="connsiteX27" fmla="*/ 0 w 1629569"/>
                    <a:gd name="connsiteY27" fmla="*/ 0 h 927100"/>
                    <a:gd name="connsiteX28" fmla="*/ 788988 w 1629569"/>
                    <a:gd name="connsiteY28" fmla="*/ 5556 h 927100"/>
                    <a:gd name="connsiteX29" fmla="*/ 810419 w 1629569"/>
                    <a:gd name="connsiteY29" fmla="*/ 32544 h 927100"/>
                    <a:gd name="connsiteX30" fmla="*/ 846137 w 1629569"/>
                    <a:gd name="connsiteY30" fmla="*/ 15875 h 927100"/>
                    <a:gd name="connsiteX31" fmla="*/ 1562894 w 1629569"/>
                    <a:gd name="connsiteY31" fmla="*/ 425450 h 927100"/>
                    <a:gd name="connsiteX32" fmla="*/ 1544638 w 1629569"/>
                    <a:gd name="connsiteY32" fmla="*/ 711200 h 927100"/>
                    <a:gd name="connsiteX33" fmla="*/ 1629569 w 1629569"/>
                    <a:gd name="connsiteY33" fmla="*/ 746125 h 927100"/>
                    <a:gd name="connsiteX0" fmla="*/ 1629569 w 1629569"/>
                    <a:gd name="connsiteY0" fmla="*/ 746125 h 927100"/>
                    <a:gd name="connsiteX1" fmla="*/ 1596232 w 1629569"/>
                    <a:gd name="connsiteY1" fmla="*/ 849312 h 927100"/>
                    <a:gd name="connsiteX2" fmla="*/ 1560514 w 1629569"/>
                    <a:gd name="connsiteY2" fmla="*/ 846932 h 927100"/>
                    <a:gd name="connsiteX3" fmla="*/ 1536700 w 1629569"/>
                    <a:gd name="connsiteY3" fmla="*/ 927100 h 927100"/>
                    <a:gd name="connsiteX4" fmla="*/ 1184275 w 1629569"/>
                    <a:gd name="connsiteY4" fmla="*/ 927100 h 927100"/>
                    <a:gd name="connsiteX5" fmla="*/ 1119983 w 1629569"/>
                    <a:gd name="connsiteY5" fmla="*/ 896937 h 927100"/>
                    <a:gd name="connsiteX6" fmla="*/ 1093789 w 1629569"/>
                    <a:gd name="connsiteY6" fmla="*/ 899319 h 927100"/>
                    <a:gd name="connsiteX7" fmla="*/ 1039021 w 1629569"/>
                    <a:gd name="connsiteY7" fmla="*/ 854075 h 927100"/>
                    <a:gd name="connsiteX8" fmla="*/ 993776 w 1629569"/>
                    <a:gd name="connsiteY8" fmla="*/ 825499 h 927100"/>
                    <a:gd name="connsiteX9" fmla="*/ 972346 w 1629569"/>
                    <a:gd name="connsiteY9" fmla="*/ 775494 h 927100"/>
                    <a:gd name="connsiteX10" fmla="*/ 896145 w 1629569"/>
                    <a:gd name="connsiteY10" fmla="*/ 751681 h 927100"/>
                    <a:gd name="connsiteX11" fmla="*/ 841376 w 1629569"/>
                    <a:gd name="connsiteY11" fmla="*/ 754062 h 927100"/>
                    <a:gd name="connsiteX12" fmla="*/ 810420 w 1629569"/>
                    <a:gd name="connsiteY12" fmla="*/ 701675 h 927100"/>
                    <a:gd name="connsiteX13" fmla="*/ 767558 w 1629569"/>
                    <a:gd name="connsiteY13" fmla="*/ 739775 h 927100"/>
                    <a:gd name="connsiteX14" fmla="*/ 734219 w 1629569"/>
                    <a:gd name="connsiteY14" fmla="*/ 742156 h 927100"/>
                    <a:gd name="connsiteX15" fmla="*/ 688977 w 1629569"/>
                    <a:gd name="connsiteY15" fmla="*/ 749300 h 927100"/>
                    <a:gd name="connsiteX16" fmla="*/ 603251 w 1629569"/>
                    <a:gd name="connsiteY16" fmla="*/ 735012 h 927100"/>
                    <a:gd name="connsiteX17" fmla="*/ 362745 w 1629569"/>
                    <a:gd name="connsiteY17" fmla="*/ 830263 h 927100"/>
                    <a:gd name="connsiteX18" fmla="*/ 264318 w 1629569"/>
                    <a:gd name="connsiteY18" fmla="*/ 801687 h 927100"/>
                    <a:gd name="connsiteX19" fmla="*/ 284164 w 1629569"/>
                    <a:gd name="connsiteY19" fmla="*/ 742156 h 927100"/>
                    <a:gd name="connsiteX20" fmla="*/ 272258 w 1629569"/>
                    <a:gd name="connsiteY20" fmla="*/ 642144 h 927100"/>
                    <a:gd name="connsiteX21" fmla="*/ 324644 w 1629569"/>
                    <a:gd name="connsiteY21" fmla="*/ 588169 h 927100"/>
                    <a:gd name="connsiteX22" fmla="*/ 365126 w 1629569"/>
                    <a:gd name="connsiteY22" fmla="*/ 480219 h 927100"/>
                    <a:gd name="connsiteX23" fmla="*/ 429420 w 1629569"/>
                    <a:gd name="connsiteY23" fmla="*/ 461169 h 927100"/>
                    <a:gd name="connsiteX24" fmla="*/ 465139 w 1629569"/>
                    <a:gd name="connsiteY24" fmla="*/ 492125 h 927100"/>
                    <a:gd name="connsiteX25" fmla="*/ 474663 w 1629569"/>
                    <a:gd name="connsiteY25" fmla="*/ 287338 h 927100"/>
                    <a:gd name="connsiteX26" fmla="*/ 794 w 1629569"/>
                    <a:gd name="connsiteY26" fmla="*/ 282574 h 927100"/>
                    <a:gd name="connsiteX27" fmla="*/ 0 w 1629569"/>
                    <a:gd name="connsiteY27" fmla="*/ 0 h 927100"/>
                    <a:gd name="connsiteX28" fmla="*/ 788988 w 1629569"/>
                    <a:gd name="connsiteY28" fmla="*/ 5556 h 927100"/>
                    <a:gd name="connsiteX29" fmla="*/ 810419 w 1629569"/>
                    <a:gd name="connsiteY29" fmla="*/ 32544 h 927100"/>
                    <a:gd name="connsiteX30" fmla="*/ 846137 w 1629569"/>
                    <a:gd name="connsiteY30" fmla="*/ 15875 h 927100"/>
                    <a:gd name="connsiteX31" fmla="*/ 1562894 w 1629569"/>
                    <a:gd name="connsiteY31" fmla="*/ 425450 h 927100"/>
                    <a:gd name="connsiteX32" fmla="*/ 1544638 w 1629569"/>
                    <a:gd name="connsiteY32" fmla="*/ 711200 h 927100"/>
                    <a:gd name="connsiteX33" fmla="*/ 1629569 w 1629569"/>
                    <a:gd name="connsiteY33" fmla="*/ 746125 h 927100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</a:cxnLst>
                  <a:rect l="l" t="t" r="r" b="b"/>
                  <a:pathLst>
                    <a:path w="1629569" h="927100">
                      <a:moveTo>
                        <a:pt x="1629569" y="746125"/>
                      </a:moveTo>
                      <a:lnTo>
                        <a:pt x="1596232" y="849312"/>
                      </a:lnTo>
                      <a:lnTo>
                        <a:pt x="1560514" y="846932"/>
                      </a:lnTo>
                      <a:lnTo>
                        <a:pt x="1536700" y="927100"/>
                      </a:lnTo>
                      <a:lnTo>
                        <a:pt x="1184275" y="927100"/>
                      </a:lnTo>
                      <a:lnTo>
                        <a:pt x="1119983" y="896937"/>
                      </a:lnTo>
                      <a:lnTo>
                        <a:pt x="1093789" y="899319"/>
                      </a:lnTo>
                      <a:lnTo>
                        <a:pt x="1039021" y="854075"/>
                      </a:lnTo>
                      <a:lnTo>
                        <a:pt x="993776" y="825499"/>
                      </a:lnTo>
                      <a:lnTo>
                        <a:pt x="972346" y="775494"/>
                      </a:lnTo>
                      <a:lnTo>
                        <a:pt x="896145" y="751681"/>
                      </a:lnTo>
                      <a:lnTo>
                        <a:pt x="841376" y="754062"/>
                      </a:lnTo>
                      <a:lnTo>
                        <a:pt x="810420" y="701675"/>
                      </a:lnTo>
                      <a:lnTo>
                        <a:pt x="767558" y="739775"/>
                      </a:lnTo>
                      <a:lnTo>
                        <a:pt x="734219" y="742156"/>
                      </a:lnTo>
                      <a:lnTo>
                        <a:pt x="688977" y="749300"/>
                      </a:lnTo>
                      <a:lnTo>
                        <a:pt x="603251" y="735012"/>
                      </a:lnTo>
                      <a:lnTo>
                        <a:pt x="362745" y="830263"/>
                      </a:lnTo>
                      <a:lnTo>
                        <a:pt x="264318" y="801687"/>
                      </a:lnTo>
                      <a:lnTo>
                        <a:pt x="284164" y="742156"/>
                      </a:lnTo>
                      <a:lnTo>
                        <a:pt x="272258" y="642144"/>
                      </a:lnTo>
                      <a:lnTo>
                        <a:pt x="324644" y="588169"/>
                      </a:lnTo>
                      <a:lnTo>
                        <a:pt x="365126" y="480219"/>
                      </a:lnTo>
                      <a:lnTo>
                        <a:pt x="429420" y="461169"/>
                      </a:lnTo>
                      <a:lnTo>
                        <a:pt x="465139" y="492125"/>
                      </a:lnTo>
                      <a:lnTo>
                        <a:pt x="474663" y="287338"/>
                      </a:lnTo>
                      <a:lnTo>
                        <a:pt x="794" y="282574"/>
                      </a:lnTo>
                      <a:cubicBezTo>
                        <a:pt x="529" y="188383"/>
                        <a:pt x="265" y="94191"/>
                        <a:pt x="0" y="0"/>
                      </a:cubicBezTo>
                      <a:lnTo>
                        <a:pt x="788988" y="5556"/>
                      </a:lnTo>
                      <a:lnTo>
                        <a:pt x="810419" y="32544"/>
                      </a:lnTo>
                      <a:lnTo>
                        <a:pt x="846137" y="15875"/>
                      </a:lnTo>
                      <a:lnTo>
                        <a:pt x="1562894" y="425450"/>
                      </a:lnTo>
                      <a:lnTo>
                        <a:pt x="1544638" y="711200"/>
                      </a:lnTo>
                      <a:lnTo>
                        <a:pt x="1629569" y="746125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104" name="Freeform 103"/>
                <p:cNvSpPr/>
                <p:nvPr/>
              </p:nvSpPr>
              <p:spPr>
                <a:xfrm>
                  <a:off x="1764507" y="91056"/>
                  <a:ext cx="1464467" cy="1518669"/>
                </a:xfrm>
                <a:custGeom>
                  <a:avLst/>
                  <a:gdLst>
                    <a:gd name="connsiteX0" fmla="*/ 232229 w 827314"/>
                    <a:gd name="connsiteY0" fmla="*/ 0 h 827315"/>
                    <a:gd name="connsiteX1" fmla="*/ 0 w 827314"/>
                    <a:gd name="connsiteY1" fmla="*/ 827315 h 827315"/>
                    <a:gd name="connsiteX2" fmla="*/ 798286 w 827314"/>
                    <a:gd name="connsiteY2" fmla="*/ 740229 h 827315"/>
                    <a:gd name="connsiteX3" fmla="*/ 827314 w 827314"/>
                    <a:gd name="connsiteY3" fmla="*/ 290286 h 827315"/>
                    <a:gd name="connsiteX4" fmla="*/ 232229 w 827314"/>
                    <a:gd name="connsiteY4" fmla="*/ 0 h 827315"/>
                    <a:gd name="connsiteX0" fmla="*/ 232229 w 1322614"/>
                    <a:gd name="connsiteY0" fmla="*/ 100239 h 927554"/>
                    <a:gd name="connsiteX1" fmla="*/ 0 w 1322614"/>
                    <a:gd name="connsiteY1" fmla="*/ 927554 h 927554"/>
                    <a:gd name="connsiteX2" fmla="*/ 798286 w 1322614"/>
                    <a:gd name="connsiteY2" fmla="*/ 840468 h 927554"/>
                    <a:gd name="connsiteX3" fmla="*/ 1322614 w 1322614"/>
                    <a:gd name="connsiteY3" fmla="*/ 0 h 927554"/>
                    <a:gd name="connsiteX4" fmla="*/ 232229 w 1322614"/>
                    <a:gd name="connsiteY4" fmla="*/ 100239 h 927554"/>
                    <a:gd name="connsiteX0" fmla="*/ 232229 w 1327603"/>
                    <a:gd name="connsiteY0" fmla="*/ 100239 h 927554"/>
                    <a:gd name="connsiteX1" fmla="*/ 0 w 1327603"/>
                    <a:gd name="connsiteY1" fmla="*/ 927554 h 927554"/>
                    <a:gd name="connsiteX2" fmla="*/ 798286 w 1327603"/>
                    <a:gd name="connsiteY2" fmla="*/ 840468 h 927554"/>
                    <a:gd name="connsiteX3" fmla="*/ 1327603 w 1327603"/>
                    <a:gd name="connsiteY3" fmla="*/ 268514 h 927554"/>
                    <a:gd name="connsiteX4" fmla="*/ 1322614 w 1327603"/>
                    <a:gd name="connsiteY4" fmla="*/ 0 h 927554"/>
                    <a:gd name="connsiteX5" fmla="*/ 232229 w 1327603"/>
                    <a:gd name="connsiteY5" fmla="*/ 100239 h 927554"/>
                    <a:gd name="connsiteX0" fmla="*/ 232229 w 1327603"/>
                    <a:gd name="connsiteY0" fmla="*/ 100239 h 927554"/>
                    <a:gd name="connsiteX1" fmla="*/ 0 w 1327603"/>
                    <a:gd name="connsiteY1" fmla="*/ 927554 h 927554"/>
                    <a:gd name="connsiteX2" fmla="*/ 798286 w 1327603"/>
                    <a:gd name="connsiteY2" fmla="*/ 840468 h 927554"/>
                    <a:gd name="connsiteX3" fmla="*/ 1327603 w 1327603"/>
                    <a:gd name="connsiteY3" fmla="*/ 268514 h 927554"/>
                    <a:gd name="connsiteX4" fmla="*/ 1322614 w 1327603"/>
                    <a:gd name="connsiteY4" fmla="*/ 0 h 927554"/>
                    <a:gd name="connsiteX5" fmla="*/ 232229 w 1327603"/>
                    <a:gd name="connsiteY5" fmla="*/ 100239 h 927554"/>
                    <a:gd name="connsiteX0" fmla="*/ 98879 w 1327603"/>
                    <a:gd name="connsiteY0" fmla="*/ 0 h 936852"/>
                    <a:gd name="connsiteX1" fmla="*/ 0 w 1327603"/>
                    <a:gd name="connsiteY1" fmla="*/ 936852 h 936852"/>
                    <a:gd name="connsiteX2" fmla="*/ 798286 w 1327603"/>
                    <a:gd name="connsiteY2" fmla="*/ 849766 h 936852"/>
                    <a:gd name="connsiteX3" fmla="*/ 1327603 w 1327603"/>
                    <a:gd name="connsiteY3" fmla="*/ 277812 h 936852"/>
                    <a:gd name="connsiteX4" fmla="*/ 1322614 w 1327603"/>
                    <a:gd name="connsiteY4" fmla="*/ 9298 h 936852"/>
                    <a:gd name="connsiteX5" fmla="*/ 98879 w 1327603"/>
                    <a:gd name="connsiteY5" fmla="*/ 0 h 936852"/>
                    <a:gd name="connsiteX0" fmla="*/ 96498 w 1327603"/>
                    <a:gd name="connsiteY0" fmla="*/ 0 h 941614"/>
                    <a:gd name="connsiteX1" fmla="*/ 0 w 1327603"/>
                    <a:gd name="connsiteY1" fmla="*/ 941614 h 941614"/>
                    <a:gd name="connsiteX2" fmla="*/ 798286 w 1327603"/>
                    <a:gd name="connsiteY2" fmla="*/ 854528 h 941614"/>
                    <a:gd name="connsiteX3" fmla="*/ 1327603 w 1327603"/>
                    <a:gd name="connsiteY3" fmla="*/ 282574 h 941614"/>
                    <a:gd name="connsiteX4" fmla="*/ 1322614 w 1327603"/>
                    <a:gd name="connsiteY4" fmla="*/ 14060 h 941614"/>
                    <a:gd name="connsiteX5" fmla="*/ 96498 w 1327603"/>
                    <a:gd name="connsiteY5" fmla="*/ 0 h 941614"/>
                    <a:gd name="connsiteX0" fmla="*/ 96498 w 1327603"/>
                    <a:gd name="connsiteY0" fmla="*/ 0 h 941614"/>
                    <a:gd name="connsiteX1" fmla="*/ 0 w 1327603"/>
                    <a:gd name="connsiteY1" fmla="*/ 941614 h 941614"/>
                    <a:gd name="connsiteX2" fmla="*/ 798286 w 1327603"/>
                    <a:gd name="connsiteY2" fmla="*/ 854528 h 941614"/>
                    <a:gd name="connsiteX3" fmla="*/ 1327603 w 1327603"/>
                    <a:gd name="connsiteY3" fmla="*/ 282574 h 941614"/>
                    <a:gd name="connsiteX4" fmla="*/ 1327377 w 1327603"/>
                    <a:gd name="connsiteY4" fmla="*/ 2154 h 941614"/>
                    <a:gd name="connsiteX5" fmla="*/ 96498 w 1327603"/>
                    <a:gd name="connsiteY5" fmla="*/ 0 h 941614"/>
                    <a:gd name="connsiteX0" fmla="*/ 110786 w 1327603"/>
                    <a:gd name="connsiteY0" fmla="*/ 9752 h 939460"/>
                    <a:gd name="connsiteX1" fmla="*/ 0 w 1327603"/>
                    <a:gd name="connsiteY1" fmla="*/ 939460 h 939460"/>
                    <a:gd name="connsiteX2" fmla="*/ 798286 w 1327603"/>
                    <a:gd name="connsiteY2" fmla="*/ 852374 h 939460"/>
                    <a:gd name="connsiteX3" fmla="*/ 1327603 w 1327603"/>
                    <a:gd name="connsiteY3" fmla="*/ 280420 h 939460"/>
                    <a:gd name="connsiteX4" fmla="*/ 1327377 w 1327603"/>
                    <a:gd name="connsiteY4" fmla="*/ 0 h 939460"/>
                    <a:gd name="connsiteX5" fmla="*/ 110786 w 1327603"/>
                    <a:gd name="connsiteY5" fmla="*/ 9752 h 939460"/>
                    <a:gd name="connsiteX0" fmla="*/ 110786 w 1327603"/>
                    <a:gd name="connsiteY0" fmla="*/ 9752 h 939460"/>
                    <a:gd name="connsiteX1" fmla="*/ 0 w 1327603"/>
                    <a:gd name="connsiteY1" fmla="*/ 939460 h 939460"/>
                    <a:gd name="connsiteX2" fmla="*/ 798286 w 1327603"/>
                    <a:gd name="connsiteY2" fmla="*/ 852374 h 939460"/>
                    <a:gd name="connsiteX3" fmla="*/ 863259 w 1327603"/>
                    <a:gd name="connsiteY3" fmla="*/ 639989 h 939460"/>
                    <a:gd name="connsiteX4" fmla="*/ 1327603 w 1327603"/>
                    <a:gd name="connsiteY4" fmla="*/ 280420 h 939460"/>
                    <a:gd name="connsiteX5" fmla="*/ 1327377 w 1327603"/>
                    <a:gd name="connsiteY5" fmla="*/ 0 h 939460"/>
                    <a:gd name="connsiteX6" fmla="*/ 110786 w 1327603"/>
                    <a:gd name="connsiteY6" fmla="*/ 9752 h 939460"/>
                    <a:gd name="connsiteX0" fmla="*/ 110786 w 1327603"/>
                    <a:gd name="connsiteY0" fmla="*/ 9752 h 939460"/>
                    <a:gd name="connsiteX1" fmla="*/ 0 w 1327603"/>
                    <a:gd name="connsiteY1" fmla="*/ 939460 h 939460"/>
                    <a:gd name="connsiteX2" fmla="*/ 798286 w 1327603"/>
                    <a:gd name="connsiteY2" fmla="*/ 852374 h 939460"/>
                    <a:gd name="connsiteX3" fmla="*/ 863259 w 1327603"/>
                    <a:gd name="connsiteY3" fmla="*/ 639989 h 939460"/>
                    <a:gd name="connsiteX4" fmla="*/ 1327603 w 1327603"/>
                    <a:gd name="connsiteY4" fmla="*/ 280420 h 939460"/>
                    <a:gd name="connsiteX5" fmla="*/ 1327377 w 1327603"/>
                    <a:gd name="connsiteY5" fmla="*/ 0 h 939460"/>
                    <a:gd name="connsiteX6" fmla="*/ 110786 w 1327603"/>
                    <a:gd name="connsiteY6" fmla="*/ 9752 h 939460"/>
                    <a:gd name="connsiteX0" fmla="*/ 110786 w 1327603"/>
                    <a:gd name="connsiteY0" fmla="*/ 9752 h 939460"/>
                    <a:gd name="connsiteX1" fmla="*/ 0 w 1327603"/>
                    <a:gd name="connsiteY1" fmla="*/ 939460 h 939460"/>
                    <a:gd name="connsiteX2" fmla="*/ 772092 w 1327603"/>
                    <a:gd name="connsiteY2" fmla="*/ 714261 h 939460"/>
                    <a:gd name="connsiteX3" fmla="*/ 863259 w 1327603"/>
                    <a:gd name="connsiteY3" fmla="*/ 639989 h 939460"/>
                    <a:gd name="connsiteX4" fmla="*/ 1327603 w 1327603"/>
                    <a:gd name="connsiteY4" fmla="*/ 280420 h 939460"/>
                    <a:gd name="connsiteX5" fmla="*/ 1327377 w 1327603"/>
                    <a:gd name="connsiteY5" fmla="*/ 0 h 939460"/>
                    <a:gd name="connsiteX6" fmla="*/ 110786 w 1327603"/>
                    <a:gd name="connsiteY6" fmla="*/ 9752 h 939460"/>
                    <a:gd name="connsiteX0" fmla="*/ 110786 w 1327603"/>
                    <a:gd name="connsiteY0" fmla="*/ 9752 h 939460"/>
                    <a:gd name="connsiteX1" fmla="*/ 101259 w 1327603"/>
                    <a:gd name="connsiteY1" fmla="*/ 106589 h 939460"/>
                    <a:gd name="connsiteX2" fmla="*/ 0 w 1327603"/>
                    <a:gd name="connsiteY2" fmla="*/ 939460 h 939460"/>
                    <a:gd name="connsiteX3" fmla="*/ 772092 w 1327603"/>
                    <a:gd name="connsiteY3" fmla="*/ 714261 h 939460"/>
                    <a:gd name="connsiteX4" fmla="*/ 863259 w 1327603"/>
                    <a:gd name="connsiteY4" fmla="*/ 639989 h 939460"/>
                    <a:gd name="connsiteX5" fmla="*/ 1327603 w 1327603"/>
                    <a:gd name="connsiteY5" fmla="*/ 280420 h 939460"/>
                    <a:gd name="connsiteX6" fmla="*/ 1327377 w 1327603"/>
                    <a:gd name="connsiteY6" fmla="*/ 0 h 939460"/>
                    <a:gd name="connsiteX7" fmla="*/ 110786 w 1327603"/>
                    <a:gd name="connsiteY7" fmla="*/ 9752 h 939460"/>
                    <a:gd name="connsiteX0" fmla="*/ 110786 w 1327603"/>
                    <a:gd name="connsiteY0" fmla="*/ 9752 h 939460"/>
                    <a:gd name="connsiteX1" fmla="*/ 41728 w 1327603"/>
                    <a:gd name="connsiteY1" fmla="*/ 20864 h 939460"/>
                    <a:gd name="connsiteX2" fmla="*/ 0 w 1327603"/>
                    <a:gd name="connsiteY2" fmla="*/ 939460 h 939460"/>
                    <a:gd name="connsiteX3" fmla="*/ 772092 w 1327603"/>
                    <a:gd name="connsiteY3" fmla="*/ 714261 h 939460"/>
                    <a:gd name="connsiteX4" fmla="*/ 863259 w 1327603"/>
                    <a:gd name="connsiteY4" fmla="*/ 639989 h 939460"/>
                    <a:gd name="connsiteX5" fmla="*/ 1327603 w 1327603"/>
                    <a:gd name="connsiteY5" fmla="*/ 280420 h 939460"/>
                    <a:gd name="connsiteX6" fmla="*/ 1327377 w 1327603"/>
                    <a:gd name="connsiteY6" fmla="*/ 0 h 939460"/>
                    <a:gd name="connsiteX7" fmla="*/ 110786 w 1327603"/>
                    <a:gd name="connsiteY7" fmla="*/ 9752 h 939460"/>
                    <a:gd name="connsiteX0" fmla="*/ 110786 w 1327603"/>
                    <a:gd name="connsiteY0" fmla="*/ 9752 h 939460"/>
                    <a:gd name="connsiteX1" fmla="*/ 41728 w 1327603"/>
                    <a:gd name="connsiteY1" fmla="*/ 20864 h 939460"/>
                    <a:gd name="connsiteX2" fmla="*/ 41728 w 1327603"/>
                    <a:gd name="connsiteY2" fmla="*/ 111351 h 939460"/>
                    <a:gd name="connsiteX3" fmla="*/ 0 w 1327603"/>
                    <a:gd name="connsiteY3" fmla="*/ 939460 h 939460"/>
                    <a:gd name="connsiteX4" fmla="*/ 772092 w 1327603"/>
                    <a:gd name="connsiteY4" fmla="*/ 714261 h 939460"/>
                    <a:gd name="connsiteX5" fmla="*/ 863259 w 1327603"/>
                    <a:gd name="connsiteY5" fmla="*/ 639989 h 939460"/>
                    <a:gd name="connsiteX6" fmla="*/ 1327603 w 1327603"/>
                    <a:gd name="connsiteY6" fmla="*/ 280420 h 939460"/>
                    <a:gd name="connsiteX7" fmla="*/ 1327377 w 1327603"/>
                    <a:gd name="connsiteY7" fmla="*/ 0 h 939460"/>
                    <a:gd name="connsiteX8" fmla="*/ 110786 w 1327603"/>
                    <a:gd name="connsiteY8" fmla="*/ 9752 h 939460"/>
                    <a:gd name="connsiteX0" fmla="*/ 110786 w 1327603"/>
                    <a:gd name="connsiteY0" fmla="*/ 9752 h 939460"/>
                    <a:gd name="connsiteX1" fmla="*/ 41728 w 1327603"/>
                    <a:gd name="connsiteY1" fmla="*/ 20864 h 939460"/>
                    <a:gd name="connsiteX2" fmla="*/ 13153 w 1327603"/>
                    <a:gd name="connsiteY2" fmla="*/ 56582 h 939460"/>
                    <a:gd name="connsiteX3" fmla="*/ 0 w 1327603"/>
                    <a:gd name="connsiteY3" fmla="*/ 939460 h 939460"/>
                    <a:gd name="connsiteX4" fmla="*/ 772092 w 1327603"/>
                    <a:gd name="connsiteY4" fmla="*/ 714261 h 939460"/>
                    <a:gd name="connsiteX5" fmla="*/ 863259 w 1327603"/>
                    <a:gd name="connsiteY5" fmla="*/ 639989 h 939460"/>
                    <a:gd name="connsiteX6" fmla="*/ 1327603 w 1327603"/>
                    <a:gd name="connsiteY6" fmla="*/ 280420 h 939460"/>
                    <a:gd name="connsiteX7" fmla="*/ 1327377 w 1327603"/>
                    <a:gd name="connsiteY7" fmla="*/ 0 h 939460"/>
                    <a:gd name="connsiteX8" fmla="*/ 110786 w 1327603"/>
                    <a:gd name="connsiteY8" fmla="*/ 9752 h 939460"/>
                    <a:gd name="connsiteX0" fmla="*/ 597695 w 1814512"/>
                    <a:gd name="connsiteY0" fmla="*/ 9752 h 939460"/>
                    <a:gd name="connsiteX1" fmla="*/ 528637 w 1814512"/>
                    <a:gd name="connsiteY1" fmla="*/ 20864 h 939460"/>
                    <a:gd name="connsiteX2" fmla="*/ 500062 w 1814512"/>
                    <a:gd name="connsiteY2" fmla="*/ 56582 h 939460"/>
                    <a:gd name="connsiteX3" fmla="*/ 0 w 1814512"/>
                    <a:gd name="connsiteY3" fmla="*/ 156595 h 939460"/>
                    <a:gd name="connsiteX4" fmla="*/ 486909 w 1814512"/>
                    <a:gd name="connsiteY4" fmla="*/ 939460 h 939460"/>
                    <a:gd name="connsiteX5" fmla="*/ 1259001 w 1814512"/>
                    <a:gd name="connsiteY5" fmla="*/ 714261 h 939460"/>
                    <a:gd name="connsiteX6" fmla="*/ 1350168 w 1814512"/>
                    <a:gd name="connsiteY6" fmla="*/ 639989 h 939460"/>
                    <a:gd name="connsiteX7" fmla="*/ 1814512 w 1814512"/>
                    <a:gd name="connsiteY7" fmla="*/ 280420 h 939460"/>
                    <a:gd name="connsiteX8" fmla="*/ 1814286 w 1814512"/>
                    <a:gd name="connsiteY8" fmla="*/ 0 h 939460"/>
                    <a:gd name="connsiteX9" fmla="*/ 597695 w 1814512"/>
                    <a:gd name="connsiteY9" fmla="*/ 9752 h 939460"/>
                    <a:gd name="connsiteX0" fmla="*/ 597695 w 1814512"/>
                    <a:gd name="connsiteY0" fmla="*/ 9752 h 939460"/>
                    <a:gd name="connsiteX1" fmla="*/ 528637 w 1814512"/>
                    <a:gd name="connsiteY1" fmla="*/ 20864 h 939460"/>
                    <a:gd name="connsiteX2" fmla="*/ 500062 w 1814512"/>
                    <a:gd name="connsiteY2" fmla="*/ 56582 h 939460"/>
                    <a:gd name="connsiteX3" fmla="*/ 0 w 1814512"/>
                    <a:gd name="connsiteY3" fmla="*/ 156595 h 939460"/>
                    <a:gd name="connsiteX4" fmla="*/ 486909 w 1814512"/>
                    <a:gd name="connsiteY4" fmla="*/ 939460 h 939460"/>
                    <a:gd name="connsiteX5" fmla="*/ 1259001 w 1814512"/>
                    <a:gd name="connsiteY5" fmla="*/ 714261 h 939460"/>
                    <a:gd name="connsiteX6" fmla="*/ 1350168 w 1814512"/>
                    <a:gd name="connsiteY6" fmla="*/ 639989 h 939460"/>
                    <a:gd name="connsiteX7" fmla="*/ 1814512 w 1814512"/>
                    <a:gd name="connsiteY7" fmla="*/ 280420 h 939460"/>
                    <a:gd name="connsiteX8" fmla="*/ 1814286 w 1814512"/>
                    <a:gd name="connsiteY8" fmla="*/ 0 h 939460"/>
                    <a:gd name="connsiteX9" fmla="*/ 597695 w 1814512"/>
                    <a:gd name="connsiteY9" fmla="*/ 9752 h 939460"/>
                    <a:gd name="connsiteX0" fmla="*/ 150020 w 1366837"/>
                    <a:gd name="connsiteY0" fmla="*/ 9752 h 939460"/>
                    <a:gd name="connsiteX1" fmla="*/ 80962 w 1366837"/>
                    <a:gd name="connsiteY1" fmla="*/ 20864 h 939460"/>
                    <a:gd name="connsiteX2" fmla="*/ 52387 w 1366837"/>
                    <a:gd name="connsiteY2" fmla="*/ 56582 h 939460"/>
                    <a:gd name="connsiteX3" fmla="*/ 0 w 1366837"/>
                    <a:gd name="connsiteY3" fmla="*/ 49439 h 939460"/>
                    <a:gd name="connsiteX4" fmla="*/ 39234 w 1366837"/>
                    <a:gd name="connsiteY4" fmla="*/ 939460 h 939460"/>
                    <a:gd name="connsiteX5" fmla="*/ 811326 w 1366837"/>
                    <a:gd name="connsiteY5" fmla="*/ 714261 h 939460"/>
                    <a:gd name="connsiteX6" fmla="*/ 902493 w 1366837"/>
                    <a:gd name="connsiteY6" fmla="*/ 639989 h 939460"/>
                    <a:gd name="connsiteX7" fmla="*/ 1366837 w 1366837"/>
                    <a:gd name="connsiteY7" fmla="*/ 280420 h 939460"/>
                    <a:gd name="connsiteX8" fmla="*/ 1366611 w 1366837"/>
                    <a:gd name="connsiteY8" fmla="*/ 0 h 939460"/>
                    <a:gd name="connsiteX9" fmla="*/ 150020 w 1366837"/>
                    <a:gd name="connsiteY9" fmla="*/ 9752 h 939460"/>
                    <a:gd name="connsiteX0" fmla="*/ 150020 w 1366837"/>
                    <a:gd name="connsiteY0" fmla="*/ 9752 h 939460"/>
                    <a:gd name="connsiteX1" fmla="*/ 80962 w 1366837"/>
                    <a:gd name="connsiteY1" fmla="*/ 20864 h 939460"/>
                    <a:gd name="connsiteX2" fmla="*/ 52387 w 1366837"/>
                    <a:gd name="connsiteY2" fmla="*/ 56582 h 939460"/>
                    <a:gd name="connsiteX3" fmla="*/ 0 w 1366837"/>
                    <a:gd name="connsiteY3" fmla="*/ 49439 h 939460"/>
                    <a:gd name="connsiteX4" fmla="*/ 0 w 1366837"/>
                    <a:gd name="connsiteY4" fmla="*/ 101826 h 939460"/>
                    <a:gd name="connsiteX5" fmla="*/ 39234 w 1366837"/>
                    <a:gd name="connsiteY5" fmla="*/ 939460 h 939460"/>
                    <a:gd name="connsiteX6" fmla="*/ 811326 w 1366837"/>
                    <a:gd name="connsiteY6" fmla="*/ 714261 h 939460"/>
                    <a:gd name="connsiteX7" fmla="*/ 902493 w 1366837"/>
                    <a:gd name="connsiteY7" fmla="*/ 639989 h 939460"/>
                    <a:gd name="connsiteX8" fmla="*/ 1366837 w 1366837"/>
                    <a:gd name="connsiteY8" fmla="*/ 280420 h 939460"/>
                    <a:gd name="connsiteX9" fmla="*/ 1366611 w 1366837"/>
                    <a:gd name="connsiteY9" fmla="*/ 0 h 939460"/>
                    <a:gd name="connsiteX10" fmla="*/ 150020 w 1366837"/>
                    <a:gd name="connsiteY10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94003 w 1421606"/>
                    <a:gd name="connsiteY5" fmla="*/ 939460 h 939460"/>
                    <a:gd name="connsiteX6" fmla="*/ 866095 w 1421606"/>
                    <a:gd name="connsiteY6" fmla="*/ 714261 h 939460"/>
                    <a:gd name="connsiteX7" fmla="*/ 957262 w 1421606"/>
                    <a:gd name="connsiteY7" fmla="*/ 639989 h 939460"/>
                    <a:gd name="connsiteX8" fmla="*/ 1421606 w 1421606"/>
                    <a:gd name="connsiteY8" fmla="*/ 280420 h 939460"/>
                    <a:gd name="connsiteX9" fmla="*/ 1421380 w 1421606"/>
                    <a:gd name="connsiteY9" fmla="*/ 0 h 939460"/>
                    <a:gd name="connsiteX10" fmla="*/ 204789 w 1421606"/>
                    <a:gd name="connsiteY10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11906 w 1421606"/>
                    <a:gd name="connsiteY5" fmla="*/ 194695 h 939460"/>
                    <a:gd name="connsiteX6" fmla="*/ 94003 w 1421606"/>
                    <a:gd name="connsiteY6" fmla="*/ 939460 h 939460"/>
                    <a:gd name="connsiteX7" fmla="*/ 866095 w 1421606"/>
                    <a:gd name="connsiteY7" fmla="*/ 714261 h 939460"/>
                    <a:gd name="connsiteX8" fmla="*/ 957262 w 1421606"/>
                    <a:gd name="connsiteY8" fmla="*/ 639989 h 939460"/>
                    <a:gd name="connsiteX9" fmla="*/ 1421606 w 1421606"/>
                    <a:gd name="connsiteY9" fmla="*/ 280420 h 939460"/>
                    <a:gd name="connsiteX10" fmla="*/ 1421380 w 1421606"/>
                    <a:gd name="connsiteY10" fmla="*/ 0 h 939460"/>
                    <a:gd name="connsiteX11" fmla="*/ 204789 w 1421606"/>
                    <a:gd name="connsiteY11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94003 w 1421606"/>
                    <a:gd name="connsiteY6" fmla="*/ 939460 h 939460"/>
                    <a:gd name="connsiteX7" fmla="*/ 866095 w 1421606"/>
                    <a:gd name="connsiteY7" fmla="*/ 714261 h 939460"/>
                    <a:gd name="connsiteX8" fmla="*/ 957262 w 1421606"/>
                    <a:gd name="connsiteY8" fmla="*/ 639989 h 939460"/>
                    <a:gd name="connsiteX9" fmla="*/ 1421606 w 1421606"/>
                    <a:gd name="connsiteY9" fmla="*/ 280420 h 939460"/>
                    <a:gd name="connsiteX10" fmla="*/ 1421380 w 1421606"/>
                    <a:gd name="connsiteY10" fmla="*/ 0 h 939460"/>
                    <a:gd name="connsiteX11" fmla="*/ 204789 w 1421606"/>
                    <a:gd name="connsiteY11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9056 w 1421606"/>
                    <a:gd name="connsiteY6" fmla="*/ 304233 h 939460"/>
                    <a:gd name="connsiteX7" fmla="*/ 94003 w 1421606"/>
                    <a:gd name="connsiteY7" fmla="*/ 939460 h 939460"/>
                    <a:gd name="connsiteX8" fmla="*/ 866095 w 1421606"/>
                    <a:gd name="connsiteY8" fmla="*/ 714261 h 939460"/>
                    <a:gd name="connsiteX9" fmla="*/ 957262 w 1421606"/>
                    <a:gd name="connsiteY9" fmla="*/ 639989 h 939460"/>
                    <a:gd name="connsiteX10" fmla="*/ 1421606 w 1421606"/>
                    <a:gd name="connsiteY10" fmla="*/ 280420 h 939460"/>
                    <a:gd name="connsiteX11" fmla="*/ 1421380 w 1421606"/>
                    <a:gd name="connsiteY11" fmla="*/ 0 h 939460"/>
                    <a:gd name="connsiteX12" fmla="*/ 204789 w 1421606"/>
                    <a:gd name="connsiteY12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94003 w 1421606"/>
                    <a:gd name="connsiteY7" fmla="*/ 939460 h 939460"/>
                    <a:gd name="connsiteX8" fmla="*/ 866095 w 1421606"/>
                    <a:gd name="connsiteY8" fmla="*/ 714261 h 939460"/>
                    <a:gd name="connsiteX9" fmla="*/ 957262 w 1421606"/>
                    <a:gd name="connsiteY9" fmla="*/ 639989 h 939460"/>
                    <a:gd name="connsiteX10" fmla="*/ 1421606 w 1421606"/>
                    <a:gd name="connsiteY10" fmla="*/ 280420 h 939460"/>
                    <a:gd name="connsiteX11" fmla="*/ 1421380 w 1421606"/>
                    <a:gd name="connsiteY11" fmla="*/ 0 h 939460"/>
                    <a:gd name="connsiteX12" fmla="*/ 204789 w 1421606"/>
                    <a:gd name="connsiteY12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76200 w 1421606"/>
                    <a:gd name="connsiteY7" fmla="*/ 570933 h 939460"/>
                    <a:gd name="connsiteX8" fmla="*/ 94003 w 1421606"/>
                    <a:gd name="connsiteY8" fmla="*/ 939460 h 939460"/>
                    <a:gd name="connsiteX9" fmla="*/ 866095 w 1421606"/>
                    <a:gd name="connsiteY9" fmla="*/ 714261 h 939460"/>
                    <a:gd name="connsiteX10" fmla="*/ 957262 w 1421606"/>
                    <a:gd name="connsiteY10" fmla="*/ 639989 h 939460"/>
                    <a:gd name="connsiteX11" fmla="*/ 1421606 w 1421606"/>
                    <a:gd name="connsiteY11" fmla="*/ 280420 h 939460"/>
                    <a:gd name="connsiteX12" fmla="*/ 1421380 w 1421606"/>
                    <a:gd name="connsiteY12" fmla="*/ 0 h 939460"/>
                    <a:gd name="connsiteX13" fmla="*/ 204789 w 1421606"/>
                    <a:gd name="connsiteY13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94003 w 1421606"/>
                    <a:gd name="connsiteY8" fmla="*/ 939460 h 939460"/>
                    <a:gd name="connsiteX9" fmla="*/ 866095 w 1421606"/>
                    <a:gd name="connsiteY9" fmla="*/ 714261 h 939460"/>
                    <a:gd name="connsiteX10" fmla="*/ 957262 w 1421606"/>
                    <a:gd name="connsiteY10" fmla="*/ 639989 h 939460"/>
                    <a:gd name="connsiteX11" fmla="*/ 1421606 w 1421606"/>
                    <a:gd name="connsiteY11" fmla="*/ 280420 h 939460"/>
                    <a:gd name="connsiteX12" fmla="*/ 1421380 w 1421606"/>
                    <a:gd name="connsiteY12" fmla="*/ 0 h 939460"/>
                    <a:gd name="connsiteX13" fmla="*/ 204789 w 1421606"/>
                    <a:gd name="connsiteY13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02394 w 1421606"/>
                    <a:gd name="connsiteY8" fmla="*/ 587601 h 939460"/>
                    <a:gd name="connsiteX9" fmla="*/ 94003 w 1421606"/>
                    <a:gd name="connsiteY9" fmla="*/ 939460 h 939460"/>
                    <a:gd name="connsiteX10" fmla="*/ 866095 w 1421606"/>
                    <a:gd name="connsiteY10" fmla="*/ 714261 h 939460"/>
                    <a:gd name="connsiteX11" fmla="*/ 957262 w 1421606"/>
                    <a:gd name="connsiteY11" fmla="*/ 639989 h 939460"/>
                    <a:gd name="connsiteX12" fmla="*/ 1421606 w 1421606"/>
                    <a:gd name="connsiteY12" fmla="*/ 280420 h 939460"/>
                    <a:gd name="connsiteX13" fmla="*/ 1421380 w 1421606"/>
                    <a:gd name="connsiteY13" fmla="*/ 0 h 939460"/>
                    <a:gd name="connsiteX14" fmla="*/ 204789 w 1421606"/>
                    <a:gd name="connsiteY14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94003 w 1421606"/>
                    <a:gd name="connsiteY9" fmla="*/ 939460 h 939460"/>
                    <a:gd name="connsiteX10" fmla="*/ 866095 w 1421606"/>
                    <a:gd name="connsiteY10" fmla="*/ 714261 h 939460"/>
                    <a:gd name="connsiteX11" fmla="*/ 957262 w 1421606"/>
                    <a:gd name="connsiteY11" fmla="*/ 639989 h 939460"/>
                    <a:gd name="connsiteX12" fmla="*/ 1421606 w 1421606"/>
                    <a:gd name="connsiteY12" fmla="*/ 280420 h 939460"/>
                    <a:gd name="connsiteX13" fmla="*/ 1421380 w 1421606"/>
                    <a:gd name="connsiteY13" fmla="*/ 0 h 939460"/>
                    <a:gd name="connsiteX14" fmla="*/ 204789 w 1421606"/>
                    <a:gd name="connsiteY14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14300 w 1421606"/>
                    <a:gd name="connsiteY9" fmla="*/ 363764 h 939460"/>
                    <a:gd name="connsiteX10" fmla="*/ 94003 w 1421606"/>
                    <a:gd name="connsiteY10" fmla="*/ 939460 h 939460"/>
                    <a:gd name="connsiteX11" fmla="*/ 866095 w 1421606"/>
                    <a:gd name="connsiteY11" fmla="*/ 714261 h 939460"/>
                    <a:gd name="connsiteX12" fmla="*/ 957262 w 1421606"/>
                    <a:gd name="connsiteY12" fmla="*/ 639989 h 939460"/>
                    <a:gd name="connsiteX13" fmla="*/ 1421606 w 1421606"/>
                    <a:gd name="connsiteY13" fmla="*/ 280420 h 939460"/>
                    <a:gd name="connsiteX14" fmla="*/ 1421380 w 1421606"/>
                    <a:gd name="connsiteY14" fmla="*/ 0 h 939460"/>
                    <a:gd name="connsiteX15" fmla="*/ 204789 w 1421606"/>
                    <a:gd name="connsiteY15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94003 w 1421606"/>
                    <a:gd name="connsiteY10" fmla="*/ 939460 h 939460"/>
                    <a:gd name="connsiteX11" fmla="*/ 866095 w 1421606"/>
                    <a:gd name="connsiteY11" fmla="*/ 714261 h 939460"/>
                    <a:gd name="connsiteX12" fmla="*/ 957262 w 1421606"/>
                    <a:gd name="connsiteY12" fmla="*/ 639989 h 939460"/>
                    <a:gd name="connsiteX13" fmla="*/ 1421606 w 1421606"/>
                    <a:gd name="connsiteY13" fmla="*/ 280420 h 939460"/>
                    <a:gd name="connsiteX14" fmla="*/ 1421380 w 1421606"/>
                    <a:gd name="connsiteY14" fmla="*/ 0 h 939460"/>
                    <a:gd name="connsiteX15" fmla="*/ 204789 w 1421606"/>
                    <a:gd name="connsiteY15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94003 w 1421606"/>
                    <a:gd name="connsiteY10" fmla="*/ 939460 h 939460"/>
                    <a:gd name="connsiteX11" fmla="*/ 866095 w 1421606"/>
                    <a:gd name="connsiteY11" fmla="*/ 714261 h 939460"/>
                    <a:gd name="connsiteX12" fmla="*/ 957262 w 1421606"/>
                    <a:gd name="connsiteY12" fmla="*/ 639989 h 939460"/>
                    <a:gd name="connsiteX13" fmla="*/ 1421606 w 1421606"/>
                    <a:gd name="connsiteY13" fmla="*/ 280420 h 939460"/>
                    <a:gd name="connsiteX14" fmla="*/ 1421380 w 1421606"/>
                    <a:gd name="connsiteY14" fmla="*/ 0 h 939460"/>
                    <a:gd name="connsiteX15" fmla="*/ 204789 w 1421606"/>
                    <a:gd name="connsiteY15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161925 w 1421606"/>
                    <a:gd name="connsiteY10" fmla="*/ 425676 h 939460"/>
                    <a:gd name="connsiteX11" fmla="*/ 94003 w 1421606"/>
                    <a:gd name="connsiteY11" fmla="*/ 939460 h 939460"/>
                    <a:gd name="connsiteX12" fmla="*/ 866095 w 1421606"/>
                    <a:gd name="connsiteY12" fmla="*/ 714261 h 939460"/>
                    <a:gd name="connsiteX13" fmla="*/ 957262 w 1421606"/>
                    <a:gd name="connsiteY13" fmla="*/ 639989 h 939460"/>
                    <a:gd name="connsiteX14" fmla="*/ 1421606 w 1421606"/>
                    <a:gd name="connsiteY14" fmla="*/ 280420 h 939460"/>
                    <a:gd name="connsiteX15" fmla="*/ 1421380 w 1421606"/>
                    <a:gd name="connsiteY15" fmla="*/ 0 h 939460"/>
                    <a:gd name="connsiteX16" fmla="*/ 204789 w 1421606"/>
                    <a:gd name="connsiteY16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94003 w 1421606"/>
                    <a:gd name="connsiteY11" fmla="*/ 939460 h 939460"/>
                    <a:gd name="connsiteX12" fmla="*/ 866095 w 1421606"/>
                    <a:gd name="connsiteY12" fmla="*/ 714261 h 939460"/>
                    <a:gd name="connsiteX13" fmla="*/ 957262 w 1421606"/>
                    <a:gd name="connsiteY13" fmla="*/ 639989 h 939460"/>
                    <a:gd name="connsiteX14" fmla="*/ 1421606 w 1421606"/>
                    <a:gd name="connsiteY14" fmla="*/ 280420 h 939460"/>
                    <a:gd name="connsiteX15" fmla="*/ 1421380 w 1421606"/>
                    <a:gd name="connsiteY15" fmla="*/ 0 h 939460"/>
                    <a:gd name="connsiteX16" fmla="*/ 204789 w 1421606"/>
                    <a:gd name="connsiteY16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164306 w 1421606"/>
                    <a:gd name="connsiteY11" fmla="*/ 649514 h 939460"/>
                    <a:gd name="connsiteX12" fmla="*/ 94003 w 1421606"/>
                    <a:gd name="connsiteY12" fmla="*/ 939460 h 939460"/>
                    <a:gd name="connsiteX13" fmla="*/ 866095 w 1421606"/>
                    <a:gd name="connsiteY13" fmla="*/ 714261 h 939460"/>
                    <a:gd name="connsiteX14" fmla="*/ 957262 w 1421606"/>
                    <a:gd name="connsiteY14" fmla="*/ 639989 h 939460"/>
                    <a:gd name="connsiteX15" fmla="*/ 1421606 w 1421606"/>
                    <a:gd name="connsiteY15" fmla="*/ 280420 h 939460"/>
                    <a:gd name="connsiteX16" fmla="*/ 1421380 w 1421606"/>
                    <a:gd name="connsiteY16" fmla="*/ 0 h 939460"/>
                    <a:gd name="connsiteX17" fmla="*/ 204789 w 1421606"/>
                    <a:gd name="connsiteY17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195262 w 1421606"/>
                    <a:gd name="connsiteY11" fmla="*/ 518545 h 939460"/>
                    <a:gd name="connsiteX12" fmla="*/ 164306 w 1421606"/>
                    <a:gd name="connsiteY12" fmla="*/ 649514 h 939460"/>
                    <a:gd name="connsiteX13" fmla="*/ 94003 w 1421606"/>
                    <a:gd name="connsiteY13" fmla="*/ 939460 h 939460"/>
                    <a:gd name="connsiteX14" fmla="*/ 866095 w 1421606"/>
                    <a:gd name="connsiteY14" fmla="*/ 714261 h 939460"/>
                    <a:gd name="connsiteX15" fmla="*/ 957262 w 1421606"/>
                    <a:gd name="connsiteY15" fmla="*/ 639989 h 939460"/>
                    <a:gd name="connsiteX16" fmla="*/ 1421606 w 1421606"/>
                    <a:gd name="connsiteY16" fmla="*/ 280420 h 939460"/>
                    <a:gd name="connsiteX17" fmla="*/ 1421380 w 1421606"/>
                    <a:gd name="connsiteY17" fmla="*/ 0 h 939460"/>
                    <a:gd name="connsiteX18" fmla="*/ 204789 w 1421606"/>
                    <a:gd name="connsiteY18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40506 w 1421606"/>
                    <a:gd name="connsiteY11" fmla="*/ 559026 h 939460"/>
                    <a:gd name="connsiteX12" fmla="*/ 164306 w 1421606"/>
                    <a:gd name="connsiteY12" fmla="*/ 649514 h 939460"/>
                    <a:gd name="connsiteX13" fmla="*/ 94003 w 1421606"/>
                    <a:gd name="connsiteY13" fmla="*/ 939460 h 939460"/>
                    <a:gd name="connsiteX14" fmla="*/ 866095 w 1421606"/>
                    <a:gd name="connsiteY14" fmla="*/ 714261 h 939460"/>
                    <a:gd name="connsiteX15" fmla="*/ 957262 w 1421606"/>
                    <a:gd name="connsiteY15" fmla="*/ 639989 h 939460"/>
                    <a:gd name="connsiteX16" fmla="*/ 1421606 w 1421606"/>
                    <a:gd name="connsiteY16" fmla="*/ 280420 h 939460"/>
                    <a:gd name="connsiteX17" fmla="*/ 1421380 w 1421606"/>
                    <a:gd name="connsiteY17" fmla="*/ 0 h 939460"/>
                    <a:gd name="connsiteX18" fmla="*/ 204789 w 1421606"/>
                    <a:gd name="connsiteY18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40506 w 1421606"/>
                    <a:gd name="connsiteY11" fmla="*/ 559026 h 939460"/>
                    <a:gd name="connsiteX12" fmla="*/ 183356 w 1421606"/>
                    <a:gd name="connsiteY12" fmla="*/ 604271 h 939460"/>
                    <a:gd name="connsiteX13" fmla="*/ 94003 w 1421606"/>
                    <a:gd name="connsiteY13" fmla="*/ 939460 h 939460"/>
                    <a:gd name="connsiteX14" fmla="*/ 866095 w 1421606"/>
                    <a:gd name="connsiteY14" fmla="*/ 714261 h 939460"/>
                    <a:gd name="connsiteX15" fmla="*/ 957262 w 1421606"/>
                    <a:gd name="connsiteY15" fmla="*/ 639989 h 939460"/>
                    <a:gd name="connsiteX16" fmla="*/ 1421606 w 1421606"/>
                    <a:gd name="connsiteY16" fmla="*/ 280420 h 939460"/>
                    <a:gd name="connsiteX17" fmla="*/ 1421380 w 1421606"/>
                    <a:gd name="connsiteY17" fmla="*/ 0 h 939460"/>
                    <a:gd name="connsiteX18" fmla="*/ 204789 w 1421606"/>
                    <a:gd name="connsiteY18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83356 w 1421606"/>
                    <a:gd name="connsiteY12" fmla="*/ 604271 h 939460"/>
                    <a:gd name="connsiteX13" fmla="*/ 94003 w 1421606"/>
                    <a:gd name="connsiteY13" fmla="*/ 939460 h 939460"/>
                    <a:gd name="connsiteX14" fmla="*/ 866095 w 1421606"/>
                    <a:gd name="connsiteY14" fmla="*/ 714261 h 939460"/>
                    <a:gd name="connsiteX15" fmla="*/ 957262 w 1421606"/>
                    <a:gd name="connsiteY15" fmla="*/ 639989 h 939460"/>
                    <a:gd name="connsiteX16" fmla="*/ 1421606 w 1421606"/>
                    <a:gd name="connsiteY16" fmla="*/ 280420 h 939460"/>
                    <a:gd name="connsiteX17" fmla="*/ 1421380 w 1421606"/>
                    <a:gd name="connsiteY17" fmla="*/ 0 h 939460"/>
                    <a:gd name="connsiteX18" fmla="*/ 204789 w 1421606"/>
                    <a:gd name="connsiteY18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83356 w 1421606"/>
                    <a:gd name="connsiteY12" fmla="*/ 604271 h 939460"/>
                    <a:gd name="connsiteX13" fmla="*/ 152400 w 1421606"/>
                    <a:gd name="connsiteY13" fmla="*/ 725714 h 939460"/>
                    <a:gd name="connsiteX14" fmla="*/ 94003 w 1421606"/>
                    <a:gd name="connsiteY14" fmla="*/ 939460 h 939460"/>
                    <a:gd name="connsiteX15" fmla="*/ 866095 w 1421606"/>
                    <a:gd name="connsiteY15" fmla="*/ 714261 h 939460"/>
                    <a:gd name="connsiteX16" fmla="*/ 957262 w 1421606"/>
                    <a:gd name="connsiteY16" fmla="*/ 639989 h 939460"/>
                    <a:gd name="connsiteX17" fmla="*/ 1421606 w 1421606"/>
                    <a:gd name="connsiteY17" fmla="*/ 280420 h 939460"/>
                    <a:gd name="connsiteX18" fmla="*/ 1421380 w 1421606"/>
                    <a:gd name="connsiteY18" fmla="*/ 0 h 939460"/>
                    <a:gd name="connsiteX19" fmla="*/ 204789 w 1421606"/>
                    <a:gd name="connsiteY19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83356 w 1421606"/>
                    <a:gd name="connsiteY12" fmla="*/ 604271 h 939460"/>
                    <a:gd name="connsiteX13" fmla="*/ 216694 w 1421606"/>
                    <a:gd name="connsiteY13" fmla="*/ 649514 h 939460"/>
                    <a:gd name="connsiteX14" fmla="*/ 94003 w 1421606"/>
                    <a:gd name="connsiteY14" fmla="*/ 939460 h 939460"/>
                    <a:gd name="connsiteX15" fmla="*/ 866095 w 1421606"/>
                    <a:gd name="connsiteY15" fmla="*/ 714261 h 939460"/>
                    <a:gd name="connsiteX16" fmla="*/ 957262 w 1421606"/>
                    <a:gd name="connsiteY16" fmla="*/ 639989 h 939460"/>
                    <a:gd name="connsiteX17" fmla="*/ 1421606 w 1421606"/>
                    <a:gd name="connsiteY17" fmla="*/ 280420 h 939460"/>
                    <a:gd name="connsiteX18" fmla="*/ 1421380 w 1421606"/>
                    <a:gd name="connsiteY18" fmla="*/ 0 h 939460"/>
                    <a:gd name="connsiteX19" fmla="*/ 204789 w 1421606"/>
                    <a:gd name="connsiteY19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83356 w 1421606"/>
                    <a:gd name="connsiteY12" fmla="*/ 604271 h 939460"/>
                    <a:gd name="connsiteX13" fmla="*/ 195262 w 1421606"/>
                    <a:gd name="connsiteY13" fmla="*/ 618558 h 939460"/>
                    <a:gd name="connsiteX14" fmla="*/ 216694 w 1421606"/>
                    <a:gd name="connsiteY14" fmla="*/ 649514 h 939460"/>
                    <a:gd name="connsiteX15" fmla="*/ 94003 w 1421606"/>
                    <a:gd name="connsiteY15" fmla="*/ 939460 h 939460"/>
                    <a:gd name="connsiteX16" fmla="*/ 866095 w 1421606"/>
                    <a:gd name="connsiteY16" fmla="*/ 714261 h 939460"/>
                    <a:gd name="connsiteX17" fmla="*/ 957262 w 1421606"/>
                    <a:gd name="connsiteY17" fmla="*/ 639989 h 939460"/>
                    <a:gd name="connsiteX18" fmla="*/ 1421606 w 1421606"/>
                    <a:gd name="connsiteY18" fmla="*/ 280420 h 939460"/>
                    <a:gd name="connsiteX19" fmla="*/ 1421380 w 1421606"/>
                    <a:gd name="connsiteY19" fmla="*/ 0 h 939460"/>
                    <a:gd name="connsiteX20" fmla="*/ 204789 w 1421606"/>
                    <a:gd name="connsiteY20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83356 w 1421606"/>
                    <a:gd name="connsiteY12" fmla="*/ 604271 h 939460"/>
                    <a:gd name="connsiteX13" fmla="*/ 233362 w 1421606"/>
                    <a:gd name="connsiteY13" fmla="*/ 606651 h 939460"/>
                    <a:gd name="connsiteX14" fmla="*/ 216694 w 1421606"/>
                    <a:gd name="connsiteY14" fmla="*/ 649514 h 939460"/>
                    <a:gd name="connsiteX15" fmla="*/ 94003 w 1421606"/>
                    <a:gd name="connsiteY15" fmla="*/ 939460 h 939460"/>
                    <a:gd name="connsiteX16" fmla="*/ 866095 w 1421606"/>
                    <a:gd name="connsiteY16" fmla="*/ 714261 h 939460"/>
                    <a:gd name="connsiteX17" fmla="*/ 957262 w 1421606"/>
                    <a:gd name="connsiteY17" fmla="*/ 639989 h 939460"/>
                    <a:gd name="connsiteX18" fmla="*/ 1421606 w 1421606"/>
                    <a:gd name="connsiteY18" fmla="*/ 280420 h 939460"/>
                    <a:gd name="connsiteX19" fmla="*/ 1421380 w 1421606"/>
                    <a:gd name="connsiteY19" fmla="*/ 0 h 939460"/>
                    <a:gd name="connsiteX20" fmla="*/ 204789 w 1421606"/>
                    <a:gd name="connsiteY20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95262 w 1421606"/>
                    <a:gd name="connsiteY12" fmla="*/ 589984 h 939460"/>
                    <a:gd name="connsiteX13" fmla="*/ 233362 w 1421606"/>
                    <a:gd name="connsiteY13" fmla="*/ 606651 h 939460"/>
                    <a:gd name="connsiteX14" fmla="*/ 216694 w 1421606"/>
                    <a:gd name="connsiteY14" fmla="*/ 649514 h 939460"/>
                    <a:gd name="connsiteX15" fmla="*/ 94003 w 1421606"/>
                    <a:gd name="connsiteY15" fmla="*/ 939460 h 939460"/>
                    <a:gd name="connsiteX16" fmla="*/ 866095 w 1421606"/>
                    <a:gd name="connsiteY16" fmla="*/ 714261 h 939460"/>
                    <a:gd name="connsiteX17" fmla="*/ 957262 w 1421606"/>
                    <a:gd name="connsiteY17" fmla="*/ 639989 h 939460"/>
                    <a:gd name="connsiteX18" fmla="*/ 1421606 w 1421606"/>
                    <a:gd name="connsiteY18" fmla="*/ 280420 h 939460"/>
                    <a:gd name="connsiteX19" fmla="*/ 1421380 w 1421606"/>
                    <a:gd name="connsiteY19" fmla="*/ 0 h 939460"/>
                    <a:gd name="connsiteX20" fmla="*/ 204789 w 1421606"/>
                    <a:gd name="connsiteY20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95262 w 1421606"/>
                    <a:gd name="connsiteY12" fmla="*/ 589984 h 939460"/>
                    <a:gd name="connsiteX13" fmla="*/ 233362 w 1421606"/>
                    <a:gd name="connsiteY13" fmla="*/ 606651 h 939460"/>
                    <a:gd name="connsiteX14" fmla="*/ 216694 w 1421606"/>
                    <a:gd name="connsiteY14" fmla="*/ 649514 h 939460"/>
                    <a:gd name="connsiteX15" fmla="*/ 197644 w 1421606"/>
                    <a:gd name="connsiteY15" fmla="*/ 704283 h 939460"/>
                    <a:gd name="connsiteX16" fmla="*/ 94003 w 1421606"/>
                    <a:gd name="connsiteY16" fmla="*/ 939460 h 939460"/>
                    <a:gd name="connsiteX17" fmla="*/ 866095 w 1421606"/>
                    <a:gd name="connsiteY17" fmla="*/ 714261 h 939460"/>
                    <a:gd name="connsiteX18" fmla="*/ 957262 w 1421606"/>
                    <a:gd name="connsiteY18" fmla="*/ 639989 h 939460"/>
                    <a:gd name="connsiteX19" fmla="*/ 1421606 w 1421606"/>
                    <a:gd name="connsiteY19" fmla="*/ 280420 h 939460"/>
                    <a:gd name="connsiteX20" fmla="*/ 1421380 w 1421606"/>
                    <a:gd name="connsiteY20" fmla="*/ 0 h 939460"/>
                    <a:gd name="connsiteX21" fmla="*/ 204789 w 1421606"/>
                    <a:gd name="connsiteY21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95262 w 1421606"/>
                    <a:gd name="connsiteY12" fmla="*/ 589984 h 939460"/>
                    <a:gd name="connsiteX13" fmla="*/ 233362 w 1421606"/>
                    <a:gd name="connsiteY13" fmla="*/ 606651 h 939460"/>
                    <a:gd name="connsiteX14" fmla="*/ 216694 w 1421606"/>
                    <a:gd name="connsiteY14" fmla="*/ 649514 h 939460"/>
                    <a:gd name="connsiteX15" fmla="*/ 278607 w 1421606"/>
                    <a:gd name="connsiteY15" fmla="*/ 670946 h 939460"/>
                    <a:gd name="connsiteX16" fmla="*/ 94003 w 1421606"/>
                    <a:gd name="connsiteY16" fmla="*/ 939460 h 939460"/>
                    <a:gd name="connsiteX17" fmla="*/ 866095 w 1421606"/>
                    <a:gd name="connsiteY17" fmla="*/ 714261 h 939460"/>
                    <a:gd name="connsiteX18" fmla="*/ 957262 w 1421606"/>
                    <a:gd name="connsiteY18" fmla="*/ 639989 h 939460"/>
                    <a:gd name="connsiteX19" fmla="*/ 1421606 w 1421606"/>
                    <a:gd name="connsiteY19" fmla="*/ 280420 h 939460"/>
                    <a:gd name="connsiteX20" fmla="*/ 1421380 w 1421606"/>
                    <a:gd name="connsiteY20" fmla="*/ 0 h 939460"/>
                    <a:gd name="connsiteX21" fmla="*/ 204789 w 1421606"/>
                    <a:gd name="connsiteY21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95262 w 1421606"/>
                    <a:gd name="connsiteY12" fmla="*/ 589984 h 939460"/>
                    <a:gd name="connsiteX13" fmla="*/ 233362 w 1421606"/>
                    <a:gd name="connsiteY13" fmla="*/ 606651 h 939460"/>
                    <a:gd name="connsiteX14" fmla="*/ 216694 w 1421606"/>
                    <a:gd name="connsiteY14" fmla="*/ 649514 h 939460"/>
                    <a:gd name="connsiteX15" fmla="*/ 278607 w 1421606"/>
                    <a:gd name="connsiteY15" fmla="*/ 670946 h 939460"/>
                    <a:gd name="connsiteX16" fmla="*/ 204787 w 1421606"/>
                    <a:gd name="connsiteY16" fmla="*/ 780483 h 939460"/>
                    <a:gd name="connsiteX17" fmla="*/ 94003 w 1421606"/>
                    <a:gd name="connsiteY17" fmla="*/ 939460 h 939460"/>
                    <a:gd name="connsiteX18" fmla="*/ 866095 w 1421606"/>
                    <a:gd name="connsiteY18" fmla="*/ 714261 h 939460"/>
                    <a:gd name="connsiteX19" fmla="*/ 957262 w 1421606"/>
                    <a:gd name="connsiteY19" fmla="*/ 639989 h 939460"/>
                    <a:gd name="connsiteX20" fmla="*/ 1421606 w 1421606"/>
                    <a:gd name="connsiteY20" fmla="*/ 280420 h 939460"/>
                    <a:gd name="connsiteX21" fmla="*/ 1421380 w 1421606"/>
                    <a:gd name="connsiteY21" fmla="*/ 0 h 939460"/>
                    <a:gd name="connsiteX22" fmla="*/ 204789 w 1421606"/>
                    <a:gd name="connsiteY22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95262 w 1421606"/>
                    <a:gd name="connsiteY12" fmla="*/ 589984 h 939460"/>
                    <a:gd name="connsiteX13" fmla="*/ 233362 w 1421606"/>
                    <a:gd name="connsiteY13" fmla="*/ 606651 h 939460"/>
                    <a:gd name="connsiteX14" fmla="*/ 216694 w 1421606"/>
                    <a:gd name="connsiteY14" fmla="*/ 649514 h 939460"/>
                    <a:gd name="connsiteX15" fmla="*/ 278607 w 1421606"/>
                    <a:gd name="connsiteY15" fmla="*/ 670946 h 939460"/>
                    <a:gd name="connsiteX16" fmla="*/ 233362 w 1421606"/>
                    <a:gd name="connsiteY16" fmla="*/ 794771 h 939460"/>
                    <a:gd name="connsiteX17" fmla="*/ 94003 w 1421606"/>
                    <a:gd name="connsiteY17" fmla="*/ 939460 h 939460"/>
                    <a:gd name="connsiteX18" fmla="*/ 866095 w 1421606"/>
                    <a:gd name="connsiteY18" fmla="*/ 714261 h 939460"/>
                    <a:gd name="connsiteX19" fmla="*/ 957262 w 1421606"/>
                    <a:gd name="connsiteY19" fmla="*/ 639989 h 939460"/>
                    <a:gd name="connsiteX20" fmla="*/ 1421606 w 1421606"/>
                    <a:gd name="connsiteY20" fmla="*/ 280420 h 939460"/>
                    <a:gd name="connsiteX21" fmla="*/ 1421380 w 1421606"/>
                    <a:gd name="connsiteY21" fmla="*/ 0 h 939460"/>
                    <a:gd name="connsiteX22" fmla="*/ 204789 w 1421606"/>
                    <a:gd name="connsiteY22" fmla="*/ 9752 h 939460"/>
                    <a:gd name="connsiteX0" fmla="*/ 204789 w 1421606"/>
                    <a:gd name="connsiteY0" fmla="*/ 9752 h 939460"/>
                    <a:gd name="connsiteX1" fmla="*/ 135731 w 1421606"/>
                    <a:gd name="connsiteY1" fmla="*/ 20864 h 939460"/>
                    <a:gd name="connsiteX2" fmla="*/ 107156 w 1421606"/>
                    <a:gd name="connsiteY2" fmla="*/ 56582 h 939460"/>
                    <a:gd name="connsiteX3" fmla="*/ 54769 w 1421606"/>
                    <a:gd name="connsiteY3" fmla="*/ 49439 h 939460"/>
                    <a:gd name="connsiteX4" fmla="*/ 0 w 1421606"/>
                    <a:gd name="connsiteY4" fmla="*/ 73251 h 939460"/>
                    <a:gd name="connsiteX5" fmla="*/ 61913 w 1421606"/>
                    <a:gd name="connsiteY5" fmla="*/ 170882 h 939460"/>
                    <a:gd name="connsiteX6" fmla="*/ 64293 w 1421606"/>
                    <a:gd name="connsiteY6" fmla="*/ 220890 h 939460"/>
                    <a:gd name="connsiteX7" fmla="*/ 102394 w 1421606"/>
                    <a:gd name="connsiteY7" fmla="*/ 228033 h 939460"/>
                    <a:gd name="connsiteX8" fmla="*/ 116681 w 1421606"/>
                    <a:gd name="connsiteY8" fmla="*/ 247082 h 939460"/>
                    <a:gd name="connsiteX9" fmla="*/ 173832 w 1421606"/>
                    <a:gd name="connsiteY9" fmla="*/ 294708 h 939460"/>
                    <a:gd name="connsiteX10" fmla="*/ 219075 w 1421606"/>
                    <a:gd name="connsiteY10" fmla="*/ 418533 h 939460"/>
                    <a:gd name="connsiteX11" fmla="*/ 235744 w 1421606"/>
                    <a:gd name="connsiteY11" fmla="*/ 549501 h 939460"/>
                    <a:gd name="connsiteX12" fmla="*/ 195262 w 1421606"/>
                    <a:gd name="connsiteY12" fmla="*/ 589984 h 939460"/>
                    <a:gd name="connsiteX13" fmla="*/ 233362 w 1421606"/>
                    <a:gd name="connsiteY13" fmla="*/ 606651 h 939460"/>
                    <a:gd name="connsiteX14" fmla="*/ 216694 w 1421606"/>
                    <a:gd name="connsiteY14" fmla="*/ 649514 h 939460"/>
                    <a:gd name="connsiteX15" fmla="*/ 278607 w 1421606"/>
                    <a:gd name="connsiteY15" fmla="*/ 670946 h 939460"/>
                    <a:gd name="connsiteX16" fmla="*/ 233362 w 1421606"/>
                    <a:gd name="connsiteY16" fmla="*/ 794771 h 939460"/>
                    <a:gd name="connsiteX17" fmla="*/ 94003 w 1421606"/>
                    <a:gd name="connsiteY17" fmla="*/ 939460 h 939460"/>
                    <a:gd name="connsiteX18" fmla="*/ 257175 w 1421606"/>
                    <a:gd name="connsiteY18" fmla="*/ 892401 h 939460"/>
                    <a:gd name="connsiteX19" fmla="*/ 866095 w 1421606"/>
                    <a:gd name="connsiteY19" fmla="*/ 714261 h 939460"/>
                    <a:gd name="connsiteX20" fmla="*/ 957262 w 1421606"/>
                    <a:gd name="connsiteY20" fmla="*/ 639989 h 939460"/>
                    <a:gd name="connsiteX21" fmla="*/ 1421606 w 1421606"/>
                    <a:gd name="connsiteY21" fmla="*/ 280420 h 939460"/>
                    <a:gd name="connsiteX22" fmla="*/ 1421380 w 1421606"/>
                    <a:gd name="connsiteY22" fmla="*/ 0 h 939460"/>
                    <a:gd name="connsiteX23" fmla="*/ 204789 w 1421606"/>
                    <a:gd name="connsiteY23" fmla="*/ 9752 h 939460"/>
                    <a:gd name="connsiteX0" fmla="*/ 204789 w 1421606"/>
                    <a:gd name="connsiteY0" fmla="*/ 9752 h 1259113"/>
                    <a:gd name="connsiteX1" fmla="*/ 135731 w 1421606"/>
                    <a:gd name="connsiteY1" fmla="*/ 20864 h 1259113"/>
                    <a:gd name="connsiteX2" fmla="*/ 107156 w 1421606"/>
                    <a:gd name="connsiteY2" fmla="*/ 56582 h 1259113"/>
                    <a:gd name="connsiteX3" fmla="*/ 54769 w 1421606"/>
                    <a:gd name="connsiteY3" fmla="*/ 49439 h 1259113"/>
                    <a:gd name="connsiteX4" fmla="*/ 0 w 1421606"/>
                    <a:gd name="connsiteY4" fmla="*/ 73251 h 1259113"/>
                    <a:gd name="connsiteX5" fmla="*/ 61913 w 1421606"/>
                    <a:gd name="connsiteY5" fmla="*/ 170882 h 1259113"/>
                    <a:gd name="connsiteX6" fmla="*/ 64293 w 1421606"/>
                    <a:gd name="connsiteY6" fmla="*/ 220890 h 1259113"/>
                    <a:gd name="connsiteX7" fmla="*/ 102394 w 1421606"/>
                    <a:gd name="connsiteY7" fmla="*/ 228033 h 1259113"/>
                    <a:gd name="connsiteX8" fmla="*/ 116681 w 1421606"/>
                    <a:gd name="connsiteY8" fmla="*/ 247082 h 1259113"/>
                    <a:gd name="connsiteX9" fmla="*/ 173832 w 1421606"/>
                    <a:gd name="connsiteY9" fmla="*/ 294708 h 1259113"/>
                    <a:gd name="connsiteX10" fmla="*/ 219075 w 1421606"/>
                    <a:gd name="connsiteY10" fmla="*/ 418533 h 1259113"/>
                    <a:gd name="connsiteX11" fmla="*/ 235744 w 1421606"/>
                    <a:gd name="connsiteY11" fmla="*/ 549501 h 1259113"/>
                    <a:gd name="connsiteX12" fmla="*/ 195262 w 1421606"/>
                    <a:gd name="connsiteY12" fmla="*/ 589984 h 1259113"/>
                    <a:gd name="connsiteX13" fmla="*/ 233362 w 1421606"/>
                    <a:gd name="connsiteY13" fmla="*/ 606651 h 1259113"/>
                    <a:gd name="connsiteX14" fmla="*/ 216694 w 1421606"/>
                    <a:gd name="connsiteY14" fmla="*/ 649514 h 1259113"/>
                    <a:gd name="connsiteX15" fmla="*/ 278607 w 1421606"/>
                    <a:gd name="connsiteY15" fmla="*/ 670946 h 1259113"/>
                    <a:gd name="connsiteX16" fmla="*/ 233362 w 1421606"/>
                    <a:gd name="connsiteY16" fmla="*/ 794771 h 1259113"/>
                    <a:gd name="connsiteX17" fmla="*/ 94003 w 1421606"/>
                    <a:gd name="connsiteY17" fmla="*/ 939460 h 1259113"/>
                    <a:gd name="connsiteX18" fmla="*/ 185738 w 1421606"/>
                    <a:gd name="connsiteY18" fmla="*/ 1259113 h 1259113"/>
                    <a:gd name="connsiteX19" fmla="*/ 866095 w 1421606"/>
                    <a:gd name="connsiteY19" fmla="*/ 714261 h 1259113"/>
                    <a:gd name="connsiteX20" fmla="*/ 957262 w 1421606"/>
                    <a:gd name="connsiteY20" fmla="*/ 639989 h 1259113"/>
                    <a:gd name="connsiteX21" fmla="*/ 1421606 w 1421606"/>
                    <a:gd name="connsiteY21" fmla="*/ 280420 h 1259113"/>
                    <a:gd name="connsiteX22" fmla="*/ 1421380 w 1421606"/>
                    <a:gd name="connsiteY22" fmla="*/ 0 h 1259113"/>
                    <a:gd name="connsiteX23" fmla="*/ 204789 w 1421606"/>
                    <a:gd name="connsiteY23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556079 w 1791947"/>
                    <a:gd name="connsiteY18" fmla="*/ 1259113 h 1259113"/>
                    <a:gd name="connsiteX19" fmla="*/ 1236436 w 1791947"/>
                    <a:gd name="connsiteY19" fmla="*/ 714261 h 1259113"/>
                    <a:gd name="connsiteX20" fmla="*/ 1327603 w 1791947"/>
                    <a:gd name="connsiteY20" fmla="*/ 639989 h 1259113"/>
                    <a:gd name="connsiteX21" fmla="*/ 1791947 w 1791947"/>
                    <a:gd name="connsiteY21" fmla="*/ 280420 h 1259113"/>
                    <a:gd name="connsiteX22" fmla="*/ 1791721 w 1791947"/>
                    <a:gd name="connsiteY22" fmla="*/ 0 h 1259113"/>
                    <a:gd name="connsiteX23" fmla="*/ 575130 w 1791947"/>
                    <a:gd name="connsiteY23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298904 w 1791947"/>
                    <a:gd name="connsiteY18" fmla="*/ 1085283 h 1259113"/>
                    <a:gd name="connsiteX19" fmla="*/ 556079 w 1791947"/>
                    <a:gd name="connsiteY19" fmla="*/ 1259113 h 1259113"/>
                    <a:gd name="connsiteX20" fmla="*/ 1236436 w 1791947"/>
                    <a:gd name="connsiteY20" fmla="*/ 714261 h 1259113"/>
                    <a:gd name="connsiteX21" fmla="*/ 1327603 w 1791947"/>
                    <a:gd name="connsiteY21" fmla="*/ 639989 h 1259113"/>
                    <a:gd name="connsiteX22" fmla="*/ 1791947 w 1791947"/>
                    <a:gd name="connsiteY22" fmla="*/ 280420 h 1259113"/>
                    <a:gd name="connsiteX23" fmla="*/ 1791721 w 1791947"/>
                    <a:gd name="connsiteY23" fmla="*/ 0 h 1259113"/>
                    <a:gd name="connsiteX24" fmla="*/ 575130 w 1791947"/>
                    <a:gd name="connsiteY24" fmla="*/ 9752 h 1259113"/>
                    <a:gd name="connsiteX0" fmla="*/ 575130 w 1791947"/>
                    <a:gd name="connsiteY0" fmla="*/ 9752 h 1292452"/>
                    <a:gd name="connsiteX1" fmla="*/ 506072 w 1791947"/>
                    <a:gd name="connsiteY1" fmla="*/ 20864 h 1292452"/>
                    <a:gd name="connsiteX2" fmla="*/ 477497 w 1791947"/>
                    <a:gd name="connsiteY2" fmla="*/ 56582 h 1292452"/>
                    <a:gd name="connsiteX3" fmla="*/ 425110 w 1791947"/>
                    <a:gd name="connsiteY3" fmla="*/ 49439 h 1292452"/>
                    <a:gd name="connsiteX4" fmla="*/ 370341 w 1791947"/>
                    <a:gd name="connsiteY4" fmla="*/ 73251 h 1292452"/>
                    <a:gd name="connsiteX5" fmla="*/ 432254 w 1791947"/>
                    <a:gd name="connsiteY5" fmla="*/ 170882 h 1292452"/>
                    <a:gd name="connsiteX6" fmla="*/ 434634 w 1791947"/>
                    <a:gd name="connsiteY6" fmla="*/ 220890 h 1292452"/>
                    <a:gd name="connsiteX7" fmla="*/ 472735 w 1791947"/>
                    <a:gd name="connsiteY7" fmla="*/ 228033 h 1292452"/>
                    <a:gd name="connsiteX8" fmla="*/ 487022 w 1791947"/>
                    <a:gd name="connsiteY8" fmla="*/ 247082 h 1292452"/>
                    <a:gd name="connsiteX9" fmla="*/ 544173 w 1791947"/>
                    <a:gd name="connsiteY9" fmla="*/ 294708 h 1292452"/>
                    <a:gd name="connsiteX10" fmla="*/ 589416 w 1791947"/>
                    <a:gd name="connsiteY10" fmla="*/ 418533 h 1292452"/>
                    <a:gd name="connsiteX11" fmla="*/ 606085 w 1791947"/>
                    <a:gd name="connsiteY11" fmla="*/ 549501 h 1292452"/>
                    <a:gd name="connsiteX12" fmla="*/ 565603 w 1791947"/>
                    <a:gd name="connsiteY12" fmla="*/ 589984 h 1292452"/>
                    <a:gd name="connsiteX13" fmla="*/ 603703 w 1791947"/>
                    <a:gd name="connsiteY13" fmla="*/ 606651 h 1292452"/>
                    <a:gd name="connsiteX14" fmla="*/ 587035 w 1791947"/>
                    <a:gd name="connsiteY14" fmla="*/ 649514 h 1292452"/>
                    <a:gd name="connsiteX15" fmla="*/ 648948 w 1791947"/>
                    <a:gd name="connsiteY15" fmla="*/ 670946 h 1292452"/>
                    <a:gd name="connsiteX16" fmla="*/ 603703 w 1791947"/>
                    <a:gd name="connsiteY16" fmla="*/ 794771 h 1292452"/>
                    <a:gd name="connsiteX17" fmla="*/ 0 w 1791947"/>
                    <a:gd name="connsiteY17" fmla="*/ 872785 h 1292452"/>
                    <a:gd name="connsiteX18" fmla="*/ 213179 w 1791947"/>
                    <a:gd name="connsiteY18" fmla="*/ 1292452 h 1292452"/>
                    <a:gd name="connsiteX19" fmla="*/ 556079 w 1791947"/>
                    <a:gd name="connsiteY19" fmla="*/ 1259113 h 1292452"/>
                    <a:gd name="connsiteX20" fmla="*/ 1236436 w 1791947"/>
                    <a:gd name="connsiteY20" fmla="*/ 714261 h 1292452"/>
                    <a:gd name="connsiteX21" fmla="*/ 1327603 w 1791947"/>
                    <a:gd name="connsiteY21" fmla="*/ 639989 h 1292452"/>
                    <a:gd name="connsiteX22" fmla="*/ 1791947 w 1791947"/>
                    <a:gd name="connsiteY22" fmla="*/ 280420 h 1292452"/>
                    <a:gd name="connsiteX23" fmla="*/ 1791721 w 1791947"/>
                    <a:gd name="connsiteY23" fmla="*/ 0 h 1292452"/>
                    <a:gd name="connsiteX24" fmla="*/ 575130 w 1791947"/>
                    <a:gd name="connsiteY24" fmla="*/ 9752 h 1292452"/>
                    <a:gd name="connsiteX0" fmla="*/ 575130 w 1791947"/>
                    <a:gd name="connsiteY0" fmla="*/ 9752 h 1292452"/>
                    <a:gd name="connsiteX1" fmla="*/ 506072 w 1791947"/>
                    <a:gd name="connsiteY1" fmla="*/ 20864 h 1292452"/>
                    <a:gd name="connsiteX2" fmla="*/ 477497 w 1791947"/>
                    <a:gd name="connsiteY2" fmla="*/ 56582 h 1292452"/>
                    <a:gd name="connsiteX3" fmla="*/ 425110 w 1791947"/>
                    <a:gd name="connsiteY3" fmla="*/ 49439 h 1292452"/>
                    <a:gd name="connsiteX4" fmla="*/ 370341 w 1791947"/>
                    <a:gd name="connsiteY4" fmla="*/ 73251 h 1292452"/>
                    <a:gd name="connsiteX5" fmla="*/ 432254 w 1791947"/>
                    <a:gd name="connsiteY5" fmla="*/ 170882 h 1292452"/>
                    <a:gd name="connsiteX6" fmla="*/ 434634 w 1791947"/>
                    <a:gd name="connsiteY6" fmla="*/ 220890 h 1292452"/>
                    <a:gd name="connsiteX7" fmla="*/ 472735 w 1791947"/>
                    <a:gd name="connsiteY7" fmla="*/ 228033 h 1292452"/>
                    <a:gd name="connsiteX8" fmla="*/ 487022 w 1791947"/>
                    <a:gd name="connsiteY8" fmla="*/ 247082 h 1292452"/>
                    <a:gd name="connsiteX9" fmla="*/ 544173 w 1791947"/>
                    <a:gd name="connsiteY9" fmla="*/ 294708 h 1292452"/>
                    <a:gd name="connsiteX10" fmla="*/ 589416 w 1791947"/>
                    <a:gd name="connsiteY10" fmla="*/ 418533 h 1292452"/>
                    <a:gd name="connsiteX11" fmla="*/ 606085 w 1791947"/>
                    <a:gd name="connsiteY11" fmla="*/ 549501 h 1292452"/>
                    <a:gd name="connsiteX12" fmla="*/ 565603 w 1791947"/>
                    <a:gd name="connsiteY12" fmla="*/ 589984 h 1292452"/>
                    <a:gd name="connsiteX13" fmla="*/ 603703 w 1791947"/>
                    <a:gd name="connsiteY13" fmla="*/ 606651 h 1292452"/>
                    <a:gd name="connsiteX14" fmla="*/ 587035 w 1791947"/>
                    <a:gd name="connsiteY14" fmla="*/ 649514 h 1292452"/>
                    <a:gd name="connsiteX15" fmla="*/ 648948 w 1791947"/>
                    <a:gd name="connsiteY15" fmla="*/ 670946 h 1292452"/>
                    <a:gd name="connsiteX16" fmla="*/ 603703 w 1791947"/>
                    <a:gd name="connsiteY16" fmla="*/ 794771 h 1292452"/>
                    <a:gd name="connsiteX17" fmla="*/ 0 w 1791947"/>
                    <a:gd name="connsiteY17" fmla="*/ 872785 h 1292452"/>
                    <a:gd name="connsiteX18" fmla="*/ 213179 w 1791947"/>
                    <a:gd name="connsiteY18" fmla="*/ 1292452 h 1292452"/>
                    <a:gd name="connsiteX19" fmla="*/ 429873 w 1791947"/>
                    <a:gd name="connsiteY19" fmla="*/ 1275782 h 1292452"/>
                    <a:gd name="connsiteX20" fmla="*/ 556079 w 1791947"/>
                    <a:gd name="connsiteY20" fmla="*/ 1259113 h 1292452"/>
                    <a:gd name="connsiteX21" fmla="*/ 1236436 w 1791947"/>
                    <a:gd name="connsiteY21" fmla="*/ 714261 h 1292452"/>
                    <a:gd name="connsiteX22" fmla="*/ 1327603 w 1791947"/>
                    <a:gd name="connsiteY22" fmla="*/ 639989 h 1292452"/>
                    <a:gd name="connsiteX23" fmla="*/ 1791947 w 1791947"/>
                    <a:gd name="connsiteY23" fmla="*/ 280420 h 1292452"/>
                    <a:gd name="connsiteX24" fmla="*/ 1791721 w 1791947"/>
                    <a:gd name="connsiteY24" fmla="*/ 0 h 1292452"/>
                    <a:gd name="connsiteX25" fmla="*/ 575130 w 1791947"/>
                    <a:gd name="connsiteY25" fmla="*/ 9752 h 1292452"/>
                    <a:gd name="connsiteX0" fmla="*/ 575130 w 1791947"/>
                    <a:gd name="connsiteY0" fmla="*/ 9752 h 1292452"/>
                    <a:gd name="connsiteX1" fmla="*/ 506072 w 1791947"/>
                    <a:gd name="connsiteY1" fmla="*/ 20864 h 1292452"/>
                    <a:gd name="connsiteX2" fmla="*/ 477497 w 1791947"/>
                    <a:gd name="connsiteY2" fmla="*/ 56582 h 1292452"/>
                    <a:gd name="connsiteX3" fmla="*/ 425110 w 1791947"/>
                    <a:gd name="connsiteY3" fmla="*/ 49439 h 1292452"/>
                    <a:gd name="connsiteX4" fmla="*/ 370341 w 1791947"/>
                    <a:gd name="connsiteY4" fmla="*/ 73251 h 1292452"/>
                    <a:gd name="connsiteX5" fmla="*/ 432254 w 1791947"/>
                    <a:gd name="connsiteY5" fmla="*/ 170882 h 1292452"/>
                    <a:gd name="connsiteX6" fmla="*/ 434634 w 1791947"/>
                    <a:gd name="connsiteY6" fmla="*/ 220890 h 1292452"/>
                    <a:gd name="connsiteX7" fmla="*/ 472735 w 1791947"/>
                    <a:gd name="connsiteY7" fmla="*/ 228033 h 1292452"/>
                    <a:gd name="connsiteX8" fmla="*/ 487022 w 1791947"/>
                    <a:gd name="connsiteY8" fmla="*/ 247082 h 1292452"/>
                    <a:gd name="connsiteX9" fmla="*/ 544173 w 1791947"/>
                    <a:gd name="connsiteY9" fmla="*/ 294708 h 1292452"/>
                    <a:gd name="connsiteX10" fmla="*/ 589416 w 1791947"/>
                    <a:gd name="connsiteY10" fmla="*/ 418533 h 1292452"/>
                    <a:gd name="connsiteX11" fmla="*/ 606085 w 1791947"/>
                    <a:gd name="connsiteY11" fmla="*/ 549501 h 1292452"/>
                    <a:gd name="connsiteX12" fmla="*/ 565603 w 1791947"/>
                    <a:gd name="connsiteY12" fmla="*/ 589984 h 1292452"/>
                    <a:gd name="connsiteX13" fmla="*/ 603703 w 1791947"/>
                    <a:gd name="connsiteY13" fmla="*/ 606651 h 1292452"/>
                    <a:gd name="connsiteX14" fmla="*/ 587035 w 1791947"/>
                    <a:gd name="connsiteY14" fmla="*/ 649514 h 1292452"/>
                    <a:gd name="connsiteX15" fmla="*/ 648948 w 1791947"/>
                    <a:gd name="connsiteY15" fmla="*/ 670946 h 1292452"/>
                    <a:gd name="connsiteX16" fmla="*/ 603703 w 1791947"/>
                    <a:gd name="connsiteY16" fmla="*/ 794771 h 1292452"/>
                    <a:gd name="connsiteX17" fmla="*/ 0 w 1791947"/>
                    <a:gd name="connsiteY17" fmla="*/ 872785 h 1292452"/>
                    <a:gd name="connsiteX18" fmla="*/ 213179 w 1791947"/>
                    <a:gd name="connsiteY18" fmla="*/ 1292452 h 1292452"/>
                    <a:gd name="connsiteX19" fmla="*/ 501310 w 1791947"/>
                    <a:gd name="connsiteY19" fmla="*/ 1242445 h 1292452"/>
                    <a:gd name="connsiteX20" fmla="*/ 556079 w 1791947"/>
                    <a:gd name="connsiteY20" fmla="*/ 1259113 h 1292452"/>
                    <a:gd name="connsiteX21" fmla="*/ 1236436 w 1791947"/>
                    <a:gd name="connsiteY21" fmla="*/ 714261 h 1292452"/>
                    <a:gd name="connsiteX22" fmla="*/ 1327603 w 1791947"/>
                    <a:gd name="connsiteY22" fmla="*/ 639989 h 1292452"/>
                    <a:gd name="connsiteX23" fmla="*/ 1791947 w 1791947"/>
                    <a:gd name="connsiteY23" fmla="*/ 280420 h 1292452"/>
                    <a:gd name="connsiteX24" fmla="*/ 1791721 w 1791947"/>
                    <a:gd name="connsiteY24" fmla="*/ 0 h 1292452"/>
                    <a:gd name="connsiteX25" fmla="*/ 575130 w 1791947"/>
                    <a:gd name="connsiteY25" fmla="*/ 9752 h 1292452"/>
                    <a:gd name="connsiteX0" fmla="*/ 575130 w 1791947"/>
                    <a:gd name="connsiteY0" fmla="*/ 9752 h 1292452"/>
                    <a:gd name="connsiteX1" fmla="*/ 506072 w 1791947"/>
                    <a:gd name="connsiteY1" fmla="*/ 20864 h 1292452"/>
                    <a:gd name="connsiteX2" fmla="*/ 477497 w 1791947"/>
                    <a:gd name="connsiteY2" fmla="*/ 56582 h 1292452"/>
                    <a:gd name="connsiteX3" fmla="*/ 425110 w 1791947"/>
                    <a:gd name="connsiteY3" fmla="*/ 49439 h 1292452"/>
                    <a:gd name="connsiteX4" fmla="*/ 370341 w 1791947"/>
                    <a:gd name="connsiteY4" fmla="*/ 73251 h 1292452"/>
                    <a:gd name="connsiteX5" fmla="*/ 432254 w 1791947"/>
                    <a:gd name="connsiteY5" fmla="*/ 170882 h 1292452"/>
                    <a:gd name="connsiteX6" fmla="*/ 434634 w 1791947"/>
                    <a:gd name="connsiteY6" fmla="*/ 220890 h 1292452"/>
                    <a:gd name="connsiteX7" fmla="*/ 472735 w 1791947"/>
                    <a:gd name="connsiteY7" fmla="*/ 228033 h 1292452"/>
                    <a:gd name="connsiteX8" fmla="*/ 487022 w 1791947"/>
                    <a:gd name="connsiteY8" fmla="*/ 247082 h 1292452"/>
                    <a:gd name="connsiteX9" fmla="*/ 544173 w 1791947"/>
                    <a:gd name="connsiteY9" fmla="*/ 294708 h 1292452"/>
                    <a:gd name="connsiteX10" fmla="*/ 589416 w 1791947"/>
                    <a:gd name="connsiteY10" fmla="*/ 418533 h 1292452"/>
                    <a:gd name="connsiteX11" fmla="*/ 606085 w 1791947"/>
                    <a:gd name="connsiteY11" fmla="*/ 549501 h 1292452"/>
                    <a:gd name="connsiteX12" fmla="*/ 565603 w 1791947"/>
                    <a:gd name="connsiteY12" fmla="*/ 589984 h 1292452"/>
                    <a:gd name="connsiteX13" fmla="*/ 603703 w 1791947"/>
                    <a:gd name="connsiteY13" fmla="*/ 606651 h 1292452"/>
                    <a:gd name="connsiteX14" fmla="*/ 587035 w 1791947"/>
                    <a:gd name="connsiteY14" fmla="*/ 649514 h 1292452"/>
                    <a:gd name="connsiteX15" fmla="*/ 648948 w 1791947"/>
                    <a:gd name="connsiteY15" fmla="*/ 670946 h 1292452"/>
                    <a:gd name="connsiteX16" fmla="*/ 603703 w 1791947"/>
                    <a:gd name="connsiteY16" fmla="*/ 794771 h 1292452"/>
                    <a:gd name="connsiteX17" fmla="*/ 0 w 1791947"/>
                    <a:gd name="connsiteY17" fmla="*/ 872785 h 1292452"/>
                    <a:gd name="connsiteX18" fmla="*/ 213179 w 1791947"/>
                    <a:gd name="connsiteY18" fmla="*/ 1292452 h 1292452"/>
                    <a:gd name="connsiteX19" fmla="*/ 341767 w 1791947"/>
                    <a:gd name="connsiteY19" fmla="*/ 1266257 h 1292452"/>
                    <a:gd name="connsiteX20" fmla="*/ 501310 w 1791947"/>
                    <a:gd name="connsiteY20" fmla="*/ 1242445 h 1292452"/>
                    <a:gd name="connsiteX21" fmla="*/ 556079 w 1791947"/>
                    <a:gd name="connsiteY21" fmla="*/ 1259113 h 1292452"/>
                    <a:gd name="connsiteX22" fmla="*/ 1236436 w 1791947"/>
                    <a:gd name="connsiteY22" fmla="*/ 714261 h 1292452"/>
                    <a:gd name="connsiteX23" fmla="*/ 1327603 w 1791947"/>
                    <a:gd name="connsiteY23" fmla="*/ 639989 h 1292452"/>
                    <a:gd name="connsiteX24" fmla="*/ 1791947 w 1791947"/>
                    <a:gd name="connsiteY24" fmla="*/ 280420 h 1292452"/>
                    <a:gd name="connsiteX25" fmla="*/ 1791721 w 1791947"/>
                    <a:gd name="connsiteY25" fmla="*/ 0 h 1292452"/>
                    <a:gd name="connsiteX26" fmla="*/ 575130 w 1791947"/>
                    <a:gd name="connsiteY26" fmla="*/ 9752 h 1292452"/>
                    <a:gd name="connsiteX0" fmla="*/ 575130 w 1791947"/>
                    <a:gd name="connsiteY0" fmla="*/ 9752 h 1292452"/>
                    <a:gd name="connsiteX1" fmla="*/ 506072 w 1791947"/>
                    <a:gd name="connsiteY1" fmla="*/ 20864 h 1292452"/>
                    <a:gd name="connsiteX2" fmla="*/ 477497 w 1791947"/>
                    <a:gd name="connsiteY2" fmla="*/ 56582 h 1292452"/>
                    <a:gd name="connsiteX3" fmla="*/ 425110 w 1791947"/>
                    <a:gd name="connsiteY3" fmla="*/ 49439 h 1292452"/>
                    <a:gd name="connsiteX4" fmla="*/ 370341 w 1791947"/>
                    <a:gd name="connsiteY4" fmla="*/ 73251 h 1292452"/>
                    <a:gd name="connsiteX5" fmla="*/ 432254 w 1791947"/>
                    <a:gd name="connsiteY5" fmla="*/ 170882 h 1292452"/>
                    <a:gd name="connsiteX6" fmla="*/ 434634 w 1791947"/>
                    <a:gd name="connsiteY6" fmla="*/ 220890 h 1292452"/>
                    <a:gd name="connsiteX7" fmla="*/ 472735 w 1791947"/>
                    <a:gd name="connsiteY7" fmla="*/ 228033 h 1292452"/>
                    <a:gd name="connsiteX8" fmla="*/ 487022 w 1791947"/>
                    <a:gd name="connsiteY8" fmla="*/ 247082 h 1292452"/>
                    <a:gd name="connsiteX9" fmla="*/ 544173 w 1791947"/>
                    <a:gd name="connsiteY9" fmla="*/ 294708 h 1292452"/>
                    <a:gd name="connsiteX10" fmla="*/ 589416 w 1791947"/>
                    <a:gd name="connsiteY10" fmla="*/ 418533 h 1292452"/>
                    <a:gd name="connsiteX11" fmla="*/ 606085 w 1791947"/>
                    <a:gd name="connsiteY11" fmla="*/ 549501 h 1292452"/>
                    <a:gd name="connsiteX12" fmla="*/ 565603 w 1791947"/>
                    <a:gd name="connsiteY12" fmla="*/ 589984 h 1292452"/>
                    <a:gd name="connsiteX13" fmla="*/ 603703 w 1791947"/>
                    <a:gd name="connsiteY13" fmla="*/ 606651 h 1292452"/>
                    <a:gd name="connsiteX14" fmla="*/ 587035 w 1791947"/>
                    <a:gd name="connsiteY14" fmla="*/ 649514 h 1292452"/>
                    <a:gd name="connsiteX15" fmla="*/ 648948 w 1791947"/>
                    <a:gd name="connsiteY15" fmla="*/ 670946 h 1292452"/>
                    <a:gd name="connsiteX16" fmla="*/ 603703 w 1791947"/>
                    <a:gd name="connsiteY16" fmla="*/ 794771 h 1292452"/>
                    <a:gd name="connsiteX17" fmla="*/ 0 w 1791947"/>
                    <a:gd name="connsiteY17" fmla="*/ 872785 h 1292452"/>
                    <a:gd name="connsiteX18" fmla="*/ 213179 w 1791947"/>
                    <a:gd name="connsiteY18" fmla="*/ 1292452 h 1292452"/>
                    <a:gd name="connsiteX19" fmla="*/ 434635 w 1791947"/>
                    <a:gd name="connsiteY19" fmla="*/ 1185295 h 1292452"/>
                    <a:gd name="connsiteX20" fmla="*/ 501310 w 1791947"/>
                    <a:gd name="connsiteY20" fmla="*/ 1242445 h 1292452"/>
                    <a:gd name="connsiteX21" fmla="*/ 556079 w 1791947"/>
                    <a:gd name="connsiteY21" fmla="*/ 1259113 h 1292452"/>
                    <a:gd name="connsiteX22" fmla="*/ 1236436 w 1791947"/>
                    <a:gd name="connsiteY22" fmla="*/ 714261 h 1292452"/>
                    <a:gd name="connsiteX23" fmla="*/ 1327603 w 1791947"/>
                    <a:gd name="connsiteY23" fmla="*/ 639989 h 1292452"/>
                    <a:gd name="connsiteX24" fmla="*/ 1791947 w 1791947"/>
                    <a:gd name="connsiteY24" fmla="*/ 280420 h 1292452"/>
                    <a:gd name="connsiteX25" fmla="*/ 1791721 w 1791947"/>
                    <a:gd name="connsiteY25" fmla="*/ 0 h 1292452"/>
                    <a:gd name="connsiteX26" fmla="*/ 575130 w 1791947"/>
                    <a:gd name="connsiteY26" fmla="*/ 9752 h 1292452"/>
                    <a:gd name="connsiteX0" fmla="*/ 575130 w 1791947"/>
                    <a:gd name="connsiteY0" fmla="*/ 9752 h 1292452"/>
                    <a:gd name="connsiteX1" fmla="*/ 506072 w 1791947"/>
                    <a:gd name="connsiteY1" fmla="*/ 20864 h 1292452"/>
                    <a:gd name="connsiteX2" fmla="*/ 477497 w 1791947"/>
                    <a:gd name="connsiteY2" fmla="*/ 56582 h 1292452"/>
                    <a:gd name="connsiteX3" fmla="*/ 425110 w 1791947"/>
                    <a:gd name="connsiteY3" fmla="*/ 49439 h 1292452"/>
                    <a:gd name="connsiteX4" fmla="*/ 370341 w 1791947"/>
                    <a:gd name="connsiteY4" fmla="*/ 73251 h 1292452"/>
                    <a:gd name="connsiteX5" fmla="*/ 432254 w 1791947"/>
                    <a:gd name="connsiteY5" fmla="*/ 170882 h 1292452"/>
                    <a:gd name="connsiteX6" fmla="*/ 434634 w 1791947"/>
                    <a:gd name="connsiteY6" fmla="*/ 220890 h 1292452"/>
                    <a:gd name="connsiteX7" fmla="*/ 472735 w 1791947"/>
                    <a:gd name="connsiteY7" fmla="*/ 228033 h 1292452"/>
                    <a:gd name="connsiteX8" fmla="*/ 487022 w 1791947"/>
                    <a:gd name="connsiteY8" fmla="*/ 247082 h 1292452"/>
                    <a:gd name="connsiteX9" fmla="*/ 544173 w 1791947"/>
                    <a:gd name="connsiteY9" fmla="*/ 294708 h 1292452"/>
                    <a:gd name="connsiteX10" fmla="*/ 589416 w 1791947"/>
                    <a:gd name="connsiteY10" fmla="*/ 418533 h 1292452"/>
                    <a:gd name="connsiteX11" fmla="*/ 606085 w 1791947"/>
                    <a:gd name="connsiteY11" fmla="*/ 549501 h 1292452"/>
                    <a:gd name="connsiteX12" fmla="*/ 565603 w 1791947"/>
                    <a:gd name="connsiteY12" fmla="*/ 589984 h 1292452"/>
                    <a:gd name="connsiteX13" fmla="*/ 603703 w 1791947"/>
                    <a:gd name="connsiteY13" fmla="*/ 606651 h 1292452"/>
                    <a:gd name="connsiteX14" fmla="*/ 587035 w 1791947"/>
                    <a:gd name="connsiteY14" fmla="*/ 649514 h 1292452"/>
                    <a:gd name="connsiteX15" fmla="*/ 648948 w 1791947"/>
                    <a:gd name="connsiteY15" fmla="*/ 670946 h 1292452"/>
                    <a:gd name="connsiteX16" fmla="*/ 603703 w 1791947"/>
                    <a:gd name="connsiteY16" fmla="*/ 794771 h 1292452"/>
                    <a:gd name="connsiteX17" fmla="*/ 0 w 1791947"/>
                    <a:gd name="connsiteY17" fmla="*/ 872785 h 1292452"/>
                    <a:gd name="connsiteX18" fmla="*/ 213179 w 1791947"/>
                    <a:gd name="connsiteY18" fmla="*/ 1292452 h 1292452"/>
                    <a:gd name="connsiteX19" fmla="*/ 315573 w 1791947"/>
                    <a:gd name="connsiteY19" fmla="*/ 1244825 h 1292452"/>
                    <a:gd name="connsiteX20" fmla="*/ 434635 w 1791947"/>
                    <a:gd name="connsiteY20" fmla="*/ 1185295 h 1292452"/>
                    <a:gd name="connsiteX21" fmla="*/ 501310 w 1791947"/>
                    <a:gd name="connsiteY21" fmla="*/ 1242445 h 1292452"/>
                    <a:gd name="connsiteX22" fmla="*/ 556079 w 1791947"/>
                    <a:gd name="connsiteY22" fmla="*/ 1259113 h 1292452"/>
                    <a:gd name="connsiteX23" fmla="*/ 1236436 w 1791947"/>
                    <a:gd name="connsiteY23" fmla="*/ 714261 h 1292452"/>
                    <a:gd name="connsiteX24" fmla="*/ 1327603 w 1791947"/>
                    <a:gd name="connsiteY24" fmla="*/ 639989 h 1292452"/>
                    <a:gd name="connsiteX25" fmla="*/ 1791947 w 1791947"/>
                    <a:gd name="connsiteY25" fmla="*/ 280420 h 1292452"/>
                    <a:gd name="connsiteX26" fmla="*/ 1791721 w 1791947"/>
                    <a:gd name="connsiteY26" fmla="*/ 0 h 1292452"/>
                    <a:gd name="connsiteX27" fmla="*/ 575130 w 1791947"/>
                    <a:gd name="connsiteY27" fmla="*/ 9752 h 1292452"/>
                    <a:gd name="connsiteX0" fmla="*/ 575130 w 1791947"/>
                    <a:gd name="connsiteY0" fmla="*/ 9752 h 1292452"/>
                    <a:gd name="connsiteX1" fmla="*/ 506072 w 1791947"/>
                    <a:gd name="connsiteY1" fmla="*/ 20864 h 1292452"/>
                    <a:gd name="connsiteX2" fmla="*/ 477497 w 1791947"/>
                    <a:gd name="connsiteY2" fmla="*/ 56582 h 1292452"/>
                    <a:gd name="connsiteX3" fmla="*/ 425110 w 1791947"/>
                    <a:gd name="connsiteY3" fmla="*/ 49439 h 1292452"/>
                    <a:gd name="connsiteX4" fmla="*/ 370341 w 1791947"/>
                    <a:gd name="connsiteY4" fmla="*/ 73251 h 1292452"/>
                    <a:gd name="connsiteX5" fmla="*/ 432254 w 1791947"/>
                    <a:gd name="connsiteY5" fmla="*/ 170882 h 1292452"/>
                    <a:gd name="connsiteX6" fmla="*/ 434634 w 1791947"/>
                    <a:gd name="connsiteY6" fmla="*/ 220890 h 1292452"/>
                    <a:gd name="connsiteX7" fmla="*/ 472735 w 1791947"/>
                    <a:gd name="connsiteY7" fmla="*/ 228033 h 1292452"/>
                    <a:gd name="connsiteX8" fmla="*/ 487022 w 1791947"/>
                    <a:gd name="connsiteY8" fmla="*/ 247082 h 1292452"/>
                    <a:gd name="connsiteX9" fmla="*/ 544173 w 1791947"/>
                    <a:gd name="connsiteY9" fmla="*/ 294708 h 1292452"/>
                    <a:gd name="connsiteX10" fmla="*/ 589416 w 1791947"/>
                    <a:gd name="connsiteY10" fmla="*/ 418533 h 1292452"/>
                    <a:gd name="connsiteX11" fmla="*/ 606085 w 1791947"/>
                    <a:gd name="connsiteY11" fmla="*/ 549501 h 1292452"/>
                    <a:gd name="connsiteX12" fmla="*/ 565603 w 1791947"/>
                    <a:gd name="connsiteY12" fmla="*/ 589984 h 1292452"/>
                    <a:gd name="connsiteX13" fmla="*/ 603703 w 1791947"/>
                    <a:gd name="connsiteY13" fmla="*/ 606651 h 1292452"/>
                    <a:gd name="connsiteX14" fmla="*/ 587035 w 1791947"/>
                    <a:gd name="connsiteY14" fmla="*/ 649514 h 1292452"/>
                    <a:gd name="connsiteX15" fmla="*/ 648948 w 1791947"/>
                    <a:gd name="connsiteY15" fmla="*/ 670946 h 1292452"/>
                    <a:gd name="connsiteX16" fmla="*/ 603703 w 1791947"/>
                    <a:gd name="connsiteY16" fmla="*/ 794771 h 1292452"/>
                    <a:gd name="connsiteX17" fmla="*/ 0 w 1791947"/>
                    <a:gd name="connsiteY17" fmla="*/ 872785 h 1292452"/>
                    <a:gd name="connsiteX18" fmla="*/ 213179 w 1791947"/>
                    <a:gd name="connsiteY18" fmla="*/ 1292452 h 1292452"/>
                    <a:gd name="connsiteX19" fmla="*/ 384629 w 1791947"/>
                    <a:gd name="connsiteY19" fmla="*/ 1228156 h 1292452"/>
                    <a:gd name="connsiteX20" fmla="*/ 434635 w 1791947"/>
                    <a:gd name="connsiteY20" fmla="*/ 1185295 h 1292452"/>
                    <a:gd name="connsiteX21" fmla="*/ 501310 w 1791947"/>
                    <a:gd name="connsiteY21" fmla="*/ 1242445 h 1292452"/>
                    <a:gd name="connsiteX22" fmla="*/ 556079 w 1791947"/>
                    <a:gd name="connsiteY22" fmla="*/ 1259113 h 1292452"/>
                    <a:gd name="connsiteX23" fmla="*/ 1236436 w 1791947"/>
                    <a:gd name="connsiteY23" fmla="*/ 714261 h 1292452"/>
                    <a:gd name="connsiteX24" fmla="*/ 1327603 w 1791947"/>
                    <a:gd name="connsiteY24" fmla="*/ 639989 h 1292452"/>
                    <a:gd name="connsiteX25" fmla="*/ 1791947 w 1791947"/>
                    <a:gd name="connsiteY25" fmla="*/ 280420 h 1292452"/>
                    <a:gd name="connsiteX26" fmla="*/ 1791721 w 1791947"/>
                    <a:gd name="connsiteY26" fmla="*/ 0 h 1292452"/>
                    <a:gd name="connsiteX27" fmla="*/ 575130 w 1791947"/>
                    <a:gd name="connsiteY27" fmla="*/ 9752 h 1292452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363197 w 1791947"/>
                    <a:gd name="connsiteY18" fmla="*/ 1199584 h 1259113"/>
                    <a:gd name="connsiteX19" fmla="*/ 384629 w 1791947"/>
                    <a:gd name="connsiteY19" fmla="*/ 1228156 h 1259113"/>
                    <a:gd name="connsiteX20" fmla="*/ 434635 w 1791947"/>
                    <a:gd name="connsiteY20" fmla="*/ 1185295 h 1259113"/>
                    <a:gd name="connsiteX21" fmla="*/ 501310 w 1791947"/>
                    <a:gd name="connsiteY21" fmla="*/ 1242445 h 1259113"/>
                    <a:gd name="connsiteX22" fmla="*/ 556079 w 1791947"/>
                    <a:gd name="connsiteY22" fmla="*/ 1259113 h 1259113"/>
                    <a:gd name="connsiteX23" fmla="*/ 1236436 w 1791947"/>
                    <a:gd name="connsiteY23" fmla="*/ 714261 h 1259113"/>
                    <a:gd name="connsiteX24" fmla="*/ 1327603 w 1791947"/>
                    <a:gd name="connsiteY24" fmla="*/ 639989 h 1259113"/>
                    <a:gd name="connsiteX25" fmla="*/ 1791947 w 1791947"/>
                    <a:gd name="connsiteY25" fmla="*/ 280420 h 1259113"/>
                    <a:gd name="connsiteX26" fmla="*/ 1791721 w 1791947"/>
                    <a:gd name="connsiteY26" fmla="*/ 0 h 1259113"/>
                    <a:gd name="connsiteX27" fmla="*/ 575130 w 1791947"/>
                    <a:gd name="connsiteY27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177461 w 1791947"/>
                    <a:gd name="connsiteY18" fmla="*/ 1037658 h 1259113"/>
                    <a:gd name="connsiteX19" fmla="*/ 363197 w 1791947"/>
                    <a:gd name="connsiteY19" fmla="*/ 1199584 h 1259113"/>
                    <a:gd name="connsiteX20" fmla="*/ 384629 w 1791947"/>
                    <a:gd name="connsiteY20" fmla="*/ 1228156 h 1259113"/>
                    <a:gd name="connsiteX21" fmla="*/ 434635 w 1791947"/>
                    <a:gd name="connsiteY21" fmla="*/ 1185295 h 1259113"/>
                    <a:gd name="connsiteX22" fmla="*/ 501310 w 1791947"/>
                    <a:gd name="connsiteY22" fmla="*/ 1242445 h 1259113"/>
                    <a:gd name="connsiteX23" fmla="*/ 556079 w 1791947"/>
                    <a:gd name="connsiteY23" fmla="*/ 1259113 h 1259113"/>
                    <a:gd name="connsiteX24" fmla="*/ 1236436 w 1791947"/>
                    <a:gd name="connsiteY24" fmla="*/ 714261 h 1259113"/>
                    <a:gd name="connsiteX25" fmla="*/ 1327603 w 1791947"/>
                    <a:gd name="connsiteY25" fmla="*/ 639989 h 1259113"/>
                    <a:gd name="connsiteX26" fmla="*/ 1791947 w 1791947"/>
                    <a:gd name="connsiteY26" fmla="*/ 280420 h 1259113"/>
                    <a:gd name="connsiteX27" fmla="*/ 1791721 w 1791947"/>
                    <a:gd name="connsiteY27" fmla="*/ 0 h 1259113"/>
                    <a:gd name="connsiteX28" fmla="*/ 575130 w 1791947"/>
                    <a:gd name="connsiteY28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327480 w 1791947"/>
                    <a:gd name="connsiteY18" fmla="*/ 1140052 h 1259113"/>
                    <a:gd name="connsiteX19" fmla="*/ 363197 w 1791947"/>
                    <a:gd name="connsiteY19" fmla="*/ 1199584 h 1259113"/>
                    <a:gd name="connsiteX20" fmla="*/ 384629 w 1791947"/>
                    <a:gd name="connsiteY20" fmla="*/ 1228156 h 1259113"/>
                    <a:gd name="connsiteX21" fmla="*/ 434635 w 1791947"/>
                    <a:gd name="connsiteY21" fmla="*/ 1185295 h 1259113"/>
                    <a:gd name="connsiteX22" fmla="*/ 501310 w 1791947"/>
                    <a:gd name="connsiteY22" fmla="*/ 1242445 h 1259113"/>
                    <a:gd name="connsiteX23" fmla="*/ 556079 w 1791947"/>
                    <a:gd name="connsiteY23" fmla="*/ 1259113 h 1259113"/>
                    <a:gd name="connsiteX24" fmla="*/ 1236436 w 1791947"/>
                    <a:gd name="connsiteY24" fmla="*/ 714261 h 1259113"/>
                    <a:gd name="connsiteX25" fmla="*/ 1327603 w 1791947"/>
                    <a:gd name="connsiteY25" fmla="*/ 639989 h 1259113"/>
                    <a:gd name="connsiteX26" fmla="*/ 1791947 w 1791947"/>
                    <a:gd name="connsiteY26" fmla="*/ 280420 h 1259113"/>
                    <a:gd name="connsiteX27" fmla="*/ 1791721 w 1791947"/>
                    <a:gd name="connsiteY27" fmla="*/ 0 h 1259113"/>
                    <a:gd name="connsiteX28" fmla="*/ 575130 w 1791947"/>
                    <a:gd name="connsiteY28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141742 w 1791947"/>
                    <a:gd name="connsiteY18" fmla="*/ 992414 h 1259113"/>
                    <a:gd name="connsiteX19" fmla="*/ 327480 w 1791947"/>
                    <a:gd name="connsiteY19" fmla="*/ 1140052 h 1259113"/>
                    <a:gd name="connsiteX20" fmla="*/ 363197 w 1791947"/>
                    <a:gd name="connsiteY20" fmla="*/ 1199584 h 1259113"/>
                    <a:gd name="connsiteX21" fmla="*/ 384629 w 1791947"/>
                    <a:gd name="connsiteY21" fmla="*/ 1228156 h 1259113"/>
                    <a:gd name="connsiteX22" fmla="*/ 434635 w 1791947"/>
                    <a:gd name="connsiteY22" fmla="*/ 1185295 h 1259113"/>
                    <a:gd name="connsiteX23" fmla="*/ 501310 w 1791947"/>
                    <a:gd name="connsiteY23" fmla="*/ 1242445 h 1259113"/>
                    <a:gd name="connsiteX24" fmla="*/ 556079 w 1791947"/>
                    <a:gd name="connsiteY24" fmla="*/ 1259113 h 1259113"/>
                    <a:gd name="connsiteX25" fmla="*/ 1236436 w 1791947"/>
                    <a:gd name="connsiteY25" fmla="*/ 714261 h 1259113"/>
                    <a:gd name="connsiteX26" fmla="*/ 1327603 w 1791947"/>
                    <a:gd name="connsiteY26" fmla="*/ 639989 h 1259113"/>
                    <a:gd name="connsiteX27" fmla="*/ 1791947 w 1791947"/>
                    <a:gd name="connsiteY27" fmla="*/ 280420 h 1259113"/>
                    <a:gd name="connsiteX28" fmla="*/ 1791721 w 1791947"/>
                    <a:gd name="connsiteY28" fmla="*/ 0 h 1259113"/>
                    <a:gd name="connsiteX29" fmla="*/ 575130 w 1791947"/>
                    <a:gd name="connsiteY29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358436 w 1791947"/>
                    <a:gd name="connsiteY18" fmla="*/ 1099570 h 1259113"/>
                    <a:gd name="connsiteX19" fmla="*/ 327480 w 1791947"/>
                    <a:gd name="connsiteY19" fmla="*/ 1140052 h 1259113"/>
                    <a:gd name="connsiteX20" fmla="*/ 363197 w 1791947"/>
                    <a:gd name="connsiteY20" fmla="*/ 1199584 h 1259113"/>
                    <a:gd name="connsiteX21" fmla="*/ 384629 w 1791947"/>
                    <a:gd name="connsiteY21" fmla="*/ 1228156 h 1259113"/>
                    <a:gd name="connsiteX22" fmla="*/ 434635 w 1791947"/>
                    <a:gd name="connsiteY22" fmla="*/ 1185295 h 1259113"/>
                    <a:gd name="connsiteX23" fmla="*/ 501310 w 1791947"/>
                    <a:gd name="connsiteY23" fmla="*/ 1242445 h 1259113"/>
                    <a:gd name="connsiteX24" fmla="*/ 556079 w 1791947"/>
                    <a:gd name="connsiteY24" fmla="*/ 1259113 h 1259113"/>
                    <a:gd name="connsiteX25" fmla="*/ 1236436 w 1791947"/>
                    <a:gd name="connsiteY25" fmla="*/ 714261 h 1259113"/>
                    <a:gd name="connsiteX26" fmla="*/ 1327603 w 1791947"/>
                    <a:gd name="connsiteY26" fmla="*/ 639989 h 1259113"/>
                    <a:gd name="connsiteX27" fmla="*/ 1791947 w 1791947"/>
                    <a:gd name="connsiteY27" fmla="*/ 280420 h 1259113"/>
                    <a:gd name="connsiteX28" fmla="*/ 1791721 w 1791947"/>
                    <a:gd name="connsiteY28" fmla="*/ 0 h 1259113"/>
                    <a:gd name="connsiteX29" fmla="*/ 575130 w 1791947"/>
                    <a:gd name="connsiteY29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194129 w 1791947"/>
                    <a:gd name="connsiteY18" fmla="*/ 994795 h 1259113"/>
                    <a:gd name="connsiteX19" fmla="*/ 358436 w 1791947"/>
                    <a:gd name="connsiteY19" fmla="*/ 1099570 h 1259113"/>
                    <a:gd name="connsiteX20" fmla="*/ 327480 w 1791947"/>
                    <a:gd name="connsiteY20" fmla="*/ 1140052 h 1259113"/>
                    <a:gd name="connsiteX21" fmla="*/ 363197 w 1791947"/>
                    <a:gd name="connsiteY21" fmla="*/ 1199584 h 1259113"/>
                    <a:gd name="connsiteX22" fmla="*/ 384629 w 1791947"/>
                    <a:gd name="connsiteY22" fmla="*/ 1228156 h 1259113"/>
                    <a:gd name="connsiteX23" fmla="*/ 434635 w 1791947"/>
                    <a:gd name="connsiteY23" fmla="*/ 1185295 h 1259113"/>
                    <a:gd name="connsiteX24" fmla="*/ 501310 w 1791947"/>
                    <a:gd name="connsiteY24" fmla="*/ 1242445 h 1259113"/>
                    <a:gd name="connsiteX25" fmla="*/ 556079 w 1791947"/>
                    <a:gd name="connsiteY25" fmla="*/ 1259113 h 1259113"/>
                    <a:gd name="connsiteX26" fmla="*/ 1236436 w 1791947"/>
                    <a:gd name="connsiteY26" fmla="*/ 714261 h 1259113"/>
                    <a:gd name="connsiteX27" fmla="*/ 1327603 w 1791947"/>
                    <a:gd name="connsiteY27" fmla="*/ 639989 h 1259113"/>
                    <a:gd name="connsiteX28" fmla="*/ 1791947 w 1791947"/>
                    <a:gd name="connsiteY28" fmla="*/ 280420 h 1259113"/>
                    <a:gd name="connsiteX29" fmla="*/ 1791721 w 1791947"/>
                    <a:gd name="connsiteY29" fmla="*/ 0 h 1259113"/>
                    <a:gd name="connsiteX30" fmla="*/ 575130 w 1791947"/>
                    <a:gd name="connsiteY30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387010 w 1791947"/>
                    <a:gd name="connsiteY18" fmla="*/ 1073376 h 1259113"/>
                    <a:gd name="connsiteX19" fmla="*/ 358436 w 1791947"/>
                    <a:gd name="connsiteY19" fmla="*/ 1099570 h 1259113"/>
                    <a:gd name="connsiteX20" fmla="*/ 327480 w 1791947"/>
                    <a:gd name="connsiteY20" fmla="*/ 1140052 h 1259113"/>
                    <a:gd name="connsiteX21" fmla="*/ 363197 w 1791947"/>
                    <a:gd name="connsiteY21" fmla="*/ 1199584 h 1259113"/>
                    <a:gd name="connsiteX22" fmla="*/ 384629 w 1791947"/>
                    <a:gd name="connsiteY22" fmla="*/ 1228156 h 1259113"/>
                    <a:gd name="connsiteX23" fmla="*/ 434635 w 1791947"/>
                    <a:gd name="connsiteY23" fmla="*/ 1185295 h 1259113"/>
                    <a:gd name="connsiteX24" fmla="*/ 501310 w 1791947"/>
                    <a:gd name="connsiteY24" fmla="*/ 1242445 h 1259113"/>
                    <a:gd name="connsiteX25" fmla="*/ 556079 w 1791947"/>
                    <a:gd name="connsiteY25" fmla="*/ 1259113 h 1259113"/>
                    <a:gd name="connsiteX26" fmla="*/ 1236436 w 1791947"/>
                    <a:gd name="connsiteY26" fmla="*/ 714261 h 1259113"/>
                    <a:gd name="connsiteX27" fmla="*/ 1327603 w 1791947"/>
                    <a:gd name="connsiteY27" fmla="*/ 639989 h 1259113"/>
                    <a:gd name="connsiteX28" fmla="*/ 1791947 w 1791947"/>
                    <a:gd name="connsiteY28" fmla="*/ 280420 h 1259113"/>
                    <a:gd name="connsiteX29" fmla="*/ 1791721 w 1791947"/>
                    <a:gd name="connsiteY29" fmla="*/ 0 h 1259113"/>
                    <a:gd name="connsiteX30" fmla="*/ 575130 w 1791947"/>
                    <a:gd name="connsiteY30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167936 w 1791947"/>
                    <a:gd name="connsiteY18" fmla="*/ 963839 h 1259113"/>
                    <a:gd name="connsiteX19" fmla="*/ 387010 w 1791947"/>
                    <a:gd name="connsiteY19" fmla="*/ 1073376 h 1259113"/>
                    <a:gd name="connsiteX20" fmla="*/ 358436 w 1791947"/>
                    <a:gd name="connsiteY20" fmla="*/ 1099570 h 1259113"/>
                    <a:gd name="connsiteX21" fmla="*/ 327480 w 1791947"/>
                    <a:gd name="connsiteY21" fmla="*/ 1140052 h 1259113"/>
                    <a:gd name="connsiteX22" fmla="*/ 363197 w 1791947"/>
                    <a:gd name="connsiteY22" fmla="*/ 1199584 h 1259113"/>
                    <a:gd name="connsiteX23" fmla="*/ 384629 w 1791947"/>
                    <a:gd name="connsiteY23" fmla="*/ 1228156 h 1259113"/>
                    <a:gd name="connsiteX24" fmla="*/ 434635 w 1791947"/>
                    <a:gd name="connsiteY24" fmla="*/ 1185295 h 1259113"/>
                    <a:gd name="connsiteX25" fmla="*/ 501310 w 1791947"/>
                    <a:gd name="connsiteY25" fmla="*/ 1242445 h 1259113"/>
                    <a:gd name="connsiteX26" fmla="*/ 556079 w 1791947"/>
                    <a:gd name="connsiteY26" fmla="*/ 1259113 h 1259113"/>
                    <a:gd name="connsiteX27" fmla="*/ 1236436 w 1791947"/>
                    <a:gd name="connsiteY27" fmla="*/ 714261 h 1259113"/>
                    <a:gd name="connsiteX28" fmla="*/ 1327603 w 1791947"/>
                    <a:gd name="connsiteY28" fmla="*/ 639989 h 1259113"/>
                    <a:gd name="connsiteX29" fmla="*/ 1791947 w 1791947"/>
                    <a:gd name="connsiteY29" fmla="*/ 280420 h 1259113"/>
                    <a:gd name="connsiteX30" fmla="*/ 1791721 w 1791947"/>
                    <a:gd name="connsiteY30" fmla="*/ 0 h 1259113"/>
                    <a:gd name="connsiteX31" fmla="*/ 575130 w 1791947"/>
                    <a:gd name="connsiteY31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408442 w 1791947"/>
                    <a:gd name="connsiteY18" fmla="*/ 1040039 h 1259113"/>
                    <a:gd name="connsiteX19" fmla="*/ 387010 w 1791947"/>
                    <a:gd name="connsiteY19" fmla="*/ 1073376 h 1259113"/>
                    <a:gd name="connsiteX20" fmla="*/ 358436 w 1791947"/>
                    <a:gd name="connsiteY20" fmla="*/ 1099570 h 1259113"/>
                    <a:gd name="connsiteX21" fmla="*/ 327480 w 1791947"/>
                    <a:gd name="connsiteY21" fmla="*/ 1140052 h 1259113"/>
                    <a:gd name="connsiteX22" fmla="*/ 363197 w 1791947"/>
                    <a:gd name="connsiteY22" fmla="*/ 1199584 h 1259113"/>
                    <a:gd name="connsiteX23" fmla="*/ 384629 w 1791947"/>
                    <a:gd name="connsiteY23" fmla="*/ 1228156 h 1259113"/>
                    <a:gd name="connsiteX24" fmla="*/ 434635 w 1791947"/>
                    <a:gd name="connsiteY24" fmla="*/ 1185295 h 1259113"/>
                    <a:gd name="connsiteX25" fmla="*/ 501310 w 1791947"/>
                    <a:gd name="connsiteY25" fmla="*/ 1242445 h 1259113"/>
                    <a:gd name="connsiteX26" fmla="*/ 556079 w 1791947"/>
                    <a:gd name="connsiteY26" fmla="*/ 1259113 h 1259113"/>
                    <a:gd name="connsiteX27" fmla="*/ 1236436 w 1791947"/>
                    <a:gd name="connsiteY27" fmla="*/ 714261 h 1259113"/>
                    <a:gd name="connsiteX28" fmla="*/ 1327603 w 1791947"/>
                    <a:gd name="connsiteY28" fmla="*/ 639989 h 1259113"/>
                    <a:gd name="connsiteX29" fmla="*/ 1791947 w 1791947"/>
                    <a:gd name="connsiteY29" fmla="*/ 280420 h 1259113"/>
                    <a:gd name="connsiteX30" fmla="*/ 1791721 w 1791947"/>
                    <a:gd name="connsiteY30" fmla="*/ 0 h 1259113"/>
                    <a:gd name="connsiteX31" fmla="*/ 575130 w 1791947"/>
                    <a:gd name="connsiteY31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210798 w 1791947"/>
                    <a:gd name="connsiteY18" fmla="*/ 961458 h 1259113"/>
                    <a:gd name="connsiteX19" fmla="*/ 408442 w 1791947"/>
                    <a:gd name="connsiteY19" fmla="*/ 1040039 h 1259113"/>
                    <a:gd name="connsiteX20" fmla="*/ 387010 w 1791947"/>
                    <a:gd name="connsiteY20" fmla="*/ 1073376 h 1259113"/>
                    <a:gd name="connsiteX21" fmla="*/ 358436 w 1791947"/>
                    <a:gd name="connsiteY21" fmla="*/ 1099570 h 1259113"/>
                    <a:gd name="connsiteX22" fmla="*/ 327480 w 1791947"/>
                    <a:gd name="connsiteY22" fmla="*/ 1140052 h 1259113"/>
                    <a:gd name="connsiteX23" fmla="*/ 363197 w 1791947"/>
                    <a:gd name="connsiteY23" fmla="*/ 1199584 h 1259113"/>
                    <a:gd name="connsiteX24" fmla="*/ 384629 w 1791947"/>
                    <a:gd name="connsiteY24" fmla="*/ 1228156 h 1259113"/>
                    <a:gd name="connsiteX25" fmla="*/ 434635 w 1791947"/>
                    <a:gd name="connsiteY25" fmla="*/ 1185295 h 1259113"/>
                    <a:gd name="connsiteX26" fmla="*/ 501310 w 1791947"/>
                    <a:gd name="connsiteY26" fmla="*/ 1242445 h 1259113"/>
                    <a:gd name="connsiteX27" fmla="*/ 556079 w 1791947"/>
                    <a:gd name="connsiteY27" fmla="*/ 1259113 h 1259113"/>
                    <a:gd name="connsiteX28" fmla="*/ 1236436 w 1791947"/>
                    <a:gd name="connsiteY28" fmla="*/ 714261 h 1259113"/>
                    <a:gd name="connsiteX29" fmla="*/ 1327603 w 1791947"/>
                    <a:gd name="connsiteY29" fmla="*/ 639989 h 1259113"/>
                    <a:gd name="connsiteX30" fmla="*/ 1791947 w 1791947"/>
                    <a:gd name="connsiteY30" fmla="*/ 280420 h 1259113"/>
                    <a:gd name="connsiteX31" fmla="*/ 1791721 w 1791947"/>
                    <a:gd name="connsiteY31" fmla="*/ 0 h 1259113"/>
                    <a:gd name="connsiteX32" fmla="*/ 575130 w 1791947"/>
                    <a:gd name="connsiteY32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356054 w 1791947"/>
                    <a:gd name="connsiteY18" fmla="*/ 1059090 h 1259113"/>
                    <a:gd name="connsiteX19" fmla="*/ 408442 w 1791947"/>
                    <a:gd name="connsiteY19" fmla="*/ 1040039 h 1259113"/>
                    <a:gd name="connsiteX20" fmla="*/ 387010 w 1791947"/>
                    <a:gd name="connsiteY20" fmla="*/ 1073376 h 1259113"/>
                    <a:gd name="connsiteX21" fmla="*/ 358436 w 1791947"/>
                    <a:gd name="connsiteY21" fmla="*/ 1099570 h 1259113"/>
                    <a:gd name="connsiteX22" fmla="*/ 327480 w 1791947"/>
                    <a:gd name="connsiteY22" fmla="*/ 1140052 h 1259113"/>
                    <a:gd name="connsiteX23" fmla="*/ 363197 w 1791947"/>
                    <a:gd name="connsiteY23" fmla="*/ 1199584 h 1259113"/>
                    <a:gd name="connsiteX24" fmla="*/ 384629 w 1791947"/>
                    <a:gd name="connsiteY24" fmla="*/ 1228156 h 1259113"/>
                    <a:gd name="connsiteX25" fmla="*/ 434635 w 1791947"/>
                    <a:gd name="connsiteY25" fmla="*/ 1185295 h 1259113"/>
                    <a:gd name="connsiteX26" fmla="*/ 501310 w 1791947"/>
                    <a:gd name="connsiteY26" fmla="*/ 1242445 h 1259113"/>
                    <a:gd name="connsiteX27" fmla="*/ 556079 w 1791947"/>
                    <a:gd name="connsiteY27" fmla="*/ 1259113 h 1259113"/>
                    <a:gd name="connsiteX28" fmla="*/ 1236436 w 1791947"/>
                    <a:gd name="connsiteY28" fmla="*/ 714261 h 1259113"/>
                    <a:gd name="connsiteX29" fmla="*/ 1327603 w 1791947"/>
                    <a:gd name="connsiteY29" fmla="*/ 639989 h 1259113"/>
                    <a:gd name="connsiteX30" fmla="*/ 1791947 w 1791947"/>
                    <a:gd name="connsiteY30" fmla="*/ 280420 h 1259113"/>
                    <a:gd name="connsiteX31" fmla="*/ 1791721 w 1791947"/>
                    <a:gd name="connsiteY31" fmla="*/ 0 h 1259113"/>
                    <a:gd name="connsiteX32" fmla="*/ 575130 w 1791947"/>
                    <a:gd name="connsiteY32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106023 w 1791947"/>
                    <a:gd name="connsiteY18" fmla="*/ 932883 h 1259113"/>
                    <a:gd name="connsiteX19" fmla="*/ 356054 w 1791947"/>
                    <a:gd name="connsiteY19" fmla="*/ 1059090 h 1259113"/>
                    <a:gd name="connsiteX20" fmla="*/ 408442 w 1791947"/>
                    <a:gd name="connsiteY20" fmla="*/ 1040039 h 1259113"/>
                    <a:gd name="connsiteX21" fmla="*/ 387010 w 1791947"/>
                    <a:gd name="connsiteY21" fmla="*/ 1073376 h 1259113"/>
                    <a:gd name="connsiteX22" fmla="*/ 358436 w 1791947"/>
                    <a:gd name="connsiteY22" fmla="*/ 1099570 h 1259113"/>
                    <a:gd name="connsiteX23" fmla="*/ 327480 w 1791947"/>
                    <a:gd name="connsiteY23" fmla="*/ 1140052 h 1259113"/>
                    <a:gd name="connsiteX24" fmla="*/ 363197 w 1791947"/>
                    <a:gd name="connsiteY24" fmla="*/ 1199584 h 1259113"/>
                    <a:gd name="connsiteX25" fmla="*/ 384629 w 1791947"/>
                    <a:gd name="connsiteY25" fmla="*/ 1228156 h 1259113"/>
                    <a:gd name="connsiteX26" fmla="*/ 434635 w 1791947"/>
                    <a:gd name="connsiteY26" fmla="*/ 1185295 h 1259113"/>
                    <a:gd name="connsiteX27" fmla="*/ 501310 w 1791947"/>
                    <a:gd name="connsiteY27" fmla="*/ 1242445 h 1259113"/>
                    <a:gd name="connsiteX28" fmla="*/ 556079 w 1791947"/>
                    <a:gd name="connsiteY28" fmla="*/ 1259113 h 1259113"/>
                    <a:gd name="connsiteX29" fmla="*/ 1236436 w 1791947"/>
                    <a:gd name="connsiteY29" fmla="*/ 714261 h 1259113"/>
                    <a:gd name="connsiteX30" fmla="*/ 1327603 w 1791947"/>
                    <a:gd name="connsiteY30" fmla="*/ 639989 h 1259113"/>
                    <a:gd name="connsiteX31" fmla="*/ 1791947 w 1791947"/>
                    <a:gd name="connsiteY31" fmla="*/ 280420 h 1259113"/>
                    <a:gd name="connsiteX32" fmla="*/ 1791721 w 1791947"/>
                    <a:gd name="connsiteY32" fmla="*/ 0 h 1259113"/>
                    <a:gd name="connsiteX33" fmla="*/ 575130 w 1791947"/>
                    <a:gd name="connsiteY33" fmla="*/ 9752 h 1259113"/>
                    <a:gd name="connsiteX0" fmla="*/ 575130 w 1791947"/>
                    <a:gd name="connsiteY0" fmla="*/ 9752 h 1259113"/>
                    <a:gd name="connsiteX1" fmla="*/ 506072 w 1791947"/>
                    <a:gd name="connsiteY1" fmla="*/ 20864 h 1259113"/>
                    <a:gd name="connsiteX2" fmla="*/ 477497 w 1791947"/>
                    <a:gd name="connsiteY2" fmla="*/ 56582 h 1259113"/>
                    <a:gd name="connsiteX3" fmla="*/ 425110 w 1791947"/>
                    <a:gd name="connsiteY3" fmla="*/ 49439 h 1259113"/>
                    <a:gd name="connsiteX4" fmla="*/ 370341 w 1791947"/>
                    <a:gd name="connsiteY4" fmla="*/ 73251 h 1259113"/>
                    <a:gd name="connsiteX5" fmla="*/ 432254 w 1791947"/>
                    <a:gd name="connsiteY5" fmla="*/ 170882 h 1259113"/>
                    <a:gd name="connsiteX6" fmla="*/ 434634 w 1791947"/>
                    <a:gd name="connsiteY6" fmla="*/ 220890 h 1259113"/>
                    <a:gd name="connsiteX7" fmla="*/ 472735 w 1791947"/>
                    <a:gd name="connsiteY7" fmla="*/ 228033 h 1259113"/>
                    <a:gd name="connsiteX8" fmla="*/ 487022 w 1791947"/>
                    <a:gd name="connsiteY8" fmla="*/ 247082 h 1259113"/>
                    <a:gd name="connsiteX9" fmla="*/ 544173 w 1791947"/>
                    <a:gd name="connsiteY9" fmla="*/ 294708 h 1259113"/>
                    <a:gd name="connsiteX10" fmla="*/ 589416 w 1791947"/>
                    <a:gd name="connsiteY10" fmla="*/ 418533 h 1259113"/>
                    <a:gd name="connsiteX11" fmla="*/ 606085 w 1791947"/>
                    <a:gd name="connsiteY11" fmla="*/ 549501 h 1259113"/>
                    <a:gd name="connsiteX12" fmla="*/ 565603 w 1791947"/>
                    <a:gd name="connsiteY12" fmla="*/ 589984 h 1259113"/>
                    <a:gd name="connsiteX13" fmla="*/ 603703 w 1791947"/>
                    <a:gd name="connsiteY13" fmla="*/ 606651 h 1259113"/>
                    <a:gd name="connsiteX14" fmla="*/ 587035 w 1791947"/>
                    <a:gd name="connsiteY14" fmla="*/ 649514 h 1259113"/>
                    <a:gd name="connsiteX15" fmla="*/ 648948 w 1791947"/>
                    <a:gd name="connsiteY15" fmla="*/ 670946 h 1259113"/>
                    <a:gd name="connsiteX16" fmla="*/ 603703 w 1791947"/>
                    <a:gd name="connsiteY16" fmla="*/ 794771 h 1259113"/>
                    <a:gd name="connsiteX17" fmla="*/ 0 w 1791947"/>
                    <a:gd name="connsiteY17" fmla="*/ 872785 h 1259113"/>
                    <a:gd name="connsiteX18" fmla="*/ 337005 w 1791947"/>
                    <a:gd name="connsiteY18" fmla="*/ 1047183 h 1259113"/>
                    <a:gd name="connsiteX19" fmla="*/ 356054 w 1791947"/>
                    <a:gd name="connsiteY19" fmla="*/ 1059090 h 1259113"/>
                    <a:gd name="connsiteX20" fmla="*/ 408442 w 1791947"/>
                    <a:gd name="connsiteY20" fmla="*/ 1040039 h 1259113"/>
                    <a:gd name="connsiteX21" fmla="*/ 387010 w 1791947"/>
                    <a:gd name="connsiteY21" fmla="*/ 1073376 h 1259113"/>
                    <a:gd name="connsiteX22" fmla="*/ 358436 w 1791947"/>
                    <a:gd name="connsiteY22" fmla="*/ 1099570 h 1259113"/>
                    <a:gd name="connsiteX23" fmla="*/ 327480 w 1791947"/>
                    <a:gd name="connsiteY23" fmla="*/ 1140052 h 1259113"/>
                    <a:gd name="connsiteX24" fmla="*/ 363197 w 1791947"/>
                    <a:gd name="connsiteY24" fmla="*/ 1199584 h 1259113"/>
                    <a:gd name="connsiteX25" fmla="*/ 384629 w 1791947"/>
                    <a:gd name="connsiteY25" fmla="*/ 1228156 h 1259113"/>
                    <a:gd name="connsiteX26" fmla="*/ 434635 w 1791947"/>
                    <a:gd name="connsiteY26" fmla="*/ 1185295 h 1259113"/>
                    <a:gd name="connsiteX27" fmla="*/ 501310 w 1791947"/>
                    <a:gd name="connsiteY27" fmla="*/ 1242445 h 1259113"/>
                    <a:gd name="connsiteX28" fmla="*/ 556079 w 1791947"/>
                    <a:gd name="connsiteY28" fmla="*/ 1259113 h 1259113"/>
                    <a:gd name="connsiteX29" fmla="*/ 1236436 w 1791947"/>
                    <a:gd name="connsiteY29" fmla="*/ 714261 h 1259113"/>
                    <a:gd name="connsiteX30" fmla="*/ 1327603 w 1791947"/>
                    <a:gd name="connsiteY30" fmla="*/ 639989 h 1259113"/>
                    <a:gd name="connsiteX31" fmla="*/ 1791947 w 1791947"/>
                    <a:gd name="connsiteY31" fmla="*/ 280420 h 1259113"/>
                    <a:gd name="connsiteX32" fmla="*/ 1791721 w 1791947"/>
                    <a:gd name="connsiteY32" fmla="*/ 0 h 1259113"/>
                    <a:gd name="connsiteX33" fmla="*/ 575130 w 1791947"/>
                    <a:gd name="connsiteY33" fmla="*/ 9752 h 1259113"/>
                    <a:gd name="connsiteX0" fmla="*/ 247650 w 1464467"/>
                    <a:gd name="connsiteY0" fmla="*/ 9752 h 1259113"/>
                    <a:gd name="connsiteX1" fmla="*/ 178592 w 1464467"/>
                    <a:gd name="connsiteY1" fmla="*/ 20864 h 1259113"/>
                    <a:gd name="connsiteX2" fmla="*/ 150017 w 1464467"/>
                    <a:gd name="connsiteY2" fmla="*/ 56582 h 1259113"/>
                    <a:gd name="connsiteX3" fmla="*/ 97630 w 1464467"/>
                    <a:gd name="connsiteY3" fmla="*/ 49439 h 1259113"/>
                    <a:gd name="connsiteX4" fmla="*/ 42861 w 1464467"/>
                    <a:gd name="connsiteY4" fmla="*/ 73251 h 1259113"/>
                    <a:gd name="connsiteX5" fmla="*/ 104774 w 1464467"/>
                    <a:gd name="connsiteY5" fmla="*/ 170882 h 1259113"/>
                    <a:gd name="connsiteX6" fmla="*/ 107154 w 1464467"/>
                    <a:gd name="connsiteY6" fmla="*/ 220890 h 1259113"/>
                    <a:gd name="connsiteX7" fmla="*/ 145255 w 1464467"/>
                    <a:gd name="connsiteY7" fmla="*/ 228033 h 1259113"/>
                    <a:gd name="connsiteX8" fmla="*/ 159542 w 1464467"/>
                    <a:gd name="connsiteY8" fmla="*/ 247082 h 1259113"/>
                    <a:gd name="connsiteX9" fmla="*/ 216693 w 1464467"/>
                    <a:gd name="connsiteY9" fmla="*/ 294708 h 1259113"/>
                    <a:gd name="connsiteX10" fmla="*/ 261936 w 1464467"/>
                    <a:gd name="connsiteY10" fmla="*/ 418533 h 1259113"/>
                    <a:gd name="connsiteX11" fmla="*/ 278605 w 1464467"/>
                    <a:gd name="connsiteY11" fmla="*/ 549501 h 1259113"/>
                    <a:gd name="connsiteX12" fmla="*/ 238123 w 1464467"/>
                    <a:gd name="connsiteY12" fmla="*/ 589984 h 1259113"/>
                    <a:gd name="connsiteX13" fmla="*/ 276223 w 1464467"/>
                    <a:gd name="connsiteY13" fmla="*/ 606651 h 1259113"/>
                    <a:gd name="connsiteX14" fmla="*/ 259555 w 1464467"/>
                    <a:gd name="connsiteY14" fmla="*/ 649514 h 1259113"/>
                    <a:gd name="connsiteX15" fmla="*/ 321468 w 1464467"/>
                    <a:gd name="connsiteY15" fmla="*/ 670946 h 1259113"/>
                    <a:gd name="connsiteX16" fmla="*/ 276223 w 1464467"/>
                    <a:gd name="connsiteY16" fmla="*/ 794771 h 1259113"/>
                    <a:gd name="connsiteX17" fmla="*/ 43995 w 1464467"/>
                    <a:gd name="connsiteY17" fmla="*/ 982322 h 1259113"/>
                    <a:gd name="connsiteX18" fmla="*/ 9525 w 1464467"/>
                    <a:gd name="connsiteY18" fmla="*/ 1047183 h 1259113"/>
                    <a:gd name="connsiteX19" fmla="*/ 28574 w 1464467"/>
                    <a:gd name="connsiteY19" fmla="*/ 1059090 h 1259113"/>
                    <a:gd name="connsiteX20" fmla="*/ 80962 w 1464467"/>
                    <a:gd name="connsiteY20" fmla="*/ 1040039 h 1259113"/>
                    <a:gd name="connsiteX21" fmla="*/ 59530 w 1464467"/>
                    <a:gd name="connsiteY21" fmla="*/ 1073376 h 1259113"/>
                    <a:gd name="connsiteX22" fmla="*/ 30956 w 1464467"/>
                    <a:gd name="connsiteY22" fmla="*/ 1099570 h 1259113"/>
                    <a:gd name="connsiteX23" fmla="*/ 0 w 1464467"/>
                    <a:gd name="connsiteY23" fmla="*/ 1140052 h 1259113"/>
                    <a:gd name="connsiteX24" fmla="*/ 35717 w 1464467"/>
                    <a:gd name="connsiteY24" fmla="*/ 1199584 h 1259113"/>
                    <a:gd name="connsiteX25" fmla="*/ 57149 w 1464467"/>
                    <a:gd name="connsiteY25" fmla="*/ 1228156 h 1259113"/>
                    <a:gd name="connsiteX26" fmla="*/ 107155 w 1464467"/>
                    <a:gd name="connsiteY26" fmla="*/ 1185295 h 1259113"/>
                    <a:gd name="connsiteX27" fmla="*/ 173830 w 1464467"/>
                    <a:gd name="connsiteY27" fmla="*/ 1242445 h 1259113"/>
                    <a:gd name="connsiteX28" fmla="*/ 228599 w 1464467"/>
                    <a:gd name="connsiteY28" fmla="*/ 1259113 h 1259113"/>
                    <a:gd name="connsiteX29" fmla="*/ 908956 w 1464467"/>
                    <a:gd name="connsiteY29" fmla="*/ 714261 h 1259113"/>
                    <a:gd name="connsiteX30" fmla="*/ 1000123 w 1464467"/>
                    <a:gd name="connsiteY30" fmla="*/ 639989 h 1259113"/>
                    <a:gd name="connsiteX31" fmla="*/ 1464467 w 1464467"/>
                    <a:gd name="connsiteY31" fmla="*/ 280420 h 1259113"/>
                    <a:gd name="connsiteX32" fmla="*/ 1464241 w 1464467"/>
                    <a:gd name="connsiteY32" fmla="*/ 0 h 1259113"/>
                    <a:gd name="connsiteX33" fmla="*/ 247650 w 1464467"/>
                    <a:gd name="connsiteY33" fmla="*/ 9752 h 1259113"/>
                    <a:gd name="connsiteX0" fmla="*/ 247650 w 1464467"/>
                    <a:gd name="connsiteY0" fmla="*/ 9752 h 1259113"/>
                    <a:gd name="connsiteX1" fmla="*/ 178592 w 1464467"/>
                    <a:gd name="connsiteY1" fmla="*/ 20864 h 1259113"/>
                    <a:gd name="connsiteX2" fmla="*/ 150017 w 1464467"/>
                    <a:gd name="connsiteY2" fmla="*/ 56582 h 1259113"/>
                    <a:gd name="connsiteX3" fmla="*/ 97630 w 1464467"/>
                    <a:gd name="connsiteY3" fmla="*/ 49439 h 1259113"/>
                    <a:gd name="connsiteX4" fmla="*/ 42861 w 1464467"/>
                    <a:gd name="connsiteY4" fmla="*/ 73251 h 1259113"/>
                    <a:gd name="connsiteX5" fmla="*/ 104774 w 1464467"/>
                    <a:gd name="connsiteY5" fmla="*/ 170882 h 1259113"/>
                    <a:gd name="connsiteX6" fmla="*/ 107154 w 1464467"/>
                    <a:gd name="connsiteY6" fmla="*/ 220890 h 1259113"/>
                    <a:gd name="connsiteX7" fmla="*/ 145255 w 1464467"/>
                    <a:gd name="connsiteY7" fmla="*/ 228033 h 1259113"/>
                    <a:gd name="connsiteX8" fmla="*/ 159542 w 1464467"/>
                    <a:gd name="connsiteY8" fmla="*/ 247082 h 1259113"/>
                    <a:gd name="connsiteX9" fmla="*/ 216693 w 1464467"/>
                    <a:gd name="connsiteY9" fmla="*/ 294708 h 1259113"/>
                    <a:gd name="connsiteX10" fmla="*/ 261936 w 1464467"/>
                    <a:gd name="connsiteY10" fmla="*/ 418533 h 1259113"/>
                    <a:gd name="connsiteX11" fmla="*/ 278605 w 1464467"/>
                    <a:gd name="connsiteY11" fmla="*/ 549501 h 1259113"/>
                    <a:gd name="connsiteX12" fmla="*/ 238123 w 1464467"/>
                    <a:gd name="connsiteY12" fmla="*/ 589984 h 1259113"/>
                    <a:gd name="connsiteX13" fmla="*/ 276223 w 1464467"/>
                    <a:gd name="connsiteY13" fmla="*/ 606651 h 1259113"/>
                    <a:gd name="connsiteX14" fmla="*/ 259555 w 1464467"/>
                    <a:gd name="connsiteY14" fmla="*/ 649514 h 1259113"/>
                    <a:gd name="connsiteX15" fmla="*/ 321468 w 1464467"/>
                    <a:gd name="connsiteY15" fmla="*/ 670946 h 1259113"/>
                    <a:gd name="connsiteX16" fmla="*/ 276223 w 1464467"/>
                    <a:gd name="connsiteY16" fmla="*/ 794771 h 1259113"/>
                    <a:gd name="connsiteX17" fmla="*/ 166687 w 1464467"/>
                    <a:gd name="connsiteY17" fmla="*/ 885258 h 1259113"/>
                    <a:gd name="connsiteX18" fmla="*/ 43995 w 1464467"/>
                    <a:gd name="connsiteY18" fmla="*/ 982322 h 1259113"/>
                    <a:gd name="connsiteX19" fmla="*/ 9525 w 1464467"/>
                    <a:gd name="connsiteY19" fmla="*/ 1047183 h 1259113"/>
                    <a:gd name="connsiteX20" fmla="*/ 28574 w 1464467"/>
                    <a:gd name="connsiteY20" fmla="*/ 1059090 h 1259113"/>
                    <a:gd name="connsiteX21" fmla="*/ 80962 w 1464467"/>
                    <a:gd name="connsiteY21" fmla="*/ 1040039 h 1259113"/>
                    <a:gd name="connsiteX22" fmla="*/ 59530 w 1464467"/>
                    <a:gd name="connsiteY22" fmla="*/ 1073376 h 1259113"/>
                    <a:gd name="connsiteX23" fmla="*/ 30956 w 1464467"/>
                    <a:gd name="connsiteY23" fmla="*/ 1099570 h 1259113"/>
                    <a:gd name="connsiteX24" fmla="*/ 0 w 1464467"/>
                    <a:gd name="connsiteY24" fmla="*/ 1140052 h 1259113"/>
                    <a:gd name="connsiteX25" fmla="*/ 35717 w 1464467"/>
                    <a:gd name="connsiteY25" fmla="*/ 1199584 h 1259113"/>
                    <a:gd name="connsiteX26" fmla="*/ 57149 w 1464467"/>
                    <a:gd name="connsiteY26" fmla="*/ 1228156 h 1259113"/>
                    <a:gd name="connsiteX27" fmla="*/ 107155 w 1464467"/>
                    <a:gd name="connsiteY27" fmla="*/ 1185295 h 1259113"/>
                    <a:gd name="connsiteX28" fmla="*/ 173830 w 1464467"/>
                    <a:gd name="connsiteY28" fmla="*/ 1242445 h 1259113"/>
                    <a:gd name="connsiteX29" fmla="*/ 228599 w 1464467"/>
                    <a:gd name="connsiteY29" fmla="*/ 1259113 h 1259113"/>
                    <a:gd name="connsiteX30" fmla="*/ 908956 w 1464467"/>
                    <a:gd name="connsiteY30" fmla="*/ 714261 h 1259113"/>
                    <a:gd name="connsiteX31" fmla="*/ 1000123 w 1464467"/>
                    <a:gd name="connsiteY31" fmla="*/ 639989 h 1259113"/>
                    <a:gd name="connsiteX32" fmla="*/ 1464467 w 1464467"/>
                    <a:gd name="connsiteY32" fmla="*/ 280420 h 1259113"/>
                    <a:gd name="connsiteX33" fmla="*/ 1464241 w 1464467"/>
                    <a:gd name="connsiteY33" fmla="*/ 0 h 1259113"/>
                    <a:gd name="connsiteX34" fmla="*/ 247650 w 1464467"/>
                    <a:gd name="connsiteY34" fmla="*/ 9752 h 1259113"/>
                    <a:gd name="connsiteX0" fmla="*/ 442913 w 1659730"/>
                    <a:gd name="connsiteY0" fmla="*/ 9752 h 1259113"/>
                    <a:gd name="connsiteX1" fmla="*/ 373855 w 1659730"/>
                    <a:gd name="connsiteY1" fmla="*/ 20864 h 1259113"/>
                    <a:gd name="connsiteX2" fmla="*/ 345280 w 1659730"/>
                    <a:gd name="connsiteY2" fmla="*/ 56582 h 1259113"/>
                    <a:gd name="connsiteX3" fmla="*/ 292893 w 1659730"/>
                    <a:gd name="connsiteY3" fmla="*/ 49439 h 1259113"/>
                    <a:gd name="connsiteX4" fmla="*/ 238124 w 1659730"/>
                    <a:gd name="connsiteY4" fmla="*/ 73251 h 1259113"/>
                    <a:gd name="connsiteX5" fmla="*/ 300037 w 1659730"/>
                    <a:gd name="connsiteY5" fmla="*/ 170882 h 1259113"/>
                    <a:gd name="connsiteX6" fmla="*/ 302417 w 1659730"/>
                    <a:gd name="connsiteY6" fmla="*/ 220890 h 1259113"/>
                    <a:gd name="connsiteX7" fmla="*/ 340518 w 1659730"/>
                    <a:gd name="connsiteY7" fmla="*/ 228033 h 1259113"/>
                    <a:gd name="connsiteX8" fmla="*/ 354805 w 1659730"/>
                    <a:gd name="connsiteY8" fmla="*/ 247082 h 1259113"/>
                    <a:gd name="connsiteX9" fmla="*/ 411956 w 1659730"/>
                    <a:gd name="connsiteY9" fmla="*/ 294708 h 1259113"/>
                    <a:gd name="connsiteX10" fmla="*/ 457199 w 1659730"/>
                    <a:gd name="connsiteY10" fmla="*/ 418533 h 1259113"/>
                    <a:gd name="connsiteX11" fmla="*/ 473868 w 1659730"/>
                    <a:gd name="connsiteY11" fmla="*/ 549501 h 1259113"/>
                    <a:gd name="connsiteX12" fmla="*/ 433386 w 1659730"/>
                    <a:gd name="connsiteY12" fmla="*/ 589984 h 1259113"/>
                    <a:gd name="connsiteX13" fmla="*/ 471486 w 1659730"/>
                    <a:gd name="connsiteY13" fmla="*/ 606651 h 1259113"/>
                    <a:gd name="connsiteX14" fmla="*/ 454818 w 1659730"/>
                    <a:gd name="connsiteY14" fmla="*/ 649514 h 1259113"/>
                    <a:gd name="connsiteX15" fmla="*/ 516731 w 1659730"/>
                    <a:gd name="connsiteY15" fmla="*/ 670946 h 1259113"/>
                    <a:gd name="connsiteX16" fmla="*/ 471486 w 1659730"/>
                    <a:gd name="connsiteY16" fmla="*/ 794771 h 1259113"/>
                    <a:gd name="connsiteX17" fmla="*/ 0 w 1659730"/>
                    <a:gd name="connsiteY17" fmla="*/ 656658 h 1259113"/>
                    <a:gd name="connsiteX18" fmla="*/ 239258 w 1659730"/>
                    <a:gd name="connsiteY18" fmla="*/ 982322 h 1259113"/>
                    <a:gd name="connsiteX19" fmla="*/ 204788 w 1659730"/>
                    <a:gd name="connsiteY19" fmla="*/ 1047183 h 1259113"/>
                    <a:gd name="connsiteX20" fmla="*/ 223837 w 1659730"/>
                    <a:gd name="connsiteY20" fmla="*/ 1059090 h 1259113"/>
                    <a:gd name="connsiteX21" fmla="*/ 276225 w 1659730"/>
                    <a:gd name="connsiteY21" fmla="*/ 1040039 h 1259113"/>
                    <a:gd name="connsiteX22" fmla="*/ 254793 w 1659730"/>
                    <a:gd name="connsiteY22" fmla="*/ 1073376 h 1259113"/>
                    <a:gd name="connsiteX23" fmla="*/ 226219 w 1659730"/>
                    <a:gd name="connsiteY23" fmla="*/ 1099570 h 1259113"/>
                    <a:gd name="connsiteX24" fmla="*/ 195263 w 1659730"/>
                    <a:gd name="connsiteY24" fmla="*/ 1140052 h 1259113"/>
                    <a:gd name="connsiteX25" fmla="*/ 230980 w 1659730"/>
                    <a:gd name="connsiteY25" fmla="*/ 1199584 h 1259113"/>
                    <a:gd name="connsiteX26" fmla="*/ 252412 w 1659730"/>
                    <a:gd name="connsiteY26" fmla="*/ 1228156 h 1259113"/>
                    <a:gd name="connsiteX27" fmla="*/ 302418 w 1659730"/>
                    <a:gd name="connsiteY27" fmla="*/ 1185295 h 1259113"/>
                    <a:gd name="connsiteX28" fmla="*/ 369093 w 1659730"/>
                    <a:gd name="connsiteY28" fmla="*/ 1242445 h 1259113"/>
                    <a:gd name="connsiteX29" fmla="*/ 423862 w 1659730"/>
                    <a:gd name="connsiteY29" fmla="*/ 1259113 h 1259113"/>
                    <a:gd name="connsiteX30" fmla="*/ 1104219 w 1659730"/>
                    <a:gd name="connsiteY30" fmla="*/ 714261 h 1259113"/>
                    <a:gd name="connsiteX31" fmla="*/ 1195386 w 1659730"/>
                    <a:gd name="connsiteY31" fmla="*/ 639989 h 1259113"/>
                    <a:gd name="connsiteX32" fmla="*/ 1659730 w 1659730"/>
                    <a:gd name="connsiteY32" fmla="*/ 280420 h 1259113"/>
                    <a:gd name="connsiteX33" fmla="*/ 1659504 w 1659730"/>
                    <a:gd name="connsiteY33" fmla="*/ 0 h 1259113"/>
                    <a:gd name="connsiteX34" fmla="*/ 442913 w 1659730"/>
                    <a:gd name="connsiteY34" fmla="*/ 9752 h 1259113"/>
                    <a:gd name="connsiteX0" fmla="*/ 442913 w 1659730"/>
                    <a:gd name="connsiteY0" fmla="*/ 9752 h 1259113"/>
                    <a:gd name="connsiteX1" fmla="*/ 373855 w 1659730"/>
                    <a:gd name="connsiteY1" fmla="*/ 20864 h 1259113"/>
                    <a:gd name="connsiteX2" fmla="*/ 345280 w 1659730"/>
                    <a:gd name="connsiteY2" fmla="*/ 56582 h 1259113"/>
                    <a:gd name="connsiteX3" fmla="*/ 292893 w 1659730"/>
                    <a:gd name="connsiteY3" fmla="*/ 49439 h 1259113"/>
                    <a:gd name="connsiteX4" fmla="*/ 238124 w 1659730"/>
                    <a:gd name="connsiteY4" fmla="*/ 73251 h 1259113"/>
                    <a:gd name="connsiteX5" fmla="*/ 300037 w 1659730"/>
                    <a:gd name="connsiteY5" fmla="*/ 170882 h 1259113"/>
                    <a:gd name="connsiteX6" fmla="*/ 302417 w 1659730"/>
                    <a:gd name="connsiteY6" fmla="*/ 220890 h 1259113"/>
                    <a:gd name="connsiteX7" fmla="*/ 340518 w 1659730"/>
                    <a:gd name="connsiteY7" fmla="*/ 228033 h 1259113"/>
                    <a:gd name="connsiteX8" fmla="*/ 354805 w 1659730"/>
                    <a:gd name="connsiteY8" fmla="*/ 247082 h 1259113"/>
                    <a:gd name="connsiteX9" fmla="*/ 411956 w 1659730"/>
                    <a:gd name="connsiteY9" fmla="*/ 294708 h 1259113"/>
                    <a:gd name="connsiteX10" fmla="*/ 457199 w 1659730"/>
                    <a:gd name="connsiteY10" fmla="*/ 418533 h 1259113"/>
                    <a:gd name="connsiteX11" fmla="*/ 473868 w 1659730"/>
                    <a:gd name="connsiteY11" fmla="*/ 549501 h 1259113"/>
                    <a:gd name="connsiteX12" fmla="*/ 433386 w 1659730"/>
                    <a:gd name="connsiteY12" fmla="*/ 589984 h 1259113"/>
                    <a:gd name="connsiteX13" fmla="*/ 471486 w 1659730"/>
                    <a:gd name="connsiteY13" fmla="*/ 606651 h 1259113"/>
                    <a:gd name="connsiteX14" fmla="*/ 454818 w 1659730"/>
                    <a:gd name="connsiteY14" fmla="*/ 649514 h 1259113"/>
                    <a:gd name="connsiteX15" fmla="*/ 516731 w 1659730"/>
                    <a:gd name="connsiteY15" fmla="*/ 670946 h 1259113"/>
                    <a:gd name="connsiteX16" fmla="*/ 471486 w 1659730"/>
                    <a:gd name="connsiteY16" fmla="*/ 794771 h 1259113"/>
                    <a:gd name="connsiteX17" fmla="*/ 347662 w 1659730"/>
                    <a:gd name="connsiteY17" fmla="*/ 756670 h 1259113"/>
                    <a:gd name="connsiteX18" fmla="*/ 0 w 1659730"/>
                    <a:gd name="connsiteY18" fmla="*/ 656658 h 1259113"/>
                    <a:gd name="connsiteX19" fmla="*/ 239258 w 1659730"/>
                    <a:gd name="connsiteY19" fmla="*/ 982322 h 1259113"/>
                    <a:gd name="connsiteX20" fmla="*/ 204788 w 1659730"/>
                    <a:gd name="connsiteY20" fmla="*/ 1047183 h 1259113"/>
                    <a:gd name="connsiteX21" fmla="*/ 223837 w 1659730"/>
                    <a:gd name="connsiteY21" fmla="*/ 1059090 h 1259113"/>
                    <a:gd name="connsiteX22" fmla="*/ 276225 w 1659730"/>
                    <a:gd name="connsiteY22" fmla="*/ 1040039 h 1259113"/>
                    <a:gd name="connsiteX23" fmla="*/ 254793 w 1659730"/>
                    <a:gd name="connsiteY23" fmla="*/ 1073376 h 1259113"/>
                    <a:gd name="connsiteX24" fmla="*/ 226219 w 1659730"/>
                    <a:gd name="connsiteY24" fmla="*/ 1099570 h 1259113"/>
                    <a:gd name="connsiteX25" fmla="*/ 195263 w 1659730"/>
                    <a:gd name="connsiteY25" fmla="*/ 1140052 h 1259113"/>
                    <a:gd name="connsiteX26" fmla="*/ 230980 w 1659730"/>
                    <a:gd name="connsiteY26" fmla="*/ 1199584 h 1259113"/>
                    <a:gd name="connsiteX27" fmla="*/ 252412 w 1659730"/>
                    <a:gd name="connsiteY27" fmla="*/ 1228156 h 1259113"/>
                    <a:gd name="connsiteX28" fmla="*/ 302418 w 1659730"/>
                    <a:gd name="connsiteY28" fmla="*/ 1185295 h 1259113"/>
                    <a:gd name="connsiteX29" fmla="*/ 369093 w 1659730"/>
                    <a:gd name="connsiteY29" fmla="*/ 1242445 h 1259113"/>
                    <a:gd name="connsiteX30" fmla="*/ 423862 w 1659730"/>
                    <a:gd name="connsiteY30" fmla="*/ 1259113 h 1259113"/>
                    <a:gd name="connsiteX31" fmla="*/ 1104219 w 1659730"/>
                    <a:gd name="connsiteY31" fmla="*/ 714261 h 1259113"/>
                    <a:gd name="connsiteX32" fmla="*/ 1195386 w 1659730"/>
                    <a:gd name="connsiteY32" fmla="*/ 639989 h 1259113"/>
                    <a:gd name="connsiteX33" fmla="*/ 1659730 w 1659730"/>
                    <a:gd name="connsiteY33" fmla="*/ 280420 h 1259113"/>
                    <a:gd name="connsiteX34" fmla="*/ 1659504 w 1659730"/>
                    <a:gd name="connsiteY34" fmla="*/ 0 h 1259113"/>
                    <a:gd name="connsiteX35" fmla="*/ 442913 w 1659730"/>
                    <a:gd name="connsiteY35" fmla="*/ 9752 h 1259113"/>
                    <a:gd name="connsiteX0" fmla="*/ 442913 w 1659730"/>
                    <a:gd name="connsiteY0" fmla="*/ 9752 h 1259113"/>
                    <a:gd name="connsiteX1" fmla="*/ 373855 w 1659730"/>
                    <a:gd name="connsiteY1" fmla="*/ 20864 h 1259113"/>
                    <a:gd name="connsiteX2" fmla="*/ 345280 w 1659730"/>
                    <a:gd name="connsiteY2" fmla="*/ 56582 h 1259113"/>
                    <a:gd name="connsiteX3" fmla="*/ 292893 w 1659730"/>
                    <a:gd name="connsiteY3" fmla="*/ 49439 h 1259113"/>
                    <a:gd name="connsiteX4" fmla="*/ 238124 w 1659730"/>
                    <a:gd name="connsiteY4" fmla="*/ 73251 h 1259113"/>
                    <a:gd name="connsiteX5" fmla="*/ 300037 w 1659730"/>
                    <a:gd name="connsiteY5" fmla="*/ 170882 h 1259113"/>
                    <a:gd name="connsiteX6" fmla="*/ 302417 w 1659730"/>
                    <a:gd name="connsiteY6" fmla="*/ 220890 h 1259113"/>
                    <a:gd name="connsiteX7" fmla="*/ 340518 w 1659730"/>
                    <a:gd name="connsiteY7" fmla="*/ 228033 h 1259113"/>
                    <a:gd name="connsiteX8" fmla="*/ 354805 w 1659730"/>
                    <a:gd name="connsiteY8" fmla="*/ 247082 h 1259113"/>
                    <a:gd name="connsiteX9" fmla="*/ 411956 w 1659730"/>
                    <a:gd name="connsiteY9" fmla="*/ 294708 h 1259113"/>
                    <a:gd name="connsiteX10" fmla="*/ 457199 w 1659730"/>
                    <a:gd name="connsiteY10" fmla="*/ 418533 h 1259113"/>
                    <a:gd name="connsiteX11" fmla="*/ 473868 w 1659730"/>
                    <a:gd name="connsiteY11" fmla="*/ 549501 h 1259113"/>
                    <a:gd name="connsiteX12" fmla="*/ 433386 w 1659730"/>
                    <a:gd name="connsiteY12" fmla="*/ 589984 h 1259113"/>
                    <a:gd name="connsiteX13" fmla="*/ 471486 w 1659730"/>
                    <a:gd name="connsiteY13" fmla="*/ 606651 h 1259113"/>
                    <a:gd name="connsiteX14" fmla="*/ 454818 w 1659730"/>
                    <a:gd name="connsiteY14" fmla="*/ 649514 h 1259113"/>
                    <a:gd name="connsiteX15" fmla="*/ 516731 w 1659730"/>
                    <a:gd name="connsiteY15" fmla="*/ 670946 h 1259113"/>
                    <a:gd name="connsiteX16" fmla="*/ 471486 w 1659730"/>
                    <a:gd name="connsiteY16" fmla="*/ 794771 h 1259113"/>
                    <a:gd name="connsiteX17" fmla="*/ 481012 w 1659730"/>
                    <a:gd name="connsiteY17" fmla="*/ 849538 h 1259113"/>
                    <a:gd name="connsiteX18" fmla="*/ 0 w 1659730"/>
                    <a:gd name="connsiteY18" fmla="*/ 656658 h 1259113"/>
                    <a:gd name="connsiteX19" fmla="*/ 239258 w 1659730"/>
                    <a:gd name="connsiteY19" fmla="*/ 982322 h 1259113"/>
                    <a:gd name="connsiteX20" fmla="*/ 204788 w 1659730"/>
                    <a:gd name="connsiteY20" fmla="*/ 1047183 h 1259113"/>
                    <a:gd name="connsiteX21" fmla="*/ 223837 w 1659730"/>
                    <a:gd name="connsiteY21" fmla="*/ 1059090 h 1259113"/>
                    <a:gd name="connsiteX22" fmla="*/ 276225 w 1659730"/>
                    <a:gd name="connsiteY22" fmla="*/ 1040039 h 1259113"/>
                    <a:gd name="connsiteX23" fmla="*/ 254793 w 1659730"/>
                    <a:gd name="connsiteY23" fmla="*/ 1073376 h 1259113"/>
                    <a:gd name="connsiteX24" fmla="*/ 226219 w 1659730"/>
                    <a:gd name="connsiteY24" fmla="*/ 1099570 h 1259113"/>
                    <a:gd name="connsiteX25" fmla="*/ 195263 w 1659730"/>
                    <a:gd name="connsiteY25" fmla="*/ 1140052 h 1259113"/>
                    <a:gd name="connsiteX26" fmla="*/ 230980 w 1659730"/>
                    <a:gd name="connsiteY26" fmla="*/ 1199584 h 1259113"/>
                    <a:gd name="connsiteX27" fmla="*/ 252412 w 1659730"/>
                    <a:gd name="connsiteY27" fmla="*/ 1228156 h 1259113"/>
                    <a:gd name="connsiteX28" fmla="*/ 302418 w 1659730"/>
                    <a:gd name="connsiteY28" fmla="*/ 1185295 h 1259113"/>
                    <a:gd name="connsiteX29" fmla="*/ 369093 w 1659730"/>
                    <a:gd name="connsiteY29" fmla="*/ 1242445 h 1259113"/>
                    <a:gd name="connsiteX30" fmla="*/ 423862 w 1659730"/>
                    <a:gd name="connsiteY30" fmla="*/ 1259113 h 1259113"/>
                    <a:gd name="connsiteX31" fmla="*/ 1104219 w 1659730"/>
                    <a:gd name="connsiteY31" fmla="*/ 714261 h 1259113"/>
                    <a:gd name="connsiteX32" fmla="*/ 1195386 w 1659730"/>
                    <a:gd name="connsiteY32" fmla="*/ 639989 h 1259113"/>
                    <a:gd name="connsiteX33" fmla="*/ 1659730 w 1659730"/>
                    <a:gd name="connsiteY33" fmla="*/ 280420 h 1259113"/>
                    <a:gd name="connsiteX34" fmla="*/ 1659504 w 1659730"/>
                    <a:gd name="connsiteY34" fmla="*/ 0 h 1259113"/>
                    <a:gd name="connsiteX35" fmla="*/ 442913 w 1659730"/>
                    <a:gd name="connsiteY35" fmla="*/ 9752 h 1259113"/>
                    <a:gd name="connsiteX0" fmla="*/ 442913 w 1659730"/>
                    <a:gd name="connsiteY0" fmla="*/ 9752 h 1259113"/>
                    <a:gd name="connsiteX1" fmla="*/ 373855 w 1659730"/>
                    <a:gd name="connsiteY1" fmla="*/ 20864 h 1259113"/>
                    <a:gd name="connsiteX2" fmla="*/ 345280 w 1659730"/>
                    <a:gd name="connsiteY2" fmla="*/ 56582 h 1259113"/>
                    <a:gd name="connsiteX3" fmla="*/ 292893 w 1659730"/>
                    <a:gd name="connsiteY3" fmla="*/ 49439 h 1259113"/>
                    <a:gd name="connsiteX4" fmla="*/ 238124 w 1659730"/>
                    <a:gd name="connsiteY4" fmla="*/ 73251 h 1259113"/>
                    <a:gd name="connsiteX5" fmla="*/ 300037 w 1659730"/>
                    <a:gd name="connsiteY5" fmla="*/ 170882 h 1259113"/>
                    <a:gd name="connsiteX6" fmla="*/ 302417 w 1659730"/>
                    <a:gd name="connsiteY6" fmla="*/ 220890 h 1259113"/>
                    <a:gd name="connsiteX7" fmla="*/ 340518 w 1659730"/>
                    <a:gd name="connsiteY7" fmla="*/ 228033 h 1259113"/>
                    <a:gd name="connsiteX8" fmla="*/ 354805 w 1659730"/>
                    <a:gd name="connsiteY8" fmla="*/ 247082 h 1259113"/>
                    <a:gd name="connsiteX9" fmla="*/ 411956 w 1659730"/>
                    <a:gd name="connsiteY9" fmla="*/ 294708 h 1259113"/>
                    <a:gd name="connsiteX10" fmla="*/ 457199 w 1659730"/>
                    <a:gd name="connsiteY10" fmla="*/ 418533 h 1259113"/>
                    <a:gd name="connsiteX11" fmla="*/ 473868 w 1659730"/>
                    <a:gd name="connsiteY11" fmla="*/ 549501 h 1259113"/>
                    <a:gd name="connsiteX12" fmla="*/ 433386 w 1659730"/>
                    <a:gd name="connsiteY12" fmla="*/ 589984 h 1259113"/>
                    <a:gd name="connsiteX13" fmla="*/ 471486 w 1659730"/>
                    <a:gd name="connsiteY13" fmla="*/ 606651 h 1259113"/>
                    <a:gd name="connsiteX14" fmla="*/ 454818 w 1659730"/>
                    <a:gd name="connsiteY14" fmla="*/ 649514 h 1259113"/>
                    <a:gd name="connsiteX15" fmla="*/ 516731 w 1659730"/>
                    <a:gd name="connsiteY15" fmla="*/ 670946 h 1259113"/>
                    <a:gd name="connsiteX16" fmla="*/ 471486 w 1659730"/>
                    <a:gd name="connsiteY16" fmla="*/ 794771 h 1259113"/>
                    <a:gd name="connsiteX17" fmla="*/ 481012 w 1659730"/>
                    <a:gd name="connsiteY17" fmla="*/ 849538 h 1259113"/>
                    <a:gd name="connsiteX18" fmla="*/ 257175 w 1659730"/>
                    <a:gd name="connsiteY18" fmla="*/ 763814 h 1259113"/>
                    <a:gd name="connsiteX19" fmla="*/ 0 w 1659730"/>
                    <a:gd name="connsiteY19" fmla="*/ 656658 h 1259113"/>
                    <a:gd name="connsiteX20" fmla="*/ 239258 w 1659730"/>
                    <a:gd name="connsiteY20" fmla="*/ 982322 h 1259113"/>
                    <a:gd name="connsiteX21" fmla="*/ 204788 w 1659730"/>
                    <a:gd name="connsiteY21" fmla="*/ 1047183 h 1259113"/>
                    <a:gd name="connsiteX22" fmla="*/ 223837 w 1659730"/>
                    <a:gd name="connsiteY22" fmla="*/ 1059090 h 1259113"/>
                    <a:gd name="connsiteX23" fmla="*/ 276225 w 1659730"/>
                    <a:gd name="connsiteY23" fmla="*/ 1040039 h 1259113"/>
                    <a:gd name="connsiteX24" fmla="*/ 254793 w 1659730"/>
                    <a:gd name="connsiteY24" fmla="*/ 1073376 h 1259113"/>
                    <a:gd name="connsiteX25" fmla="*/ 226219 w 1659730"/>
                    <a:gd name="connsiteY25" fmla="*/ 1099570 h 1259113"/>
                    <a:gd name="connsiteX26" fmla="*/ 195263 w 1659730"/>
                    <a:gd name="connsiteY26" fmla="*/ 1140052 h 1259113"/>
                    <a:gd name="connsiteX27" fmla="*/ 230980 w 1659730"/>
                    <a:gd name="connsiteY27" fmla="*/ 1199584 h 1259113"/>
                    <a:gd name="connsiteX28" fmla="*/ 252412 w 1659730"/>
                    <a:gd name="connsiteY28" fmla="*/ 1228156 h 1259113"/>
                    <a:gd name="connsiteX29" fmla="*/ 302418 w 1659730"/>
                    <a:gd name="connsiteY29" fmla="*/ 1185295 h 1259113"/>
                    <a:gd name="connsiteX30" fmla="*/ 369093 w 1659730"/>
                    <a:gd name="connsiteY30" fmla="*/ 1242445 h 1259113"/>
                    <a:gd name="connsiteX31" fmla="*/ 423862 w 1659730"/>
                    <a:gd name="connsiteY31" fmla="*/ 1259113 h 1259113"/>
                    <a:gd name="connsiteX32" fmla="*/ 1104219 w 1659730"/>
                    <a:gd name="connsiteY32" fmla="*/ 714261 h 1259113"/>
                    <a:gd name="connsiteX33" fmla="*/ 1195386 w 1659730"/>
                    <a:gd name="connsiteY33" fmla="*/ 639989 h 1259113"/>
                    <a:gd name="connsiteX34" fmla="*/ 1659730 w 1659730"/>
                    <a:gd name="connsiteY34" fmla="*/ 280420 h 1259113"/>
                    <a:gd name="connsiteX35" fmla="*/ 1659504 w 1659730"/>
                    <a:gd name="connsiteY35" fmla="*/ 0 h 1259113"/>
                    <a:gd name="connsiteX36" fmla="*/ 442913 w 1659730"/>
                    <a:gd name="connsiteY36" fmla="*/ 9752 h 1259113"/>
                    <a:gd name="connsiteX0" fmla="*/ 442913 w 1659730"/>
                    <a:gd name="connsiteY0" fmla="*/ 9752 h 1259113"/>
                    <a:gd name="connsiteX1" fmla="*/ 373855 w 1659730"/>
                    <a:gd name="connsiteY1" fmla="*/ 20864 h 1259113"/>
                    <a:gd name="connsiteX2" fmla="*/ 345280 w 1659730"/>
                    <a:gd name="connsiteY2" fmla="*/ 56582 h 1259113"/>
                    <a:gd name="connsiteX3" fmla="*/ 292893 w 1659730"/>
                    <a:gd name="connsiteY3" fmla="*/ 49439 h 1259113"/>
                    <a:gd name="connsiteX4" fmla="*/ 238124 w 1659730"/>
                    <a:gd name="connsiteY4" fmla="*/ 73251 h 1259113"/>
                    <a:gd name="connsiteX5" fmla="*/ 300037 w 1659730"/>
                    <a:gd name="connsiteY5" fmla="*/ 170882 h 1259113"/>
                    <a:gd name="connsiteX6" fmla="*/ 302417 w 1659730"/>
                    <a:gd name="connsiteY6" fmla="*/ 220890 h 1259113"/>
                    <a:gd name="connsiteX7" fmla="*/ 340518 w 1659730"/>
                    <a:gd name="connsiteY7" fmla="*/ 228033 h 1259113"/>
                    <a:gd name="connsiteX8" fmla="*/ 354805 w 1659730"/>
                    <a:gd name="connsiteY8" fmla="*/ 247082 h 1259113"/>
                    <a:gd name="connsiteX9" fmla="*/ 411956 w 1659730"/>
                    <a:gd name="connsiteY9" fmla="*/ 294708 h 1259113"/>
                    <a:gd name="connsiteX10" fmla="*/ 457199 w 1659730"/>
                    <a:gd name="connsiteY10" fmla="*/ 418533 h 1259113"/>
                    <a:gd name="connsiteX11" fmla="*/ 473868 w 1659730"/>
                    <a:gd name="connsiteY11" fmla="*/ 549501 h 1259113"/>
                    <a:gd name="connsiteX12" fmla="*/ 433386 w 1659730"/>
                    <a:gd name="connsiteY12" fmla="*/ 589984 h 1259113"/>
                    <a:gd name="connsiteX13" fmla="*/ 471486 w 1659730"/>
                    <a:gd name="connsiteY13" fmla="*/ 606651 h 1259113"/>
                    <a:gd name="connsiteX14" fmla="*/ 454818 w 1659730"/>
                    <a:gd name="connsiteY14" fmla="*/ 649514 h 1259113"/>
                    <a:gd name="connsiteX15" fmla="*/ 516731 w 1659730"/>
                    <a:gd name="connsiteY15" fmla="*/ 670946 h 1259113"/>
                    <a:gd name="connsiteX16" fmla="*/ 471486 w 1659730"/>
                    <a:gd name="connsiteY16" fmla="*/ 794771 h 1259113"/>
                    <a:gd name="connsiteX17" fmla="*/ 481012 w 1659730"/>
                    <a:gd name="connsiteY17" fmla="*/ 849538 h 1259113"/>
                    <a:gd name="connsiteX18" fmla="*/ 426243 w 1659730"/>
                    <a:gd name="connsiteY18" fmla="*/ 880495 h 1259113"/>
                    <a:gd name="connsiteX19" fmla="*/ 0 w 1659730"/>
                    <a:gd name="connsiteY19" fmla="*/ 656658 h 1259113"/>
                    <a:gd name="connsiteX20" fmla="*/ 239258 w 1659730"/>
                    <a:gd name="connsiteY20" fmla="*/ 982322 h 1259113"/>
                    <a:gd name="connsiteX21" fmla="*/ 204788 w 1659730"/>
                    <a:gd name="connsiteY21" fmla="*/ 1047183 h 1259113"/>
                    <a:gd name="connsiteX22" fmla="*/ 223837 w 1659730"/>
                    <a:gd name="connsiteY22" fmla="*/ 1059090 h 1259113"/>
                    <a:gd name="connsiteX23" fmla="*/ 276225 w 1659730"/>
                    <a:gd name="connsiteY23" fmla="*/ 1040039 h 1259113"/>
                    <a:gd name="connsiteX24" fmla="*/ 254793 w 1659730"/>
                    <a:gd name="connsiteY24" fmla="*/ 1073376 h 1259113"/>
                    <a:gd name="connsiteX25" fmla="*/ 226219 w 1659730"/>
                    <a:gd name="connsiteY25" fmla="*/ 1099570 h 1259113"/>
                    <a:gd name="connsiteX26" fmla="*/ 195263 w 1659730"/>
                    <a:gd name="connsiteY26" fmla="*/ 1140052 h 1259113"/>
                    <a:gd name="connsiteX27" fmla="*/ 230980 w 1659730"/>
                    <a:gd name="connsiteY27" fmla="*/ 1199584 h 1259113"/>
                    <a:gd name="connsiteX28" fmla="*/ 252412 w 1659730"/>
                    <a:gd name="connsiteY28" fmla="*/ 1228156 h 1259113"/>
                    <a:gd name="connsiteX29" fmla="*/ 302418 w 1659730"/>
                    <a:gd name="connsiteY29" fmla="*/ 1185295 h 1259113"/>
                    <a:gd name="connsiteX30" fmla="*/ 369093 w 1659730"/>
                    <a:gd name="connsiteY30" fmla="*/ 1242445 h 1259113"/>
                    <a:gd name="connsiteX31" fmla="*/ 423862 w 1659730"/>
                    <a:gd name="connsiteY31" fmla="*/ 1259113 h 1259113"/>
                    <a:gd name="connsiteX32" fmla="*/ 1104219 w 1659730"/>
                    <a:gd name="connsiteY32" fmla="*/ 714261 h 1259113"/>
                    <a:gd name="connsiteX33" fmla="*/ 1195386 w 1659730"/>
                    <a:gd name="connsiteY33" fmla="*/ 639989 h 1259113"/>
                    <a:gd name="connsiteX34" fmla="*/ 1659730 w 1659730"/>
                    <a:gd name="connsiteY34" fmla="*/ 280420 h 1259113"/>
                    <a:gd name="connsiteX35" fmla="*/ 1659504 w 1659730"/>
                    <a:gd name="connsiteY35" fmla="*/ 0 h 1259113"/>
                    <a:gd name="connsiteX36" fmla="*/ 442913 w 1659730"/>
                    <a:gd name="connsiteY36" fmla="*/ 9752 h 1259113"/>
                    <a:gd name="connsiteX0" fmla="*/ 442913 w 1659730"/>
                    <a:gd name="connsiteY0" fmla="*/ 9752 h 1259113"/>
                    <a:gd name="connsiteX1" fmla="*/ 373855 w 1659730"/>
                    <a:gd name="connsiteY1" fmla="*/ 20864 h 1259113"/>
                    <a:gd name="connsiteX2" fmla="*/ 345280 w 1659730"/>
                    <a:gd name="connsiteY2" fmla="*/ 56582 h 1259113"/>
                    <a:gd name="connsiteX3" fmla="*/ 292893 w 1659730"/>
                    <a:gd name="connsiteY3" fmla="*/ 49439 h 1259113"/>
                    <a:gd name="connsiteX4" fmla="*/ 238124 w 1659730"/>
                    <a:gd name="connsiteY4" fmla="*/ 73251 h 1259113"/>
                    <a:gd name="connsiteX5" fmla="*/ 300037 w 1659730"/>
                    <a:gd name="connsiteY5" fmla="*/ 170882 h 1259113"/>
                    <a:gd name="connsiteX6" fmla="*/ 302417 w 1659730"/>
                    <a:gd name="connsiteY6" fmla="*/ 220890 h 1259113"/>
                    <a:gd name="connsiteX7" fmla="*/ 340518 w 1659730"/>
                    <a:gd name="connsiteY7" fmla="*/ 228033 h 1259113"/>
                    <a:gd name="connsiteX8" fmla="*/ 354805 w 1659730"/>
                    <a:gd name="connsiteY8" fmla="*/ 247082 h 1259113"/>
                    <a:gd name="connsiteX9" fmla="*/ 411956 w 1659730"/>
                    <a:gd name="connsiteY9" fmla="*/ 294708 h 1259113"/>
                    <a:gd name="connsiteX10" fmla="*/ 457199 w 1659730"/>
                    <a:gd name="connsiteY10" fmla="*/ 418533 h 1259113"/>
                    <a:gd name="connsiteX11" fmla="*/ 473868 w 1659730"/>
                    <a:gd name="connsiteY11" fmla="*/ 549501 h 1259113"/>
                    <a:gd name="connsiteX12" fmla="*/ 433386 w 1659730"/>
                    <a:gd name="connsiteY12" fmla="*/ 589984 h 1259113"/>
                    <a:gd name="connsiteX13" fmla="*/ 471486 w 1659730"/>
                    <a:gd name="connsiteY13" fmla="*/ 606651 h 1259113"/>
                    <a:gd name="connsiteX14" fmla="*/ 454818 w 1659730"/>
                    <a:gd name="connsiteY14" fmla="*/ 649514 h 1259113"/>
                    <a:gd name="connsiteX15" fmla="*/ 516731 w 1659730"/>
                    <a:gd name="connsiteY15" fmla="*/ 670946 h 1259113"/>
                    <a:gd name="connsiteX16" fmla="*/ 471486 w 1659730"/>
                    <a:gd name="connsiteY16" fmla="*/ 794771 h 1259113"/>
                    <a:gd name="connsiteX17" fmla="*/ 481012 w 1659730"/>
                    <a:gd name="connsiteY17" fmla="*/ 849538 h 1259113"/>
                    <a:gd name="connsiteX18" fmla="*/ 426243 w 1659730"/>
                    <a:gd name="connsiteY18" fmla="*/ 880495 h 1259113"/>
                    <a:gd name="connsiteX19" fmla="*/ 161925 w 1659730"/>
                    <a:gd name="connsiteY19" fmla="*/ 744764 h 1259113"/>
                    <a:gd name="connsiteX20" fmla="*/ 0 w 1659730"/>
                    <a:gd name="connsiteY20" fmla="*/ 656658 h 1259113"/>
                    <a:gd name="connsiteX21" fmla="*/ 239258 w 1659730"/>
                    <a:gd name="connsiteY21" fmla="*/ 982322 h 1259113"/>
                    <a:gd name="connsiteX22" fmla="*/ 204788 w 1659730"/>
                    <a:gd name="connsiteY22" fmla="*/ 1047183 h 1259113"/>
                    <a:gd name="connsiteX23" fmla="*/ 223837 w 1659730"/>
                    <a:gd name="connsiteY23" fmla="*/ 1059090 h 1259113"/>
                    <a:gd name="connsiteX24" fmla="*/ 276225 w 1659730"/>
                    <a:gd name="connsiteY24" fmla="*/ 1040039 h 1259113"/>
                    <a:gd name="connsiteX25" fmla="*/ 254793 w 1659730"/>
                    <a:gd name="connsiteY25" fmla="*/ 1073376 h 1259113"/>
                    <a:gd name="connsiteX26" fmla="*/ 226219 w 1659730"/>
                    <a:gd name="connsiteY26" fmla="*/ 1099570 h 1259113"/>
                    <a:gd name="connsiteX27" fmla="*/ 195263 w 1659730"/>
                    <a:gd name="connsiteY27" fmla="*/ 1140052 h 1259113"/>
                    <a:gd name="connsiteX28" fmla="*/ 230980 w 1659730"/>
                    <a:gd name="connsiteY28" fmla="*/ 1199584 h 1259113"/>
                    <a:gd name="connsiteX29" fmla="*/ 252412 w 1659730"/>
                    <a:gd name="connsiteY29" fmla="*/ 1228156 h 1259113"/>
                    <a:gd name="connsiteX30" fmla="*/ 302418 w 1659730"/>
                    <a:gd name="connsiteY30" fmla="*/ 1185295 h 1259113"/>
                    <a:gd name="connsiteX31" fmla="*/ 369093 w 1659730"/>
                    <a:gd name="connsiteY31" fmla="*/ 1242445 h 1259113"/>
                    <a:gd name="connsiteX32" fmla="*/ 423862 w 1659730"/>
                    <a:gd name="connsiteY32" fmla="*/ 1259113 h 1259113"/>
                    <a:gd name="connsiteX33" fmla="*/ 1104219 w 1659730"/>
                    <a:gd name="connsiteY33" fmla="*/ 714261 h 1259113"/>
                    <a:gd name="connsiteX34" fmla="*/ 1195386 w 1659730"/>
                    <a:gd name="connsiteY34" fmla="*/ 639989 h 1259113"/>
                    <a:gd name="connsiteX35" fmla="*/ 1659730 w 1659730"/>
                    <a:gd name="connsiteY35" fmla="*/ 280420 h 1259113"/>
                    <a:gd name="connsiteX36" fmla="*/ 1659504 w 1659730"/>
                    <a:gd name="connsiteY36" fmla="*/ 0 h 1259113"/>
                    <a:gd name="connsiteX37" fmla="*/ 442913 w 1659730"/>
                    <a:gd name="connsiteY37" fmla="*/ 9752 h 1259113"/>
                    <a:gd name="connsiteX0" fmla="*/ 442913 w 1659730"/>
                    <a:gd name="connsiteY0" fmla="*/ 9752 h 1259113"/>
                    <a:gd name="connsiteX1" fmla="*/ 373855 w 1659730"/>
                    <a:gd name="connsiteY1" fmla="*/ 20864 h 1259113"/>
                    <a:gd name="connsiteX2" fmla="*/ 345280 w 1659730"/>
                    <a:gd name="connsiteY2" fmla="*/ 56582 h 1259113"/>
                    <a:gd name="connsiteX3" fmla="*/ 292893 w 1659730"/>
                    <a:gd name="connsiteY3" fmla="*/ 49439 h 1259113"/>
                    <a:gd name="connsiteX4" fmla="*/ 238124 w 1659730"/>
                    <a:gd name="connsiteY4" fmla="*/ 73251 h 1259113"/>
                    <a:gd name="connsiteX5" fmla="*/ 300037 w 1659730"/>
                    <a:gd name="connsiteY5" fmla="*/ 170882 h 1259113"/>
                    <a:gd name="connsiteX6" fmla="*/ 302417 w 1659730"/>
                    <a:gd name="connsiteY6" fmla="*/ 220890 h 1259113"/>
                    <a:gd name="connsiteX7" fmla="*/ 340518 w 1659730"/>
                    <a:gd name="connsiteY7" fmla="*/ 228033 h 1259113"/>
                    <a:gd name="connsiteX8" fmla="*/ 354805 w 1659730"/>
                    <a:gd name="connsiteY8" fmla="*/ 247082 h 1259113"/>
                    <a:gd name="connsiteX9" fmla="*/ 411956 w 1659730"/>
                    <a:gd name="connsiteY9" fmla="*/ 294708 h 1259113"/>
                    <a:gd name="connsiteX10" fmla="*/ 457199 w 1659730"/>
                    <a:gd name="connsiteY10" fmla="*/ 418533 h 1259113"/>
                    <a:gd name="connsiteX11" fmla="*/ 473868 w 1659730"/>
                    <a:gd name="connsiteY11" fmla="*/ 549501 h 1259113"/>
                    <a:gd name="connsiteX12" fmla="*/ 433386 w 1659730"/>
                    <a:gd name="connsiteY12" fmla="*/ 589984 h 1259113"/>
                    <a:gd name="connsiteX13" fmla="*/ 471486 w 1659730"/>
                    <a:gd name="connsiteY13" fmla="*/ 606651 h 1259113"/>
                    <a:gd name="connsiteX14" fmla="*/ 454818 w 1659730"/>
                    <a:gd name="connsiteY14" fmla="*/ 649514 h 1259113"/>
                    <a:gd name="connsiteX15" fmla="*/ 516731 w 1659730"/>
                    <a:gd name="connsiteY15" fmla="*/ 670946 h 1259113"/>
                    <a:gd name="connsiteX16" fmla="*/ 471486 w 1659730"/>
                    <a:gd name="connsiteY16" fmla="*/ 794771 h 1259113"/>
                    <a:gd name="connsiteX17" fmla="*/ 481012 w 1659730"/>
                    <a:gd name="connsiteY17" fmla="*/ 849538 h 1259113"/>
                    <a:gd name="connsiteX18" fmla="*/ 426243 w 1659730"/>
                    <a:gd name="connsiteY18" fmla="*/ 880495 h 1259113"/>
                    <a:gd name="connsiteX19" fmla="*/ 378618 w 1659730"/>
                    <a:gd name="connsiteY19" fmla="*/ 866207 h 1259113"/>
                    <a:gd name="connsiteX20" fmla="*/ 0 w 1659730"/>
                    <a:gd name="connsiteY20" fmla="*/ 656658 h 1259113"/>
                    <a:gd name="connsiteX21" fmla="*/ 239258 w 1659730"/>
                    <a:gd name="connsiteY21" fmla="*/ 982322 h 1259113"/>
                    <a:gd name="connsiteX22" fmla="*/ 204788 w 1659730"/>
                    <a:gd name="connsiteY22" fmla="*/ 1047183 h 1259113"/>
                    <a:gd name="connsiteX23" fmla="*/ 223837 w 1659730"/>
                    <a:gd name="connsiteY23" fmla="*/ 1059090 h 1259113"/>
                    <a:gd name="connsiteX24" fmla="*/ 276225 w 1659730"/>
                    <a:gd name="connsiteY24" fmla="*/ 1040039 h 1259113"/>
                    <a:gd name="connsiteX25" fmla="*/ 254793 w 1659730"/>
                    <a:gd name="connsiteY25" fmla="*/ 1073376 h 1259113"/>
                    <a:gd name="connsiteX26" fmla="*/ 226219 w 1659730"/>
                    <a:gd name="connsiteY26" fmla="*/ 1099570 h 1259113"/>
                    <a:gd name="connsiteX27" fmla="*/ 195263 w 1659730"/>
                    <a:gd name="connsiteY27" fmla="*/ 1140052 h 1259113"/>
                    <a:gd name="connsiteX28" fmla="*/ 230980 w 1659730"/>
                    <a:gd name="connsiteY28" fmla="*/ 1199584 h 1259113"/>
                    <a:gd name="connsiteX29" fmla="*/ 252412 w 1659730"/>
                    <a:gd name="connsiteY29" fmla="*/ 1228156 h 1259113"/>
                    <a:gd name="connsiteX30" fmla="*/ 302418 w 1659730"/>
                    <a:gd name="connsiteY30" fmla="*/ 1185295 h 1259113"/>
                    <a:gd name="connsiteX31" fmla="*/ 369093 w 1659730"/>
                    <a:gd name="connsiteY31" fmla="*/ 1242445 h 1259113"/>
                    <a:gd name="connsiteX32" fmla="*/ 423862 w 1659730"/>
                    <a:gd name="connsiteY32" fmla="*/ 1259113 h 1259113"/>
                    <a:gd name="connsiteX33" fmla="*/ 1104219 w 1659730"/>
                    <a:gd name="connsiteY33" fmla="*/ 714261 h 1259113"/>
                    <a:gd name="connsiteX34" fmla="*/ 1195386 w 1659730"/>
                    <a:gd name="connsiteY34" fmla="*/ 639989 h 1259113"/>
                    <a:gd name="connsiteX35" fmla="*/ 1659730 w 1659730"/>
                    <a:gd name="connsiteY35" fmla="*/ 280420 h 1259113"/>
                    <a:gd name="connsiteX36" fmla="*/ 1659504 w 1659730"/>
                    <a:gd name="connsiteY36" fmla="*/ 0 h 1259113"/>
                    <a:gd name="connsiteX37" fmla="*/ 442913 w 1659730"/>
                    <a:gd name="connsiteY37" fmla="*/ 9752 h 1259113"/>
                    <a:gd name="connsiteX0" fmla="*/ 442913 w 1659730"/>
                    <a:gd name="connsiteY0" fmla="*/ 9752 h 1259113"/>
                    <a:gd name="connsiteX1" fmla="*/ 373855 w 1659730"/>
                    <a:gd name="connsiteY1" fmla="*/ 20864 h 1259113"/>
                    <a:gd name="connsiteX2" fmla="*/ 345280 w 1659730"/>
                    <a:gd name="connsiteY2" fmla="*/ 56582 h 1259113"/>
                    <a:gd name="connsiteX3" fmla="*/ 292893 w 1659730"/>
                    <a:gd name="connsiteY3" fmla="*/ 49439 h 1259113"/>
                    <a:gd name="connsiteX4" fmla="*/ 238124 w 1659730"/>
                    <a:gd name="connsiteY4" fmla="*/ 73251 h 1259113"/>
                    <a:gd name="connsiteX5" fmla="*/ 300037 w 1659730"/>
                    <a:gd name="connsiteY5" fmla="*/ 170882 h 1259113"/>
                    <a:gd name="connsiteX6" fmla="*/ 302417 w 1659730"/>
                    <a:gd name="connsiteY6" fmla="*/ 220890 h 1259113"/>
                    <a:gd name="connsiteX7" fmla="*/ 340518 w 1659730"/>
                    <a:gd name="connsiteY7" fmla="*/ 228033 h 1259113"/>
                    <a:gd name="connsiteX8" fmla="*/ 354805 w 1659730"/>
                    <a:gd name="connsiteY8" fmla="*/ 247082 h 1259113"/>
                    <a:gd name="connsiteX9" fmla="*/ 411956 w 1659730"/>
                    <a:gd name="connsiteY9" fmla="*/ 294708 h 1259113"/>
                    <a:gd name="connsiteX10" fmla="*/ 457199 w 1659730"/>
                    <a:gd name="connsiteY10" fmla="*/ 418533 h 1259113"/>
                    <a:gd name="connsiteX11" fmla="*/ 473868 w 1659730"/>
                    <a:gd name="connsiteY11" fmla="*/ 549501 h 1259113"/>
                    <a:gd name="connsiteX12" fmla="*/ 433386 w 1659730"/>
                    <a:gd name="connsiteY12" fmla="*/ 589984 h 1259113"/>
                    <a:gd name="connsiteX13" fmla="*/ 471486 w 1659730"/>
                    <a:gd name="connsiteY13" fmla="*/ 606651 h 1259113"/>
                    <a:gd name="connsiteX14" fmla="*/ 454818 w 1659730"/>
                    <a:gd name="connsiteY14" fmla="*/ 649514 h 1259113"/>
                    <a:gd name="connsiteX15" fmla="*/ 516731 w 1659730"/>
                    <a:gd name="connsiteY15" fmla="*/ 670946 h 1259113"/>
                    <a:gd name="connsiteX16" fmla="*/ 471486 w 1659730"/>
                    <a:gd name="connsiteY16" fmla="*/ 794771 h 1259113"/>
                    <a:gd name="connsiteX17" fmla="*/ 481012 w 1659730"/>
                    <a:gd name="connsiteY17" fmla="*/ 849538 h 1259113"/>
                    <a:gd name="connsiteX18" fmla="*/ 426243 w 1659730"/>
                    <a:gd name="connsiteY18" fmla="*/ 880495 h 1259113"/>
                    <a:gd name="connsiteX19" fmla="*/ 378618 w 1659730"/>
                    <a:gd name="connsiteY19" fmla="*/ 866207 h 1259113"/>
                    <a:gd name="connsiteX20" fmla="*/ 161925 w 1659730"/>
                    <a:gd name="connsiteY20" fmla="*/ 747145 h 1259113"/>
                    <a:gd name="connsiteX21" fmla="*/ 0 w 1659730"/>
                    <a:gd name="connsiteY21" fmla="*/ 656658 h 1259113"/>
                    <a:gd name="connsiteX22" fmla="*/ 239258 w 1659730"/>
                    <a:gd name="connsiteY22" fmla="*/ 982322 h 1259113"/>
                    <a:gd name="connsiteX23" fmla="*/ 204788 w 1659730"/>
                    <a:gd name="connsiteY23" fmla="*/ 1047183 h 1259113"/>
                    <a:gd name="connsiteX24" fmla="*/ 223837 w 1659730"/>
                    <a:gd name="connsiteY24" fmla="*/ 1059090 h 1259113"/>
                    <a:gd name="connsiteX25" fmla="*/ 276225 w 1659730"/>
                    <a:gd name="connsiteY25" fmla="*/ 1040039 h 1259113"/>
                    <a:gd name="connsiteX26" fmla="*/ 254793 w 1659730"/>
                    <a:gd name="connsiteY26" fmla="*/ 1073376 h 1259113"/>
                    <a:gd name="connsiteX27" fmla="*/ 226219 w 1659730"/>
                    <a:gd name="connsiteY27" fmla="*/ 1099570 h 1259113"/>
                    <a:gd name="connsiteX28" fmla="*/ 195263 w 1659730"/>
                    <a:gd name="connsiteY28" fmla="*/ 1140052 h 1259113"/>
                    <a:gd name="connsiteX29" fmla="*/ 230980 w 1659730"/>
                    <a:gd name="connsiteY29" fmla="*/ 1199584 h 1259113"/>
                    <a:gd name="connsiteX30" fmla="*/ 252412 w 1659730"/>
                    <a:gd name="connsiteY30" fmla="*/ 1228156 h 1259113"/>
                    <a:gd name="connsiteX31" fmla="*/ 302418 w 1659730"/>
                    <a:gd name="connsiteY31" fmla="*/ 1185295 h 1259113"/>
                    <a:gd name="connsiteX32" fmla="*/ 369093 w 1659730"/>
                    <a:gd name="connsiteY32" fmla="*/ 1242445 h 1259113"/>
                    <a:gd name="connsiteX33" fmla="*/ 423862 w 1659730"/>
                    <a:gd name="connsiteY33" fmla="*/ 1259113 h 1259113"/>
                    <a:gd name="connsiteX34" fmla="*/ 1104219 w 1659730"/>
                    <a:gd name="connsiteY34" fmla="*/ 714261 h 1259113"/>
                    <a:gd name="connsiteX35" fmla="*/ 1195386 w 1659730"/>
                    <a:gd name="connsiteY35" fmla="*/ 639989 h 1259113"/>
                    <a:gd name="connsiteX36" fmla="*/ 1659730 w 1659730"/>
                    <a:gd name="connsiteY36" fmla="*/ 280420 h 1259113"/>
                    <a:gd name="connsiteX37" fmla="*/ 1659504 w 1659730"/>
                    <a:gd name="connsiteY37" fmla="*/ 0 h 1259113"/>
                    <a:gd name="connsiteX38" fmla="*/ 442913 w 1659730"/>
                    <a:gd name="connsiteY38" fmla="*/ 9752 h 1259113"/>
                    <a:gd name="connsiteX0" fmla="*/ 442913 w 1659730"/>
                    <a:gd name="connsiteY0" fmla="*/ 9752 h 1259113"/>
                    <a:gd name="connsiteX1" fmla="*/ 373855 w 1659730"/>
                    <a:gd name="connsiteY1" fmla="*/ 20864 h 1259113"/>
                    <a:gd name="connsiteX2" fmla="*/ 345280 w 1659730"/>
                    <a:gd name="connsiteY2" fmla="*/ 56582 h 1259113"/>
                    <a:gd name="connsiteX3" fmla="*/ 292893 w 1659730"/>
                    <a:gd name="connsiteY3" fmla="*/ 49439 h 1259113"/>
                    <a:gd name="connsiteX4" fmla="*/ 238124 w 1659730"/>
                    <a:gd name="connsiteY4" fmla="*/ 73251 h 1259113"/>
                    <a:gd name="connsiteX5" fmla="*/ 300037 w 1659730"/>
                    <a:gd name="connsiteY5" fmla="*/ 170882 h 1259113"/>
                    <a:gd name="connsiteX6" fmla="*/ 302417 w 1659730"/>
                    <a:gd name="connsiteY6" fmla="*/ 220890 h 1259113"/>
                    <a:gd name="connsiteX7" fmla="*/ 340518 w 1659730"/>
                    <a:gd name="connsiteY7" fmla="*/ 228033 h 1259113"/>
                    <a:gd name="connsiteX8" fmla="*/ 354805 w 1659730"/>
                    <a:gd name="connsiteY8" fmla="*/ 247082 h 1259113"/>
                    <a:gd name="connsiteX9" fmla="*/ 411956 w 1659730"/>
                    <a:gd name="connsiteY9" fmla="*/ 294708 h 1259113"/>
                    <a:gd name="connsiteX10" fmla="*/ 457199 w 1659730"/>
                    <a:gd name="connsiteY10" fmla="*/ 418533 h 1259113"/>
                    <a:gd name="connsiteX11" fmla="*/ 473868 w 1659730"/>
                    <a:gd name="connsiteY11" fmla="*/ 549501 h 1259113"/>
                    <a:gd name="connsiteX12" fmla="*/ 433386 w 1659730"/>
                    <a:gd name="connsiteY12" fmla="*/ 589984 h 1259113"/>
                    <a:gd name="connsiteX13" fmla="*/ 471486 w 1659730"/>
                    <a:gd name="connsiteY13" fmla="*/ 606651 h 1259113"/>
                    <a:gd name="connsiteX14" fmla="*/ 454818 w 1659730"/>
                    <a:gd name="connsiteY14" fmla="*/ 649514 h 1259113"/>
                    <a:gd name="connsiteX15" fmla="*/ 516731 w 1659730"/>
                    <a:gd name="connsiteY15" fmla="*/ 670946 h 1259113"/>
                    <a:gd name="connsiteX16" fmla="*/ 471486 w 1659730"/>
                    <a:gd name="connsiteY16" fmla="*/ 794771 h 1259113"/>
                    <a:gd name="connsiteX17" fmla="*/ 481012 w 1659730"/>
                    <a:gd name="connsiteY17" fmla="*/ 849538 h 1259113"/>
                    <a:gd name="connsiteX18" fmla="*/ 426243 w 1659730"/>
                    <a:gd name="connsiteY18" fmla="*/ 880495 h 1259113"/>
                    <a:gd name="connsiteX19" fmla="*/ 378618 w 1659730"/>
                    <a:gd name="connsiteY19" fmla="*/ 866207 h 1259113"/>
                    <a:gd name="connsiteX20" fmla="*/ 311944 w 1659730"/>
                    <a:gd name="connsiteY20" fmla="*/ 885258 h 1259113"/>
                    <a:gd name="connsiteX21" fmla="*/ 0 w 1659730"/>
                    <a:gd name="connsiteY21" fmla="*/ 656658 h 1259113"/>
                    <a:gd name="connsiteX22" fmla="*/ 239258 w 1659730"/>
                    <a:gd name="connsiteY22" fmla="*/ 982322 h 1259113"/>
                    <a:gd name="connsiteX23" fmla="*/ 204788 w 1659730"/>
                    <a:gd name="connsiteY23" fmla="*/ 1047183 h 1259113"/>
                    <a:gd name="connsiteX24" fmla="*/ 223837 w 1659730"/>
                    <a:gd name="connsiteY24" fmla="*/ 1059090 h 1259113"/>
                    <a:gd name="connsiteX25" fmla="*/ 276225 w 1659730"/>
                    <a:gd name="connsiteY25" fmla="*/ 1040039 h 1259113"/>
                    <a:gd name="connsiteX26" fmla="*/ 254793 w 1659730"/>
                    <a:gd name="connsiteY26" fmla="*/ 1073376 h 1259113"/>
                    <a:gd name="connsiteX27" fmla="*/ 226219 w 1659730"/>
                    <a:gd name="connsiteY27" fmla="*/ 1099570 h 1259113"/>
                    <a:gd name="connsiteX28" fmla="*/ 195263 w 1659730"/>
                    <a:gd name="connsiteY28" fmla="*/ 1140052 h 1259113"/>
                    <a:gd name="connsiteX29" fmla="*/ 230980 w 1659730"/>
                    <a:gd name="connsiteY29" fmla="*/ 1199584 h 1259113"/>
                    <a:gd name="connsiteX30" fmla="*/ 252412 w 1659730"/>
                    <a:gd name="connsiteY30" fmla="*/ 1228156 h 1259113"/>
                    <a:gd name="connsiteX31" fmla="*/ 302418 w 1659730"/>
                    <a:gd name="connsiteY31" fmla="*/ 1185295 h 1259113"/>
                    <a:gd name="connsiteX32" fmla="*/ 369093 w 1659730"/>
                    <a:gd name="connsiteY32" fmla="*/ 1242445 h 1259113"/>
                    <a:gd name="connsiteX33" fmla="*/ 423862 w 1659730"/>
                    <a:gd name="connsiteY33" fmla="*/ 1259113 h 1259113"/>
                    <a:gd name="connsiteX34" fmla="*/ 1104219 w 1659730"/>
                    <a:gd name="connsiteY34" fmla="*/ 714261 h 1259113"/>
                    <a:gd name="connsiteX35" fmla="*/ 1195386 w 1659730"/>
                    <a:gd name="connsiteY35" fmla="*/ 639989 h 1259113"/>
                    <a:gd name="connsiteX36" fmla="*/ 1659730 w 1659730"/>
                    <a:gd name="connsiteY36" fmla="*/ 280420 h 1259113"/>
                    <a:gd name="connsiteX37" fmla="*/ 1659504 w 1659730"/>
                    <a:gd name="connsiteY37" fmla="*/ 0 h 1259113"/>
                    <a:gd name="connsiteX38" fmla="*/ 442913 w 1659730"/>
                    <a:gd name="connsiteY38" fmla="*/ 9752 h 1259113"/>
                    <a:gd name="connsiteX0" fmla="*/ 247650 w 1464467"/>
                    <a:gd name="connsiteY0" fmla="*/ 9752 h 1259113"/>
                    <a:gd name="connsiteX1" fmla="*/ 178592 w 1464467"/>
                    <a:gd name="connsiteY1" fmla="*/ 20864 h 1259113"/>
                    <a:gd name="connsiteX2" fmla="*/ 150017 w 1464467"/>
                    <a:gd name="connsiteY2" fmla="*/ 56582 h 1259113"/>
                    <a:gd name="connsiteX3" fmla="*/ 97630 w 1464467"/>
                    <a:gd name="connsiteY3" fmla="*/ 49439 h 1259113"/>
                    <a:gd name="connsiteX4" fmla="*/ 42861 w 1464467"/>
                    <a:gd name="connsiteY4" fmla="*/ 73251 h 1259113"/>
                    <a:gd name="connsiteX5" fmla="*/ 104774 w 1464467"/>
                    <a:gd name="connsiteY5" fmla="*/ 170882 h 1259113"/>
                    <a:gd name="connsiteX6" fmla="*/ 107154 w 1464467"/>
                    <a:gd name="connsiteY6" fmla="*/ 220890 h 1259113"/>
                    <a:gd name="connsiteX7" fmla="*/ 145255 w 1464467"/>
                    <a:gd name="connsiteY7" fmla="*/ 228033 h 1259113"/>
                    <a:gd name="connsiteX8" fmla="*/ 159542 w 1464467"/>
                    <a:gd name="connsiteY8" fmla="*/ 247082 h 1259113"/>
                    <a:gd name="connsiteX9" fmla="*/ 216693 w 1464467"/>
                    <a:gd name="connsiteY9" fmla="*/ 294708 h 1259113"/>
                    <a:gd name="connsiteX10" fmla="*/ 261936 w 1464467"/>
                    <a:gd name="connsiteY10" fmla="*/ 418533 h 1259113"/>
                    <a:gd name="connsiteX11" fmla="*/ 278605 w 1464467"/>
                    <a:gd name="connsiteY11" fmla="*/ 549501 h 1259113"/>
                    <a:gd name="connsiteX12" fmla="*/ 238123 w 1464467"/>
                    <a:gd name="connsiteY12" fmla="*/ 589984 h 1259113"/>
                    <a:gd name="connsiteX13" fmla="*/ 276223 w 1464467"/>
                    <a:gd name="connsiteY13" fmla="*/ 606651 h 1259113"/>
                    <a:gd name="connsiteX14" fmla="*/ 259555 w 1464467"/>
                    <a:gd name="connsiteY14" fmla="*/ 649514 h 1259113"/>
                    <a:gd name="connsiteX15" fmla="*/ 321468 w 1464467"/>
                    <a:gd name="connsiteY15" fmla="*/ 670946 h 1259113"/>
                    <a:gd name="connsiteX16" fmla="*/ 276223 w 1464467"/>
                    <a:gd name="connsiteY16" fmla="*/ 794771 h 1259113"/>
                    <a:gd name="connsiteX17" fmla="*/ 285749 w 1464467"/>
                    <a:gd name="connsiteY17" fmla="*/ 849538 h 1259113"/>
                    <a:gd name="connsiteX18" fmla="*/ 230980 w 1464467"/>
                    <a:gd name="connsiteY18" fmla="*/ 880495 h 1259113"/>
                    <a:gd name="connsiteX19" fmla="*/ 183355 w 1464467"/>
                    <a:gd name="connsiteY19" fmla="*/ 866207 h 1259113"/>
                    <a:gd name="connsiteX20" fmla="*/ 116681 w 1464467"/>
                    <a:gd name="connsiteY20" fmla="*/ 885258 h 1259113"/>
                    <a:gd name="connsiteX21" fmla="*/ 78581 w 1464467"/>
                    <a:gd name="connsiteY21" fmla="*/ 925739 h 1259113"/>
                    <a:gd name="connsiteX22" fmla="*/ 43995 w 1464467"/>
                    <a:gd name="connsiteY22" fmla="*/ 982322 h 1259113"/>
                    <a:gd name="connsiteX23" fmla="*/ 9525 w 1464467"/>
                    <a:gd name="connsiteY23" fmla="*/ 1047183 h 1259113"/>
                    <a:gd name="connsiteX24" fmla="*/ 28574 w 1464467"/>
                    <a:gd name="connsiteY24" fmla="*/ 1059090 h 1259113"/>
                    <a:gd name="connsiteX25" fmla="*/ 80962 w 1464467"/>
                    <a:gd name="connsiteY25" fmla="*/ 1040039 h 1259113"/>
                    <a:gd name="connsiteX26" fmla="*/ 59530 w 1464467"/>
                    <a:gd name="connsiteY26" fmla="*/ 1073376 h 1259113"/>
                    <a:gd name="connsiteX27" fmla="*/ 30956 w 1464467"/>
                    <a:gd name="connsiteY27" fmla="*/ 1099570 h 1259113"/>
                    <a:gd name="connsiteX28" fmla="*/ 0 w 1464467"/>
                    <a:gd name="connsiteY28" fmla="*/ 1140052 h 1259113"/>
                    <a:gd name="connsiteX29" fmla="*/ 35717 w 1464467"/>
                    <a:gd name="connsiteY29" fmla="*/ 1199584 h 1259113"/>
                    <a:gd name="connsiteX30" fmla="*/ 57149 w 1464467"/>
                    <a:gd name="connsiteY30" fmla="*/ 1228156 h 1259113"/>
                    <a:gd name="connsiteX31" fmla="*/ 107155 w 1464467"/>
                    <a:gd name="connsiteY31" fmla="*/ 1185295 h 1259113"/>
                    <a:gd name="connsiteX32" fmla="*/ 173830 w 1464467"/>
                    <a:gd name="connsiteY32" fmla="*/ 1242445 h 1259113"/>
                    <a:gd name="connsiteX33" fmla="*/ 228599 w 1464467"/>
                    <a:gd name="connsiteY33" fmla="*/ 1259113 h 1259113"/>
                    <a:gd name="connsiteX34" fmla="*/ 908956 w 1464467"/>
                    <a:gd name="connsiteY34" fmla="*/ 714261 h 1259113"/>
                    <a:gd name="connsiteX35" fmla="*/ 1000123 w 1464467"/>
                    <a:gd name="connsiteY35" fmla="*/ 639989 h 1259113"/>
                    <a:gd name="connsiteX36" fmla="*/ 1464467 w 1464467"/>
                    <a:gd name="connsiteY36" fmla="*/ 280420 h 1259113"/>
                    <a:gd name="connsiteX37" fmla="*/ 1464241 w 1464467"/>
                    <a:gd name="connsiteY37" fmla="*/ 0 h 1259113"/>
                    <a:gd name="connsiteX38" fmla="*/ 247650 w 1464467"/>
                    <a:gd name="connsiteY38" fmla="*/ 9752 h 1259113"/>
                    <a:gd name="connsiteX0" fmla="*/ 247650 w 1464467"/>
                    <a:gd name="connsiteY0" fmla="*/ 9752 h 1259113"/>
                    <a:gd name="connsiteX1" fmla="*/ 178592 w 1464467"/>
                    <a:gd name="connsiteY1" fmla="*/ 20864 h 1259113"/>
                    <a:gd name="connsiteX2" fmla="*/ 150017 w 1464467"/>
                    <a:gd name="connsiteY2" fmla="*/ 56582 h 1259113"/>
                    <a:gd name="connsiteX3" fmla="*/ 97630 w 1464467"/>
                    <a:gd name="connsiteY3" fmla="*/ 49439 h 1259113"/>
                    <a:gd name="connsiteX4" fmla="*/ 42861 w 1464467"/>
                    <a:gd name="connsiteY4" fmla="*/ 73251 h 1259113"/>
                    <a:gd name="connsiteX5" fmla="*/ 104774 w 1464467"/>
                    <a:gd name="connsiteY5" fmla="*/ 170882 h 1259113"/>
                    <a:gd name="connsiteX6" fmla="*/ 107154 w 1464467"/>
                    <a:gd name="connsiteY6" fmla="*/ 220890 h 1259113"/>
                    <a:gd name="connsiteX7" fmla="*/ 145255 w 1464467"/>
                    <a:gd name="connsiteY7" fmla="*/ 228033 h 1259113"/>
                    <a:gd name="connsiteX8" fmla="*/ 159542 w 1464467"/>
                    <a:gd name="connsiteY8" fmla="*/ 247082 h 1259113"/>
                    <a:gd name="connsiteX9" fmla="*/ 216693 w 1464467"/>
                    <a:gd name="connsiteY9" fmla="*/ 294708 h 1259113"/>
                    <a:gd name="connsiteX10" fmla="*/ 261936 w 1464467"/>
                    <a:gd name="connsiteY10" fmla="*/ 418533 h 1259113"/>
                    <a:gd name="connsiteX11" fmla="*/ 278605 w 1464467"/>
                    <a:gd name="connsiteY11" fmla="*/ 549501 h 1259113"/>
                    <a:gd name="connsiteX12" fmla="*/ 238123 w 1464467"/>
                    <a:gd name="connsiteY12" fmla="*/ 589984 h 1259113"/>
                    <a:gd name="connsiteX13" fmla="*/ 276223 w 1464467"/>
                    <a:gd name="connsiteY13" fmla="*/ 606651 h 1259113"/>
                    <a:gd name="connsiteX14" fmla="*/ 259555 w 1464467"/>
                    <a:gd name="connsiteY14" fmla="*/ 649514 h 1259113"/>
                    <a:gd name="connsiteX15" fmla="*/ 321468 w 1464467"/>
                    <a:gd name="connsiteY15" fmla="*/ 670946 h 1259113"/>
                    <a:gd name="connsiteX16" fmla="*/ 276223 w 1464467"/>
                    <a:gd name="connsiteY16" fmla="*/ 794771 h 1259113"/>
                    <a:gd name="connsiteX17" fmla="*/ 285749 w 1464467"/>
                    <a:gd name="connsiteY17" fmla="*/ 849538 h 1259113"/>
                    <a:gd name="connsiteX18" fmla="*/ 230980 w 1464467"/>
                    <a:gd name="connsiteY18" fmla="*/ 880495 h 1259113"/>
                    <a:gd name="connsiteX19" fmla="*/ 183355 w 1464467"/>
                    <a:gd name="connsiteY19" fmla="*/ 866207 h 1259113"/>
                    <a:gd name="connsiteX20" fmla="*/ 116681 w 1464467"/>
                    <a:gd name="connsiteY20" fmla="*/ 885258 h 1259113"/>
                    <a:gd name="connsiteX21" fmla="*/ 78581 w 1464467"/>
                    <a:gd name="connsiteY21" fmla="*/ 925739 h 1259113"/>
                    <a:gd name="connsiteX22" fmla="*/ 43995 w 1464467"/>
                    <a:gd name="connsiteY22" fmla="*/ 982322 h 1259113"/>
                    <a:gd name="connsiteX23" fmla="*/ 9525 w 1464467"/>
                    <a:gd name="connsiteY23" fmla="*/ 1047183 h 1259113"/>
                    <a:gd name="connsiteX24" fmla="*/ 28574 w 1464467"/>
                    <a:gd name="connsiteY24" fmla="*/ 1059090 h 1259113"/>
                    <a:gd name="connsiteX25" fmla="*/ 80962 w 1464467"/>
                    <a:gd name="connsiteY25" fmla="*/ 1040039 h 1259113"/>
                    <a:gd name="connsiteX26" fmla="*/ 59530 w 1464467"/>
                    <a:gd name="connsiteY26" fmla="*/ 1073376 h 1259113"/>
                    <a:gd name="connsiteX27" fmla="*/ 30956 w 1464467"/>
                    <a:gd name="connsiteY27" fmla="*/ 1099570 h 1259113"/>
                    <a:gd name="connsiteX28" fmla="*/ 0 w 1464467"/>
                    <a:gd name="connsiteY28" fmla="*/ 1140052 h 1259113"/>
                    <a:gd name="connsiteX29" fmla="*/ 35717 w 1464467"/>
                    <a:gd name="connsiteY29" fmla="*/ 1199584 h 1259113"/>
                    <a:gd name="connsiteX30" fmla="*/ 57149 w 1464467"/>
                    <a:gd name="connsiteY30" fmla="*/ 1228156 h 1259113"/>
                    <a:gd name="connsiteX31" fmla="*/ 107155 w 1464467"/>
                    <a:gd name="connsiteY31" fmla="*/ 1185295 h 1259113"/>
                    <a:gd name="connsiteX32" fmla="*/ 173830 w 1464467"/>
                    <a:gd name="connsiteY32" fmla="*/ 1242445 h 1259113"/>
                    <a:gd name="connsiteX33" fmla="*/ 228599 w 1464467"/>
                    <a:gd name="connsiteY33" fmla="*/ 1259113 h 1259113"/>
                    <a:gd name="connsiteX34" fmla="*/ 414337 w 1464467"/>
                    <a:gd name="connsiteY34" fmla="*/ 1111476 h 1259113"/>
                    <a:gd name="connsiteX35" fmla="*/ 908956 w 1464467"/>
                    <a:gd name="connsiteY35" fmla="*/ 714261 h 1259113"/>
                    <a:gd name="connsiteX36" fmla="*/ 1000123 w 1464467"/>
                    <a:gd name="connsiteY36" fmla="*/ 639989 h 1259113"/>
                    <a:gd name="connsiteX37" fmla="*/ 1464467 w 1464467"/>
                    <a:gd name="connsiteY37" fmla="*/ 280420 h 1259113"/>
                    <a:gd name="connsiteX38" fmla="*/ 1464241 w 1464467"/>
                    <a:gd name="connsiteY38" fmla="*/ 0 h 1259113"/>
                    <a:gd name="connsiteX39" fmla="*/ 247650 w 1464467"/>
                    <a:gd name="connsiteY39" fmla="*/ 9752 h 1259113"/>
                    <a:gd name="connsiteX0" fmla="*/ 247650 w 1464467"/>
                    <a:gd name="connsiteY0" fmla="*/ 9752 h 1259113"/>
                    <a:gd name="connsiteX1" fmla="*/ 178592 w 1464467"/>
                    <a:gd name="connsiteY1" fmla="*/ 20864 h 1259113"/>
                    <a:gd name="connsiteX2" fmla="*/ 150017 w 1464467"/>
                    <a:gd name="connsiteY2" fmla="*/ 56582 h 1259113"/>
                    <a:gd name="connsiteX3" fmla="*/ 97630 w 1464467"/>
                    <a:gd name="connsiteY3" fmla="*/ 49439 h 1259113"/>
                    <a:gd name="connsiteX4" fmla="*/ 42861 w 1464467"/>
                    <a:gd name="connsiteY4" fmla="*/ 73251 h 1259113"/>
                    <a:gd name="connsiteX5" fmla="*/ 104774 w 1464467"/>
                    <a:gd name="connsiteY5" fmla="*/ 170882 h 1259113"/>
                    <a:gd name="connsiteX6" fmla="*/ 107154 w 1464467"/>
                    <a:gd name="connsiteY6" fmla="*/ 220890 h 1259113"/>
                    <a:gd name="connsiteX7" fmla="*/ 145255 w 1464467"/>
                    <a:gd name="connsiteY7" fmla="*/ 228033 h 1259113"/>
                    <a:gd name="connsiteX8" fmla="*/ 159542 w 1464467"/>
                    <a:gd name="connsiteY8" fmla="*/ 247082 h 1259113"/>
                    <a:gd name="connsiteX9" fmla="*/ 216693 w 1464467"/>
                    <a:gd name="connsiteY9" fmla="*/ 294708 h 1259113"/>
                    <a:gd name="connsiteX10" fmla="*/ 261936 w 1464467"/>
                    <a:gd name="connsiteY10" fmla="*/ 418533 h 1259113"/>
                    <a:gd name="connsiteX11" fmla="*/ 278605 w 1464467"/>
                    <a:gd name="connsiteY11" fmla="*/ 549501 h 1259113"/>
                    <a:gd name="connsiteX12" fmla="*/ 238123 w 1464467"/>
                    <a:gd name="connsiteY12" fmla="*/ 589984 h 1259113"/>
                    <a:gd name="connsiteX13" fmla="*/ 276223 w 1464467"/>
                    <a:gd name="connsiteY13" fmla="*/ 606651 h 1259113"/>
                    <a:gd name="connsiteX14" fmla="*/ 259555 w 1464467"/>
                    <a:gd name="connsiteY14" fmla="*/ 649514 h 1259113"/>
                    <a:gd name="connsiteX15" fmla="*/ 321468 w 1464467"/>
                    <a:gd name="connsiteY15" fmla="*/ 670946 h 1259113"/>
                    <a:gd name="connsiteX16" fmla="*/ 276223 w 1464467"/>
                    <a:gd name="connsiteY16" fmla="*/ 794771 h 1259113"/>
                    <a:gd name="connsiteX17" fmla="*/ 285749 w 1464467"/>
                    <a:gd name="connsiteY17" fmla="*/ 849538 h 1259113"/>
                    <a:gd name="connsiteX18" fmla="*/ 230980 w 1464467"/>
                    <a:gd name="connsiteY18" fmla="*/ 880495 h 1259113"/>
                    <a:gd name="connsiteX19" fmla="*/ 183355 w 1464467"/>
                    <a:gd name="connsiteY19" fmla="*/ 866207 h 1259113"/>
                    <a:gd name="connsiteX20" fmla="*/ 116681 w 1464467"/>
                    <a:gd name="connsiteY20" fmla="*/ 885258 h 1259113"/>
                    <a:gd name="connsiteX21" fmla="*/ 78581 w 1464467"/>
                    <a:gd name="connsiteY21" fmla="*/ 925739 h 1259113"/>
                    <a:gd name="connsiteX22" fmla="*/ 43995 w 1464467"/>
                    <a:gd name="connsiteY22" fmla="*/ 982322 h 1259113"/>
                    <a:gd name="connsiteX23" fmla="*/ 9525 w 1464467"/>
                    <a:gd name="connsiteY23" fmla="*/ 1047183 h 1259113"/>
                    <a:gd name="connsiteX24" fmla="*/ 28574 w 1464467"/>
                    <a:gd name="connsiteY24" fmla="*/ 1059090 h 1259113"/>
                    <a:gd name="connsiteX25" fmla="*/ 80962 w 1464467"/>
                    <a:gd name="connsiteY25" fmla="*/ 1040039 h 1259113"/>
                    <a:gd name="connsiteX26" fmla="*/ 59530 w 1464467"/>
                    <a:gd name="connsiteY26" fmla="*/ 1073376 h 1259113"/>
                    <a:gd name="connsiteX27" fmla="*/ 30956 w 1464467"/>
                    <a:gd name="connsiteY27" fmla="*/ 1099570 h 1259113"/>
                    <a:gd name="connsiteX28" fmla="*/ 0 w 1464467"/>
                    <a:gd name="connsiteY28" fmla="*/ 1140052 h 1259113"/>
                    <a:gd name="connsiteX29" fmla="*/ 35717 w 1464467"/>
                    <a:gd name="connsiteY29" fmla="*/ 1199584 h 1259113"/>
                    <a:gd name="connsiteX30" fmla="*/ 57149 w 1464467"/>
                    <a:gd name="connsiteY30" fmla="*/ 1228156 h 1259113"/>
                    <a:gd name="connsiteX31" fmla="*/ 107155 w 1464467"/>
                    <a:gd name="connsiteY31" fmla="*/ 1185295 h 1259113"/>
                    <a:gd name="connsiteX32" fmla="*/ 173830 w 1464467"/>
                    <a:gd name="connsiteY32" fmla="*/ 1242445 h 1259113"/>
                    <a:gd name="connsiteX33" fmla="*/ 228599 w 1464467"/>
                    <a:gd name="connsiteY33" fmla="*/ 1259113 h 1259113"/>
                    <a:gd name="connsiteX34" fmla="*/ 366712 w 1464467"/>
                    <a:gd name="connsiteY34" fmla="*/ 1144814 h 1259113"/>
                    <a:gd name="connsiteX35" fmla="*/ 414337 w 1464467"/>
                    <a:gd name="connsiteY35" fmla="*/ 1111476 h 1259113"/>
                    <a:gd name="connsiteX36" fmla="*/ 908956 w 1464467"/>
                    <a:gd name="connsiteY36" fmla="*/ 714261 h 1259113"/>
                    <a:gd name="connsiteX37" fmla="*/ 1000123 w 1464467"/>
                    <a:gd name="connsiteY37" fmla="*/ 639989 h 1259113"/>
                    <a:gd name="connsiteX38" fmla="*/ 1464467 w 1464467"/>
                    <a:gd name="connsiteY38" fmla="*/ 280420 h 1259113"/>
                    <a:gd name="connsiteX39" fmla="*/ 1464241 w 1464467"/>
                    <a:gd name="connsiteY39" fmla="*/ 0 h 1259113"/>
                    <a:gd name="connsiteX40" fmla="*/ 247650 w 1464467"/>
                    <a:gd name="connsiteY40" fmla="*/ 9752 h 1259113"/>
                    <a:gd name="connsiteX0" fmla="*/ 247650 w 1464467"/>
                    <a:gd name="connsiteY0" fmla="*/ 9752 h 1259113"/>
                    <a:gd name="connsiteX1" fmla="*/ 178592 w 1464467"/>
                    <a:gd name="connsiteY1" fmla="*/ 20864 h 1259113"/>
                    <a:gd name="connsiteX2" fmla="*/ 150017 w 1464467"/>
                    <a:gd name="connsiteY2" fmla="*/ 56582 h 1259113"/>
                    <a:gd name="connsiteX3" fmla="*/ 97630 w 1464467"/>
                    <a:gd name="connsiteY3" fmla="*/ 49439 h 1259113"/>
                    <a:gd name="connsiteX4" fmla="*/ 42861 w 1464467"/>
                    <a:gd name="connsiteY4" fmla="*/ 73251 h 1259113"/>
                    <a:gd name="connsiteX5" fmla="*/ 104774 w 1464467"/>
                    <a:gd name="connsiteY5" fmla="*/ 170882 h 1259113"/>
                    <a:gd name="connsiteX6" fmla="*/ 107154 w 1464467"/>
                    <a:gd name="connsiteY6" fmla="*/ 220890 h 1259113"/>
                    <a:gd name="connsiteX7" fmla="*/ 145255 w 1464467"/>
                    <a:gd name="connsiteY7" fmla="*/ 228033 h 1259113"/>
                    <a:gd name="connsiteX8" fmla="*/ 159542 w 1464467"/>
                    <a:gd name="connsiteY8" fmla="*/ 247082 h 1259113"/>
                    <a:gd name="connsiteX9" fmla="*/ 216693 w 1464467"/>
                    <a:gd name="connsiteY9" fmla="*/ 294708 h 1259113"/>
                    <a:gd name="connsiteX10" fmla="*/ 261936 w 1464467"/>
                    <a:gd name="connsiteY10" fmla="*/ 418533 h 1259113"/>
                    <a:gd name="connsiteX11" fmla="*/ 278605 w 1464467"/>
                    <a:gd name="connsiteY11" fmla="*/ 549501 h 1259113"/>
                    <a:gd name="connsiteX12" fmla="*/ 238123 w 1464467"/>
                    <a:gd name="connsiteY12" fmla="*/ 589984 h 1259113"/>
                    <a:gd name="connsiteX13" fmla="*/ 276223 w 1464467"/>
                    <a:gd name="connsiteY13" fmla="*/ 606651 h 1259113"/>
                    <a:gd name="connsiteX14" fmla="*/ 259555 w 1464467"/>
                    <a:gd name="connsiteY14" fmla="*/ 649514 h 1259113"/>
                    <a:gd name="connsiteX15" fmla="*/ 321468 w 1464467"/>
                    <a:gd name="connsiteY15" fmla="*/ 670946 h 1259113"/>
                    <a:gd name="connsiteX16" fmla="*/ 276223 w 1464467"/>
                    <a:gd name="connsiteY16" fmla="*/ 794771 h 1259113"/>
                    <a:gd name="connsiteX17" fmla="*/ 285749 w 1464467"/>
                    <a:gd name="connsiteY17" fmla="*/ 849538 h 1259113"/>
                    <a:gd name="connsiteX18" fmla="*/ 230980 w 1464467"/>
                    <a:gd name="connsiteY18" fmla="*/ 880495 h 1259113"/>
                    <a:gd name="connsiteX19" fmla="*/ 183355 w 1464467"/>
                    <a:gd name="connsiteY19" fmla="*/ 866207 h 1259113"/>
                    <a:gd name="connsiteX20" fmla="*/ 116681 w 1464467"/>
                    <a:gd name="connsiteY20" fmla="*/ 885258 h 1259113"/>
                    <a:gd name="connsiteX21" fmla="*/ 78581 w 1464467"/>
                    <a:gd name="connsiteY21" fmla="*/ 925739 h 1259113"/>
                    <a:gd name="connsiteX22" fmla="*/ 43995 w 1464467"/>
                    <a:gd name="connsiteY22" fmla="*/ 982322 h 1259113"/>
                    <a:gd name="connsiteX23" fmla="*/ 9525 w 1464467"/>
                    <a:gd name="connsiteY23" fmla="*/ 1047183 h 1259113"/>
                    <a:gd name="connsiteX24" fmla="*/ 28574 w 1464467"/>
                    <a:gd name="connsiteY24" fmla="*/ 1059090 h 1259113"/>
                    <a:gd name="connsiteX25" fmla="*/ 80962 w 1464467"/>
                    <a:gd name="connsiteY25" fmla="*/ 1040039 h 1259113"/>
                    <a:gd name="connsiteX26" fmla="*/ 59530 w 1464467"/>
                    <a:gd name="connsiteY26" fmla="*/ 1073376 h 1259113"/>
                    <a:gd name="connsiteX27" fmla="*/ 30956 w 1464467"/>
                    <a:gd name="connsiteY27" fmla="*/ 1099570 h 1259113"/>
                    <a:gd name="connsiteX28" fmla="*/ 0 w 1464467"/>
                    <a:gd name="connsiteY28" fmla="*/ 1140052 h 1259113"/>
                    <a:gd name="connsiteX29" fmla="*/ 35717 w 1464467"/>
                    <a:gd name="connsiteY29" fmla="*/ 1199584 h 1259113"/>
                    <a:gd name="connsiteX30" fmla="*/ 57149 w 1464467"/>
                    <a:gd name="connsiteY30" fmla="*/ 1228156 h 1259113"/>
                    <a:gd name="connsiteX31" fmla="*/ 107155 w 1464467"/>
                    <a:gd name="connsiteY31" fmla="*/ 1185295 h 1259113"/>
                    <a:gd name="connsiteX32" fmla="*/ 173830 w 1464467"/>
                    <a:gd name="connsiteY32" fmla="*/ 1242445 h 1259113"/>
                    <a:gd name="connsiteX33" fmla="*/ 228599 w 1464467"/>
                    <a:gd name="connsiteY33" fmla="*/ 1259113 h 1259113"/>
                    <a:gd name="connsiteX34" fmla="*/ 366712 w 1464467"/>
                    <a:gd name="connsiteY34" fmla="*/ 1144814 h 1259113"/>
                    <a:gd name="connsiteX35" fmla="*/ 397669 w 1464467"/>
                    <a:gd name="connsiteY35" fmla="*/ 1154339 h 1259113"/>
                    <a:gd name="connsiteX36" fmla="*/ 908956 w 1464467"/>
                    <a:gd name="connsiteY36" fmla="*/ 714261 h 1259113"/>
                    <a:gd name="connsiteX37" fmla="*/ 1000123 w 1464467"/>
                    <a:gd name="connsiteY37" fmla="*/ 639989 h 1259113"/>
                    <a:gd name="connsiteX38" fmla="*/ 1464467 w 1464467"/>
                    <a:gd name="connsiteY38" fmla="*/ 280420 h 1259113"/>
                    <a:gd name="connsiteX39" fmla="*/ 1464241 w 1464467"/>
                    <a:gd name="connsiteY39" fmla="*/ 0 h 1259113"/>
                    <a:gd name="connsiteX40" fmla="*/ 247650 w 1464467"/>
                    <a:gd name="connsiteY40" fmla="*/ 9752 h 1259113"/>
                    <a:gd name="connsiteX0" fmla="*/ 247650 w 1464467"/>
                    <a:gd name="connsiteY0" fmla="*/ 9752 h 1259113"/>
                    <a:gd name="connsiteX1" fmla="*/ 178592 w 1464467"/>
                    <a:gd name="connsiteY1" fmla="*/ 20864 h 1259113"/>
                    <a:gd name="connsiteX2" fmla="*/ 150017 w 1464467"/>
                    <a:gd name="connsiteY2" fmla="*/ 56582 h 1259113"/>
                    <a:gd name="connsiteX3" fmla="*/ 97630 w 1464467"/>
                    <a:gd name="connsiteY3" fmla="*/ 49439 h 1259113"/>
                    <a:gd name="connsiteX4" fmla="*/ 42861 w 1464467"/>
                    <a:gd name="connsiteY4" fmla="*/ 73251 h 1259113"/>
                    <a:gd name="connsiteX5" fmla="*/ 104774 w 1464467"/>
                    <a:gd name="connsiteY5" fmla="*/ 170882 h 1259113"/>
                    <a:gd name="connsiteX6" fmla="*/ 107154 w 1464467"/>
                    <a:gd name="connsiteY6" fmla="*/ 220890 h 1259113"/>
                    <a:gd name="connsiteX7" fmla="*/ 145255 w 1464467"/>
                    <a:gd name="connsiteY7" fmla="*/ 228033 h 1259113"/>
                    <a:gd name="connsiteX8" fmla="*/ 159542 w 1464467"/>
                    <a:gd name="connsiteY8" fmla="*/ 247082 h 1259113"/>
                    <a:gd name="connsiteX9" fmla="*/ 216693 w 1464467"/>
                    <a:gd name="connsiteY9" fmla="*/ 294708 h 1259113"/>
                    <a:gd name="connsiteX10" fmla="*/ 261936 w 1464467"/>
                    <a:gd name="connsiteY10" fmla="*/ 418533 h 1259113"/>
                    <a:gd name="connsiteX11" fmla="*/ 278605 w 1464467"/>
                    <a:gd name="connsiteY11" fmla="*/ 549501 h 1259113"/>
                    <a:gd name="connsiteX12" fmla="*/ 238123 w 1464467"/>
                    <a:gd name="connsiteY12" fmla="*/ 589984 h 1259113"/>
                    <a:gd name="connsiteX13" fmla="*/ 276223 w 1464467"/>
                    <a:gd name="connsiteY13" fmla="*/ 606651 h 1259113"/>
                    <a:gd name="connsiteX14" fmla="*/ 259555 w 1464467"/>
                    <a:gd name="connsiteY14" fmla="*/ 649514 h 1259113"/>
                    <a:gd name="connsiteX15" fmla="*/ 321468 w 1464467"/>
                    <a:gd name="connsiteY15" fmla="*/ 670946 h 1259113"/>
                    <a:gd name="connsiteX16" fmla="*/ 276223 w 1464467"/>
                    <a:gd name="connsiteY16" fmla="*/ 794771 h 1259113"/>
                    <a:gd name="connsiteX17" fmla="*/ 285749 w 1464467"/>
                    <a:gd name="connsiteY17" fmla="*/ 849538 h 1259113"/>
                    <a:gd name="connsiteX18" fmla="*/ 230980 w 1464467"/>
                    <a:gd name="connsiteY18" fmla="*/ 880495 h 1259113"/>
                    <a:gd name="connsiteX19" fmla="*/ 183355 w 1464467"/>
                    <a:gd name="connsiteY19" fmla="*/ 866207 h 1259113"/>
                    <a:gd name="connsiteX20" fmla="*/ 116681 w 1464467"/>
                    <a:gd name="connsiteY20" fmla="*/ 885258 h 1259113"/>
                    <a:gd name="connsiteX21" fmla="*/ 78581 w 1464467"/>
                    <a:gd name="connsiteY21" fmla="*/ 925739 h 1259113"/>
                    <a:gd name="connsiteX22" fmla="*/ 43995 w 1464467"/>
                    <a:gd name="connsiteY22" fmla="*/ 982322 h 1259113"/>
                    <a:gd name="connsiteX23" fmla="*/ 9525 w 1464467"/>
                    <a:gd name="connsiteY23" fmla="*/ 1047183 h 1259113"/>
                    <a:gd name="connsiteX24" fmla="*/ 28574 w 1464467"/>
                    <a:gd name="connsiteY24" fmla="*/ 1059090 h 1259113"/>
                    <a:gd name="connsiteX25" fmla="*/ 80962 w 1464467"/>
                    <a:gd name="connsiteY25" fmla="*/ 1040039 h 1259113"/>
                    <a:gd name="connsiteX26" fmla="*/ 59530 w 1464467"/>
                    <a:gd name="connsiteY26" fmla="*/ 1073376 h 1259113"/>
                    <a:gd name="connsiteX27" fmla="*/ 30956 w 1464467"/>
                    <a:gd name="connsiteY27" fmla="*/ 1099570 h 1259113"/>
                    <a:gd name="connsiteX28" fmla="*/ 0 w 1464467"/>
                    <a:gd name="connsiteY28" fmla="*/ 1140052 h 1259113"/>
                    <a:gd name="connsiteX29" fmla="*/ 35717 w 1464467"/>
                    <a:gd name="connsiteY29" fmla="*/ 1199584 h 1259113"/>
                    <a:gd name="connsiteX30" fmla="*/ 57149 w 1464467"/>
                    <a:gd name="connsiteY30" fmla="*/ 1228156 h 1259113"/>
                    <a:gd name="connsiteX31" fmla="*/ 107155 w 1464467"/>
                    <a:gd name="connsiteY31" fmla="*/ 1185295 h 1259113"/>
                    <a:gd name="connsiteX32" fmla="*/ 173830 w 1464467"/>
                    <a:gd name="connsiteY32" fmla="*/ 1242445 h 1259113"/>
                    <a:gd name="connsiteX33" fmla="*/ 228599 w 1464467"/>
                    <a:gd name="connsiteY33" fmla="*/ 1259113 h 1259113"/>
                    <a:gd name="connsiteX34" fmla="*/ 366712 w 1464467"/>
                    <a:gd name="connsiteY34" fmla="*/ 1144814 h 1259113"/>
                    <a:gd name="connsiteX35" fmla="*/ 397669 w 1464467"/>
                    <a:gd name="connsiteY35" fmla="*/ 1154339 h 1259113"/>
                    <a:gd name="connsiteX36" fmla="*/ 440531 w 1464467"/>
                    <a:gd name="connsiteY36" fmla="*/ 1116239 h 1259113"/>
                    <a:gd name="connsiteX37" fmla="*/ 908956 w 1464467"/>
                    <a:gd name="connsiteY37" fmla="*/ 714261 h 1259113"/>
                    <a:gd name="connsiteX38" fmla="*/ 1000123 w 1464467"/>
                    <a:gd name="connsiteY38" fmla="*/ 639989 h 1259113"/>
                    <a:gd name="connsiteX39" fmla="*/ 1464467 w 1464467"/>
                    <a:gd name="connsiteY39" fmla="*/ 280420 h 1259113"/>
                    <a:gd name="connsiteX40" fmla="*/ 1464241 w 1464467"/>
                    <a:gd name="connsiteY40" fmla="*/ 0 h 1259113"/>
                    <a:gd name="connsiteX41" fmla="*/ 247650 w 1464467"/>
                    <a:gd name="connsiteY41" fmla="*/ 9752 h 1259113"/>
                    <a:gd name="connsiteX0" fmla="*/ 247650 w 1464467"/>
                    <a:gd name="connsiteY0" fmla="*/ 9752 h 1259113"/>
                    <a:gd name="connsiteX1" fmla="*/ 178592 w 1464467"/>
                    <a:gd name="connsiteY1" fmla="*/ 20864 h 1259113"/>
                    <a:gd name="connsiteX2" fmla="*/ 150017 w 1464467"/>
                    <a:gd name="connsiteY2" fmla="*/ 56582 h 1259113"/>
                    <a:gd name="connsiteX3" fmla="*/ 97630 w 1464467"/>
                    <a:gd name="connsiteY3" fmla="*/ 49439 h 1259113"/>
                    <a:gd name="connsiteX4" fmla="*/ 42861 w 1464467"/>
                    <a:gd name="connsiteY4" fmla="*/ 73251 h 1259113"/>
                    <a:gd name="connsiteX5" fmla="*/ 104774 w 1464467"/>
                    <a:gd name="connsiteY5" fmla="*/ 170882 h 1259113"/>
                    <a:gd name="connsiteX6" fmla="*/ 107154 w 1464467"/>
                    <a:gd name="connsiteY6" fmla="*/ 220890 h 1259113"/>
                    <a:gd name="connsiteX7" fmla="*/ 145255 w 1464467"/>
                    <a:gd name="connsiteY7" fmla="*/ 228033 h 1259113"/>
                    <a:gd name="connsiteX8" fmla="*/ 159542 w 1464467"/>
                    <a:gd name="connsiteY8" fmla="*/ 247082 h 1259113"/>
                    <a:gd name="connsiteX9" fmla="*/ 216693 w 1464467"/>
                    <a:gd name="connsiteY9" fmla="*/ 294708 h 1259113"/>
                    <a:gd name="connsiteX10" fmla="*/ 261936 w 1464467"/>
                    <a:gd name="connsiteY10" fmla="*/ 418533 h 1259113"/>
                    <a:gd name="connsiteX11" fmla="*/ 278605 w 1464467"/>
                    <a:gd name="connsiteY11" fmla="*/ 549501 h 1259113"/>
                    <a:gd name="connsiteX12" fmla="*/ 238123 w 1464467"/>
                    <a:gd name="connsiteY12" fmla="*/ 589984 h 1259113"/>
                    <a:gd name="connsiteX13" fmla="*/ 276223 w 1464467"/>
                    <a:gd name="connsiteY13" fmla="*/ 606651 h 1259113"/>
                    <a:gd name="connsiteX14" fmla="*/ 259555 w 1464467"/>
                    <a:gd name="connsiteY14" fmla="*/ 649514 h 1259113"/>
                    <a:gd name="connsiteX15" fmla="*/ 321468 w 1464467"/>
                    <a:gd name="connsiteY15" fmla="*/ 670946 h 1259113"/>
                    <a:gd name="connsiteX16" fmla="*/ 276223 w 1464467"/>
                    <a:gd name="connsiteY16" fmla="*/ 794771 h 1259113"/>
                    <a:gd name="connsiteX17" fmla="*/ 285749 w 1464467"/>
                    <a:gd name="connsiteY17" fmla="*/ 849538 h 1259113"/>
                    <a:gd name="connsiteX18" fmla="*/ 230980 w 1464467"/>
                    <a:gd name="connsiteY18" fmla="*/ 880495 h 1259113"/>
                    <a:gd name="connsiteX19" fmla="*/ 183355 w 1464467"/>
                    <a:gd name="connsiteY19" fmla="*/ 866207 h 1259113"/>
                    <a:gd name="connsiteX20" fmla="*/ 116681 w 1464467"/>
                    <a:gd name="connsiteY20" fmla="*/ 885258 h 1259113"/>
                    <a:gd name="connsiteX21" fmla="*/ 78581 w 1464467"/>
                    <a:gd name="connsiteY21" fmla="*/ 925739 h 1259113"/>
                    <a:gd name="connsiteX22" fmla="*/ 43995 w 1464467"/>
                    <a:gd name="connsiteY22" fmla="*/ 982322 h 1259113"/>
                    <a:gd name="connsiteX23" fmla="*/ 9525 w 1464467"/>
                    <a:gd name="connsiteY23" fmla="*/ 1047183 h 1259113"/>
                    <a:gd name="connsiteX24" fmla="*/ 28574 w 1464467"/>
                    <a:gd name="connsiteY24" fmla="*/ 1059090 h 1259113"/>
                    <a:gd name="connsiteX25" fmla="*/ 80962 w 1464467"/>
                    <a:gd name="connsiteY25" fmla="*/ 1040039 h 1259113"/>
                    <a:gd name="connsiteX26" fmla="*/ 59530 w 1464467"/>
                    <a:gd name="connsiteY26" fmla="*/ 1073376 h 1259113"/>
                    <a:gd name="connsiteX27" fmla="*/ 30956 w 1464467"/>
                    <a:gd name="connsiteY27" fmla="*/ 1099570 h 1259113"/>
                    <a:gd name="connsiteX28" fmla="*/ 0 w 1464467"/>
                    <a:gd name="connsiteY28" fmla="*/ 1140052 h 1259113"/>
                    <a:gd name="connsiteX29" fmla="*/ 35717 w 1464467"/>
                    <a:gd name="connsiteY29" fmla="*/ 1199584 h 1259113"/>
                    <a:gd name="connsiteX30" fmla="*/ 57149 w 1464467"/>
                    <a:gd name="connsiteY30" fmla="*/ 1228156 h 1259113"/>
                    <a:gd name="connsiteX31" fmla="*/ 107155 w 1464467"/>
                    <a:gd name="connsiteY31" fmla="*/ 1185295 h 1259113"/>
                    <a:gd name="connsiteX32" fmla="*/ 173830 w 1464467"/>
                    <a:gd name="connsiteY32" fmla="*/ 1242445 h 1259113"/>
                    <a:gd name="connsiteX33" fmla="*/ 228599 w 1464467"/>
                    <a:gd name="connsiteY33" fmla="*/ 1259113 h 1259113"/>
                    <a:gd name="connsiteX34" fmla="*/ 366712 w 1464467"/>
                    <a:gd name="connsiteY34" fmla="*/ 1144814 h 1259113"/>
                    <a:gd name="connsiteX35" fmla="*/ 397669 w 1464467"/>
                    <a:gd name="connsiteY35" fmla="*/ 1154339 h 1259113"/>
                    <a:gd name="connsiteX36" fmla="*/ 421481 w 1464467"/>
                    <a:gd name="connsiteY36" fmla="*/ 1237682 h 1259113"/>
                    <a:gd name="connsiteX37" fmla="*/ 908956 w 1464467"/>
                    <a:gd name="connsiteY37" fmla="*/ 714261 h 1259113"/>
                    <a:gd name="connsiteX38" fmla="*/ 1000123 w 1464467"/>
                    <a:gd name="connsiteY38" fmla="*/ 639989 h 1259113"/>
                    <a:gd name="connsiteX39" fmla="*/ 1464467 w 1464467"/>
                    <a:gd name="connsiteY39" fmla="*/ 280420 h 1259113"/>
                    <a:gd name="connsiteX40" fmla="*/ 1464241 w 1464467"/>
                    <a:gd name="connsiteY40" fmla="*/ 0 h 1259113"/>
                    <a:gd name="connsiteX41" fmla="*/ 247650 w 1464467"/>
                    <a:gd name="connsiteY41" fmla="*/ 9752 h 1259113"/>
                    <a:gd name="connsiteX0" fmla="*/ 247650 w 1464467"/>
                    <a:gd name="connsiteY0" fmla="*/ 9752 h 1259113"/>
                    <a:gd name="connsiteX1" fmla="*/ 178592 w 1464467"/>
                    <a:gd name="connsiteY1" fmla="*/ 20864 h 1259113"/>
                    <a:gd name="connsiteX2" fmla="*/ 150017 w 1464467"/>
                    <a:gd name="connsiteY2" fmla="*/ 56582 h 1259113"/>
                    <a:gd name="connsiteX3" fmla="*/ 97630 w 1464467"/>
                    <a:gd name="connsiteY3" fmla="*/ 49439 h 1259113"/>
                    <a:gd name="connsiteX4" fmla="*/ 42861 w 1464467"/>
                    <a:gd name="connsiteY4" fmla="*/ 73251 h 1259113"/>
                    <a:gd name="connsiteX5" fmla="*/ 104774 w 1464467"/>
                    <a:gd name="connsiteY5" fmla="*/ 170882 h 1259113"/>
                    <a:gd name="connsiteX6" fmla="*/ 107154 w 1464467"/>
                    <a:gd name="connsiteY6" fmla="*/ 220890 h 1259113"/>
                    <a:gd name="connsiteX7" fmla="*/ 145255 w 1464467"/>
                    <a:gd name="connsiteY7" fmla="*/ 228033 h 1259113"/>
                    <a:gd name="connsiteX8" fmla="*/ 159542 w 1464467"/>
                    <a:gd name="connsiteY8" fmla="*/ 247082 h 1259113"/>
                    <a:gd name="connsiteX9" fmla="*/ 216693 w 1464467"/>
                    <a:gd name="connsiteY9" fmla="*/ 294708 h 1259113"/>
                    <a:gd name="connsiteX10" fmla="*/ 261936 w 1464467"/>
                    <a:gd name="connsiteY10" fmla="*/ 418533 h 1259113"/>
                    <a:gd name="connsiteX11" fmla="*/ 278605 w 1464467"/>
                    <a:gd name="connsiteY11" fmla="*/ 549501 h 1259113"/>
                    <a:gd name="connsiteX12" fmla="*/ 238123 w 1464467"/>
                    <a:gd name="connsiteY12" fmla="*/ 589984 h 1259113"/>
                    <a:gd name="connsiteX13" fmla="*/ 276223 w 1464467"/>
                    <a:gd name="connsiteY13" fmla="*/ 606651 h 1259113"/>
                    <a:gd name="connsiteX14" fmla="*/ 259555 w 1464467"/>
                    <a:gd name="connsiteY14" fmla="*/ 649514 h 1259113"/>
                    <a:gd name="connsiteX15" fmla="*/ 321468 w 1464467"/>
                    <a:gd name="connsiteY15" fmla="*/ 670946 h 1259113"/>
                    <a:gd name="connsiteX16" fmla="*/ 276223 w 1464467"/>
                    <a:gd name="connsiteY16" fmla="*/ 794771 h 1259113"/>
                    <a:gd name="connsiteX17" fmla="*/ 285749 w 1464467"/>
                    <a:gd name="connsiteY17" fmla="*/ 849538 h 1259113"/>
                    <a:gd name="connsiteX18" fmla="*/ 230980 w 1464467"/>
                    <a:gd name="connsiteY18" fmla="*/ 880495 h 1259113"/>
                    <a:gd name="connsiteX19" fmla="*/ 183355 w 1464467"/>
                    <a:gd name="connsiteY19" fmla="*/ 866207 h 1259113"/>
                    <a:gd name="connsiteX20" fmla="*/ 116681 w 1464467"/>
                    <a:gd name="connsiteY20" fmla="*/ 885258 h 1259113"/>
                    <a:gd name="connsiteX21" fmla="*/ 78581 w 1464467"/>
                    <a:gd name="connsiteY21" fmla="*/ 925739 h 1259113"/>
                    <a:gd name="connsiteX22" fmla="*/ 43995 w 1464467"/>
                    <a:gd name="connsiteY22" fmla="*/ 982322 h 1259113"/>
                    <a:gd name="connsiteX23" fmla="*/ 9525 w 1464467"/>
                    <a:gd name="connsiteY23" fmla="*/ 1047183 h 1259113"/>
                    <a:gd name="connsiteX24" fmla="*/ 28574 w 1464467"/>
                    <a:gd name="connsiteY24" fmla="*/ 1059090 h 1259113"/>
                    <a:gd name="connsiteX25" fmla="*/ 80962 w 1464467"/>
                    <a:gd name="connsiteY25" fmla="*/ 1040039 h 1259113"/>
                    <a:gd name="connsiteX26" fmla="*/ 59530 w 1464467"/>
                    <a:gd name="connsiteY26" fmla="*/ 1073376 h 1259113"/>
                    <a:gd name="connsiteX27" fmla="*/ 30956 w 1464467"/>
                    <a:gd name="connsiteY27" fmla="*/ 1099570 h 1259113"/>
                    <a:gd name="connsiteX28" fmla="*/ 0 w 1464467"/>
                    <a:gd name="connsiteY28" fmla="*/ 1140052 h 1259113"/>
                    <a:gd name="connsiteX29" fmla="*/ 35717 w 1464467"/>
                    <a:gd name="connsiteY29" fmla="*/ 1199584 h 1259113"/>
                    <a:gd name="connsiteX30" fmla="*/ 57149 w 1464467"/>
                    <a:gd name="connsiteY30" fmla="*/ 1228156 h 1259113"/>
                    <a:gd name="connsiteX31" fmla="*/ 107155 w 1464467"/>
                    <a:gd name="connsiteY31" fmla="*/ 1185295 h 1259113"/>
                    <a:gd name="connsiteX32" fmla="*/ 173830 w 1464467"/>
                    <a:gd name="connsiteY32" fmla="*/ 1242445 h 1259113"/>
                    <a:gd name="connsiteX33" fmla="*/ 228599 w 1464467"/>
                    <a:gd name="connsiteY33" fmla="*/ 1259113 h 1259113"/>
                    <a:gd name="connsiteX34" fmla="*/ 366712 w 1464467"/>
                    <a:gd name="connsiteY34" fmla="*/ 1144814 h 1259113"/>
                    <a:gd name="connsiteX35" fmla="*/ 397669 w 1464467"/>
                    <a:gd name="connsiteY35" fmla="*/ 1154339 h 1259113"/>
                    <a:gd name="connsiteX36" fmla="*/ 421481 w 1464467"/>
                    <a:gd name="connsiteY36" fmla="*/ 1237682 h 1259113"/>
                    <a:gd name="connsiteX37" fmla="*/ 511968 w 1464467"/>
                    <a:gd name="connsiteY37" fmla="*/ 1144814 h 1259113"/>
                    <a:gd name="connsiteX38" fmla="*/ 908956 w 1464467"/>
                    <a:gd name="connsiteY38" fmla="*/ 714261 h 1259113"/>
                    <a:gd name="connsiteX39" fmla="*/ 1000123 w 1464467"/>
                    <a:gd name="connsiteY39" fmla="*/ 639989 h 1259113"/>
                    <a:gd name="connsiteX40" fmla="*/ 1464467 w 1464467"/>
                    <a:gd name="connsiteY40" fmla="*/ 280420 h 1259113"/>
                    <a:gd name="connsiteX41" fmla="*/ 1464241 w 1464467"/>
                    <a:gd name="connsiteY41" fmla="*/ 0 h 1259113"/>
                    <a:gd name="connsiteX42" fmla="*/ 247650 w 1464467"/>
                    <a:gd name="connsiteY42" fmla="*/ 9752 h 1259113"/>
                    <a:gd name="connsiteX0" fmla="*/ 247650 w 1464467"/>
                    <a:gd name="connsiteY0" fmla="*/ 9752 h 1275783"/>
                    <a:gd name="connsiteX1" fmla="*/ 178592 w 1464467"/>
                    <a:gd name="connsiteY1" fmla="*/ 20864 h 1275783"/>
                    <a:gd name="connsiteX2" fmla="*/ 150017 w 1464467"/>
                    <a:gd name="connsiteY2" fmla="*/ 56582 h 1275783"/>
                    <a:gd name="connsiteX3" fmla="*/ 97630 w 1464467"/>
                    <a:gd name="connsiteY3" fmla="*/ 49439 h 1275783"/>
                    <a:gd name="connsiteX4" fmla="*/ 42861 w 1464467"/>
                    <a:gd name="connsiteY4" fmla="*/ 73251 h 1275783"/>
                    <a:gd name="connsiteX5" fmla="*/ 104774 w 1464467"/>
                    <a:gd name="connsiteY5" fmla="*/ 170882 h 1275783"/>
                    <a:gd name="connsiteX6" fmla="*/ 107154 w 1464467"/>
                    <a:gd name="connsiteY6" fmla="*/ 220890 h 1275783"/>
                    <a:gd name="connsiteX7" fmla="*/ 145255 w 1464467"/>
                    <a:gd name="connsiteY7" fmla="*/ 228033 h 1275783"/>
                    <a:gd name="connsiteX8" fmla="*/ 159542 w 1464467"/>
                    <a:gd name="connsiteY8" fmla="*/ 247082 h 1275783"/>
                    <a:gd name="connsiteX9" fmla="*/ 216693 w 1464467"/>
                    <a:gd name="connsiteY9" fmla="*/ 294708 h 1275783"/>
                    <a:gd name="connsiteX10" fmla="*/ 261936 w 1464467"/>
                    <a:gd name="connsiteY10" fmla="*/ 418533 h 1275783"/>
                    <a:gd name="connsiteX11" fmla="*/ 278605 w 1464467"/>
                    <a:gd name="connsiteY11" fmla="*/ 549501 h 1275783"/>
                    <a:gd name="connsiteX12" fmla="*/ 238123 w 1464467"/>
                    <a:gd name="connsiteY12" fmla="*/ 589984 h 1275783"/>
                    <a:gd name="connsiteX13" fmla="*/ 276223 w 1464467"/>
                    <a:gd name="connsiteY13" fmla="*/ 606651 h 1275783"/>
                    <a:gd name="connsiteX14" fmla="*/ 259555 w 1464467"/>
                    <a:gd name="connsiteY14" fmla="*/ 649514 h 1275783"/>
                    <a:gd name="connsiteX15" fmla="*/ 321468 w 1464467"/>
                    <a:gd name="connsiteY15" fmla="*/ 670946 h 1275783"/>
                    <a:gd name="connsiteX16" fmla="*/ 276223 w 1464467"/>
                    <a:gd name="connsiteY16" fmla="*/ 794771 h 1275783"/>
                    <a:gd name="connsiteX17" fmla="*/ 285749 w 1464467"/>
                    <a:gd name="connsiteY17" fmla="*/ 849538 h 1275783"/>
                    <a:gd name="connsiteX18" fmla="*/ 230980 w 1464467"/>
                    <a:gd name="connsiteY18" fmla="*/ 880495 h 1275783"/>
                    <a:gd name="connsiteX19" fmla="*/ 183355 w 1464467"/>
                    <a:gd name="connsiteY19" fmla="*/ 866207 h 1275783"/>
                    <a:gd name="connsiteX20" fmla="*/ 116681 w 1464467"/>
                    <a:gd name="connsiteY20" fmla="*/ 885258 h 1275783"/>
                    <a:gd name="connsiteX21" fmla="*/ 78581 w 1464467"/>
                    <a:gd name="connsiteY21" fmla="*/ 925739 h 1275783"/>
                    <a:gd name="connsiteX22" fmla="*/ 43995 w 1464467"/>
                    <a:gd name="connsiteY22" fmla="*/ 982322 h 1275783"/>
                    <a:gd name="connsiteX23" fmla="*/ 9525 w 1464467"/>
                    <a:gd name="connsiteY23" fmla="*/ 1047183 h 1275783"/>
                    <a:gd name="connsiteX24" fmla="*/ 28574 w 1464467"/>
                    <a:gd name="connsiteY24" fmla="*/ 1059090 h 1275783"/>
                    <a:gd name="connsiteX25" fmla="*/ 80962 w 1464467"/>
                    <a:gd name="connsiteY25" fmla="*/ 1040039 h 1275783"/>
                    <a:gd name="connsiteX26" fmla="*/ 59530 w 1464467"/>
                    <a:gd name="connsiteY26" fmla="*/ 1073376 h 1275783"/>
                    <a:gd name="connsiteX27" fmla="*/ 30956 w 1464467"/>
                    <a:gd name="connsiteY27" fmla="*/ 1099570 h 1275783"/>
                    <a:gd name="connsiteX28" fmla="*/ 0 w 1464467"/>
                    <a:gd name="connsiteY28" fmla="*/ 1140052 h 1275783"/>
                    <a:gd name="connsiteX29" fmla="*/ 35717 w 1464467"/>
                    <a:gd name="connsiteY29" fmla="*/ 1199584 h 1275783"/>
                    <a:gd name="connsiteX30" fmla="*/ 57149 w 1464467"/>
                    <a:gd name="connsiteY30" fmla="*/ 1228156 h 1275783"/>
                    <a:gd name="connsiteX31" fmla="*/ 107155 w 1464467"/>
                    <a:gd name="connsiteY31" fmla="*/ 1185295 h 1275783"/>
                    <a:gd name="connsiteX32" fmla="*/ 173830 w 1464467"/>
                    <a:gd name="connsiteY32" fmla="*/ 1242445 h 1275783"/>
                    <a:gd name="connsiteX33" fmla="*/ 228599 w 1464467"/>
                    <a:gd name="connsiteY33" fmla="*/ 1259113 h 1275783"/>
                    <a:gd name="connsiteX34" fmla="*/ 366712 w 1464467"/>
                    <a:gd name="connsiteY34" fmla="*/ 1144814 h 1275783"/>
                    <a:gd name="connsiteX35" fmla="*/ 397669 w 1464467"/>
                    <a:gd name="connsiteY35" fmla="*/ 1154339 h 1275783"/>
                    <a:gd name="connsiteX36" fmla="*/ 421481 w 1464467"/>
                    <a:gd name="connsiteY36" fmla="*/ 1237682 h 1275783"/>
                    <a:gd name="connsiteX37" fmla="*/ 416718 w 1464467"/>
                    <a:gd name="connsiteY37" fmla="*/ 1275783 h 1275783"/>
                    <a:gd name="connsiteX38" fmla="*/ 908956 w 1464467"/>
                    <a:gd name="connsiteY38" fmla="*/ 714261 h 1275783"/>
                    <a:gd name="connsiteX39" fmla="*/ 1000123 w 1464467"/>
                    <a:gd name="connsiteY39" fmla="*/ 639989 h 1275783"/>
                    <a:gd name="connsiteX40" fmla="*/ 1464467 w 1464467"/>
                    <a:gd name="connsiteY40" fmla="*/ 280420 h 1275783"/>
                    <a:gd name="connsiteX41" fmla="*/ 1464241 w 1464467"/>
                    <a:gd name="connsiteY41" fmla="*/ 0 h 1275783"/>
                    <a:gd name="connsiteX42" fmla="*/ 247650 w 1464467"/>
                    <a:gd name="connsiteY42" fmla="*/ 9752 h 1275783"/>
                    <a:gd name="connsiteX0" fmla="*/ 247650 w 1464467"/>
                    <a:gd name="connsiteY0" fmla="*/ 9752 h 1275783"/>
                    <a:gd name="connsiteX1" fmla="*/ 178592 w 1464467"/>
                    <a:gd name="connsiteY1" fmla="*/ 20864 h 1275783"/>
                    <a:gd name="connsiteX2" fmla="*/ 150017 w 1464467"/>
                    <a:gd name="connsiteY2" fmla="*/ 56582 h 1275783"/>
                    <a:gd name="connsiteX3" fmla="*/ 97630 w 1464467"/>
                    <a:gd name="connsiteY3" fmla="*/ 49439 h 1275783"/>
                    <a:gd name="connsiteX4" fmla="*/ 42861 w 1464467"/>
                    <a:gd name="connsiteY4" fmla="*/ 73251 h 1275783"/>
                    <a:gd name="connsiteX5" fmla="*/ 104774 w 1464467"/>
                    <a:gd name="connsiteY5" fmla="*/ 170882 h 1275783"/>
                    <a:gd name="connsiteX6" fmla="*/ 107154 w 1464467"/>
                    <a:gd name="connsiteY6" fmla="*/ 220890 h 1275783"/>
                    <a:gd name="connsiteX7" fmla="*/ 145255 w 1464467"/>
                    <a:gd name="connsiteY7" fmla="*/ 228033 h 1275783"/>
                    <a:gd name="connsiteX8" fmla="*/ 159542 w 1464467"/>
                    <a:gd name="connsiteY8" fmla="*/ 247082 h 1275783"/>
                    <a:gd name="connsiteX9" fmla="*/ 216693 w 1464467"/>
                    <a:gd name="connsiteY9" fmla="*/ 294708 h 1275783"/>
                    <a:gd name="connsiteX10" fmla="*/ 261936 w 1464467"/>
                    <a:gd name="connsiteY10" fmla="*/ 418533 h 1275783"/>
                    <a:gd name="connsiteX11" fmla="*/ 278605 w 1464467"/>
                    <a:gd name="connsiteY11" fmla="*/ 549501 h 1275783"/>
                    <a:gd name="connsiteX12" fmla="*/ 238123 w 1464467"/>
                    <a:gd name="connsiteY12" fmla="*/ 589984 h 1275783"/>
                    <a:gd name="connsiteX13" fmla="*/ 276223 w 1464467"/>
                    <a:gd name="connsiteY13" fmla="*/ 606651 h 1275783"/>
                    <a:gd name="connsiteX14" fmla="*/ 259555 w 1464467"/>
                    <a:gd name="connsiteY14" fmla="*/ 649514 h 1275783"/>
                    <a:gd name="connsiteX15" fmla="*/ 321468 w 1464467"/>
                    <a:gd name="connsiteY15" fmla="*/ 670946 h 1275783"/>
                    <a:gd name="connsiteX16" fmla="*/ 276223 w 1464467"/>
                    <a:gd name="connsiteY16" fmla="*/ 794771 h 1275783"/>
                    <a:gd name="connsiteX17" fmla="*/ 285749 w 1464467"/>
                    <a:gd name="connsiteY17" fmla="*/ 849538 h 1275783"/>
                    <a:gd name="connsiteX18" fmla="*/ 230980 w 1464467"/>
                    <a:gd name="connsiteY18" fmla="*/ 880495 h 1275783"/>
                    <a:gd name="connsiteX19" fmla="*/ 183355 w 1464467"/>
                    <a:gd name="connsiteY19" fmla="*/ 866207 h 1275783"/>
                    <a:gd name="connsiteX20" fmla="*/ 116681 w 1464467"/>
                    <a:gd name="connsiteY20" fmla="*/ 885258 h 1275783"/>
                    <a:gd name="connsiteX21" fmla="*/ 78581 w 1464467"/>
                    <a:gd name="connsiteY21" fmla="*/ 925739 h 1275783"/>
                    <a:gd name="connsiteX22" fmla="*/ 43995 w 1464467"/>
                    <a:gd name="connsiteY22" fmla="*/ 982322 h 1275783"/>
                    <a:gd name="connsiteX23" fmla="*/ 9525 w 1464467"/>
                    <a:gd name="connsiteY23" fmla="*/ 1047183 h 1275783"/>
                    <a:gd name="connsiteX24" fmla="*/ 28574 w 1464467"/>
                    <a:gd name="connsiteY24" fmla="*/ 1059090 h 1275783"/>
                    <a:gd name="connsiteX25" fmla="*/ 80962 w 1464467"/>
                    <a:gd name="connsiteY25" fmla="*/ 1040039 h 1275783"/>
                    <a:gd name="connsiteX26" fmla="*/ 59530 w 1464467"/>
                    <a:gd name="connsiteY26" fmla="*/ 1073376 h 1275783"/>
                    <a:gd name="connsiteX27" fmla="*/ 30956 w 1464467"/>
                    <a:gd name="connsiteY27" fmla="*/ 1099570 h 1275783"/>
                    <a:gd name="connsiteX28" fmla="*/ 0 w 1464467"/>
                    <a:gd name="connsiteY28" fmla="*/ 1140052 h 1275783"/>
                    <a:gd name="connsiteX29" fmla="*/ 35717 w 1464467"/>
                    <a:gd name="connsiteY29" fmla="*/ 1199584 h 1275783"/>
                    <a:gd name="connsiteX30" fmla="*/ 57149 w 1464467"/>
                    <a:gd name="connsiteY30" fmla="*/ 1228156 h 1275783"/>
                    <a:gd name="connsiteX31" fmla="*/ 107155 w 1464467"/>
                    <a:gd name="connsiteY31" fmla="*/ 1185295 h 1275783"/>
                    <a:gd name="connsiteX32" fmla="*/ 173830 w 1464467"/>
                    <a:gd name="connsiteY32" fmla="*/ 1242445 h 1275783"/>
                    <a:gd name="connsiteX33" fmla="*/ 228599 w 1464467"/>
                    <a:gd name="connsiteY33" fmla="*/ 1259113 h 1275783"/>
                    <a:gd name="connsiteX34" fmla="*/ 366712 w 1464467"/>
                    <a:gd name="connsiteY34" fmla="*/ 1144814 h 1275783"/>
                    <a:gd name="connsiteX35" fmla="*/ 397669 w 1464467"/>
                    <a:gd name="connsiteY35" fmla="*/ 1154339 h 1275783"/>
                    <a:gd name="connsiteX36" fmla="*/ 421481 w 1464467"/>
                    <a:gd name="connsiteY36" fmla="*/ 1237682 h 1275783"/>
                    <a:gd name="connsiteX37" fmla="*/ 416718 w 1464467"/>
                    <a:gd name="connsiteY37" fmla="*/ 1275783 h 1275783"/>
                    <a:gd name="connsiteX38" fmla="*/ 523874 w 1464467"/>
                    <a:gd name="connsiteY38" fmla="*/ 1154339 h 1275783"/>
                    <a:gd name="connsiteX39" fmla="*/ 908956 w 1464467"/>
                    <a:gd name="connsiteY39" fmla="*/ 714261 h 1275783"/>
                    <a:gd name="connsiteX40" fmla="*/ 1000123 w 1464467"/>
                    <a:gd name="connsiteY40" fmla="*/ 639989 h 1275783"/>
                    <a:gd name="connsiteX41" fmla="*/ 1464467 w 1464467"/>
                    <a:gd name="connsiteY41" fmla="*/ 280420 h 1275783"/>
                    <a:gd name="connsiteX42" fmla="*/ 1464241 w 1464467"/>
                    <a:gd name="connsiteY42" fmla="*/ 0 h 1275783"/>
                    <a:gd name="connsiteX43" fmla="*/ 247650 w 1464467"/>
                    <a:gd name="connsiteY43" fmla="*/ 9752 h 1275783"/>
                    <a:gd name="connsiteX0" fmla="*/ 247650 w 1464467"/>
                    <a:gd name="connsiteY0" fmla="*/ 9752 h 1373414"/>
                    <a:gd name="connsiteX1" fmla="*/ 178592 w 1464467"/>
                    <a:gd name="connsiteY1" fmla="*/ 20864 h 1373414"/>
                    <a:gd name="connsiteX2" fmla="*/ 150017 w 1464467"/>
                    <a:gd name="connsiteY2" fmla="*/ 56582 h 1373414"/>
                    <a:gd name="connsiteX3" fmla="*/ 97630 w 1464467"/>
                    <a:gd name="connsiteY3" fmla="*/ 49439 h 1373414"/>
                    <a:gd name="connsiteX4" fmla="*/ 42861 w 1464467"/>
                    <a:gd name="connsiteY4" fmla="*/ 73251 h 1373414"/>
                    <a:gd name="connsiteX5" fmla="*/ 104774 w 1464467"/>
                    <a:gd name="connsiteY5" fmla="*/ 170882 h 1373414"/>
                    <a:gd name="connsiteX6" fmla="*/ 107154 w 1464467"/>
                    <a:gd name="connsiteY6" fmla="*/ 220890 h 1373414"/>
                    <a:gd name="connsiteX7" fmla="*/ 145255 w 1464467"/>
                    <a:gd name="connsiteY7" fmla="*/ 228033 h 1373414"/>
                    <a:gd name="connsiteX8" fmla="*/ 159542 w 1464467"/>
                    <a:gd name="connsiteY8" fmla="*/ 247082 h 1373414"/>
                    <a:gd name="connsiteX9" fmla="*/ 216693 w 1464467"/>
                    <a:gd name="connsiteY9" fmla="*/ 294708 h 1373414"/>
                    <a:gd name="connsiteX10" fmla="*/ 261936 w 1464467"/>
                    <a:gd name="connsiteY10" fmla="*/ 418533 h 1373414"/>
                    <a:gd name="connsiteX11" fmla="*/ 278605 w 1464467"/>
                    <a:gd name="connsiteY11" fmla="*/ 549501 h 1373414"/>
                    <a:gd name="connsiteX12" fmla="*/ 238123 w 1464467"/>
                    <a:gd name="connsiteY12" fmla="*/ 589984 h 1373414"/>
                    <a:gd name="connsiteX13" fmla="*/ 276223 w 1464467"/>
                    <a:gd name="connsiteY13" fmla="*/ 606651 h 1373414"/>
                    <a:gd name="connsiteX14" fmla="*/ 259555 w 1464467"/>
                    <a:gd name="connsiteY14" fmla="*/ 649514 h 1373414"/>
                    <a:gd name="connsiteX15" fmla="*/ 321468 w 1464467"/>
                    <a:gd name="connsiteY15" fmla="*/ 670946 h 1373414"/>
                    <a:gd name="connsiteX16" fmla="*/ 276223 w 1464467"/>
                    <a:gd name="connsiteY16" fmla="*/ 794771 h 1373414"/>
                    <a:gd name="connsiteX17" fmla="*/ 285749 w 1464467"/>
                    <a:gd name="connsiteY17" fmla="*/ 849538 h 1373414"/>
                    <a:gd name="connsiteX18" fmla="*/ 230980 w 1464467"/>
                    <a:gd name="connsiteY18" fmla="*/ 880495 h 1373414"/>
                    <a:gd name="connsiteX19" fmla="*/ 183355 w 1464467"/>
                    <a:gd name="connsiteY19" fmla="*/ 866207 h 1373414"/>
                    <a:gd name="connsiteX20" fmla="*/ 116681 w 1464467"/>
                    <a:gd name="connsiteY20" fmla="*/ 885258 h 1373414"/>
                    <a:gd name="connsiteX21" fmla="*/ 78581 w 1464467"/>
                    <a:gd name="connsiteY21" fmla="*/ 925739 h 1373414"/>
                    <a:gd name="connsiteX22" fmla="*/ 43995 w 1464467"/>
                    <a:gd name="connsiteY22" fmla="*/ 982322 h 1373414"/>
                    <a:gd name="connsiteX23" fmla="*/ 9525 w 1464467"/>
                    <a:gd name="connsiteY23" fmla="*/ 1047183 h 1373414"/>
                    <a:gd name="connsiteX24" fmla="*/ 28574 w 1464467"/>
                    <a:gd name="connsiteY24" fmla="*/ 1059090 h 1373414"/>
                    <a:gd name="connsiteX25" fmla="*/ 80962 w 1464467"/>
                    <a:gd name="connsiteY25" fmla="*/ 1040039 h 1373414"/>
                    <a:gd name="connsiteX26" fmla="*/ 59530 w 1464467"/>
                    <a:gd name="connsiteY26" fmla="*/ 1073376 h 1373414"/>
                    <a:gd name="connsiteX27" fmla="*/ 30956 w 1464467"/>
                    <a:gd name="connsiteY27" fmla="*/ 1099570 h 1373414"/>
                    <a:gd name="connsiteX28" fmla="*/ 0 w 1464467"/>
                    <a:gd name="connsiteY28" fmla="*/ 1140052 h 1373414"/>
                    <a:gd name="connsiteX29" fmla="*/ 35717 w 1464467"/>
                    <a:gd name="connsiteY29" fmla="*/ 1199584 h 1373414"/>
                    <a:gd name="connsiteX30" fmla="*/ 57149 w 1464467"/>
                    <a:gd name="connsiteY30" fmla="*/ 1228156 h 1373414"/>
                    <a:gd name="connsiteX31" fmla="*/ 107155 w 1464467"/>
                    <a:gd name="connsiteY31" fmla="*/ 1185295 h 1373414"/>
                    <a:gd name="connsiteX32" fmla="*/ 173830 w 1464467"/>
                    <a:gd name="connsiteY32" fmla="*/ 1242445 h 1373414"/>
                    <a:gd name="connsiteX33" fmla="*/ 228599 w 1464467"/>
                    <a:gd name="connsiteY33" fmla="*/ 1259113 h 1373414"/>
                    <a:gd name="connsiteX34" fmla="*/ 366712 w 1464467"/>
                    <a:gd name="connsiteY34" fmla="*/ 1144814 h 1373414"/>
                    <a:gd name="connsiteX35" fmla="*/ 397669 w 1464467"/>
                    <a:gd name="connsiteY35" fmla="*/ 1154339 h 1373414"/>
                    <a:gd name="connsiteX36" fmla="*/ 421481 w 1464467"/>
                    <a:gd name="connsiteY36" fmla="*/ 1237682 h 1373414"/>
                    <a:gd name="connsiteX37" fmla="*/ 416718 w 1464467"/>
                    <a:gd name="connsiteY37" fmla="*/ 1275783 h 1373414"/>
                    <a:gd name="connsiteX38" fmla="*/ 378618 w 1464467"/>
                    <a:gd name="connsiteY38" fmla="*/ 1373414 h 1373414"/>
                    <a:gd name="connsiteX39" fmla="*/ 908956 w 1464467"/>
                    <a:gd name="connsiteY39" fmla="*/ 714261 h 1373414"/>
                    <a:gd name="connsiteX40" fmla="*/ 1000123 w 1464467"/>
                    <a:gd name="connsiteY40" fmla="*/ 639989 h 1373414"/>
                    <a:gd name="connsiteX41" fmla="*/ 1464467 w 1464467"/>
                    <a:gd name="connsiteY41" fmla="*/ 280420 h 1373414"/>
                    <a:gd name="connsiteX42" fmla="*/ 1464241 w 1464467"/>
                    <a:gd name="connsiteY42" fmla="*/ 0 h 1373414"/>
                    <a:gd name="connsiteX43" fmla="*/ 247650 w 1464467"/>
                    <a:gd name="connsiteY43" fmla="*/ 9752 h 1373414"/>
                    <a:gd name="connsiteX0" fmla="*/ 247650 w 1464467"/>
                    <a:gd name="connsiteY0" fmla="*/ 9752 h 1373414"/>
                    <a:gd name="connsiteX1" fmla="*/ 178592 w 1464467"/>
                    <a:gd name="connsiteY1" fmla="*/ 20864 h 1373414"/>
                    <a:gd name="connsiteX2" fmla="*/ 150017 w 1464467"/>
                    <a:gd name="connsiteY2" fmla="*/ 56582 h 1373414"/>
                    <a:gd name="connsiteX3" fmla="*/ 97630 w 1464467"/>
                    <a:gd name="connsiteY3" fmla="*/ 49439 h 1373414"/>
                    <a:gd name="connsiteX4" fmla="*/ 42861 w 1464467"/>
                    <a:gd name="connsiteY4" fmla="*/ 73251 h 1373414"/>
                    <a:gd name="connsiteX5" fmla="*/ 104774 w 1464467"/>
                    <a:gd name="connsiteY5" fmla="*/ 170882 h 1373414"/>
                    <a:gd name="connsiteX6" fmla="*/ 107154 w 1464467"/>
                    <a:gd name="connsiteY6" fmla="*/ 220890 h 1373414"/>
                    <a:gd name="connsiteX7" fmla="*/ 145255 w 1464467"/>
                    <a:gd name="connsiteY7" fmla="*/ 228033 h 1373414"/>
                    <a:gd name="connsiteX8" fmla="*/ 159542 w 1464467"/>
                    <a:gd name="connsiteY8" fmla="*/ 247082 h 1373414"/>
                    <a:gd name="connsiteX9" fmla="*/ 216693 w 1464467"/>
                    <a:gd name="connsiteY9" fmla="*/ 294708 h 1373414"/>
                    <a:gd name="connsiteX10" fmla="*/ 261936 w 1464467"/>
                    <a:gd name="connsiteY10" fmla="*/ 418533 h 1373414"/>
                    <a:gd name="connsiteX11" fmla="*/ 278605 w 1464467"/>
                    <a:gd name="connsiteY11" fmla="*/ 549501 h 1373414"/>
                    <a:gd name="connsiteX12" fmla="*/ 238123 w 1464467"/>
                    <a:gd name="connsiteY12" fmla="*/ 589984 h 1373414"/>
                    <a:gd name="connsiteX13" fmla="*/ 276223 w 1464467"/>
                    <a:gd name="connsiteY13" fmla="*/ 606651 h 1373414"/>
                    <a:gd name="connsiteX14" fmla="*/ 259555 w 1464467"/>
                    <a:gd name="connsiteY14" fmla="*/ 649514 h 1373414"/>
                    <a:gd name="connsiteX15" fmla="*/ 321468 w 1464467"/>
                    <a:gd name="connsiteY15" fmla="*/ 670946 h 1373414"/>
                    <a:gd name="connsiteX16" fmla="*/ 276223 w 1464467"/>
                    <a:gd name="connsiteY16" fmla="*/ 794771 h 1373414"/>
                    <a:gd name="connsiteX17" fmla="*/ 285749 w 1464467"/>
                    <a:gd name="connsiteY17" fmla="*/ 849538 h 1373414"/>
                    <a:gd name="connsiteX18" fmla="*/ 230980 w 1464467"/>
                    <a:gd name="connsiteY18" fmla="*/ 880495 h 1373414"/>
                    <a:gd name="connsiteX19" fmla="*/ 183355 w 1464467"/>
                    <a:gd name="connsiteY19" fmla="*/ 866207 h 1373414"/>
                    <a:gd name="connsiteX20" fmla="*/ 116681 w 1464467"/>
                    <a:gd name="connsiteY20" fmla="*/ 885258 h 1373414"/>
                    <a:gd name="connsiteX21" fmla="*/ 78581 w 1464467"/>
                    <a:gd name="connsiteY21" fmla="*/ 925739 h 1373414"/>
                    <a:gd name="connsiteX22" fmla="*/ 43995 w 1464467"/>
                    <a:gd name="connsiteY22" fmla="*/ 982322 h 1373414"/>
                    <a:gd name="connsiteX23" fmla="*/ 9525 w 1464467"/>
                    <a:gd name="connsiteY23" fmla="*/ 1047183 h 1373414"/>
                    <a:gd name="connsiteX24" fmla="*/ 28574 w 1464467"/>
                    <a:gd name="connsiteY24" fmla="*/ 1059090 h 1373414"/>
                    <a:gd name="connsiteX25" fmla="*/ 80962 w 1464467"/>
                    <a:gd name="connsiteY25" fmla="*/ 1040039 h 1373414"/>
                    <a:gd name="connsiteX26" fmla="*/ 59530 w 1464467"/>
                    <a:gd name="connsiteY26" fmla="*/ 1073376 h 1373414"/>
                    <a:gd name="connsiteX27" fmla="*/ 30956 w 1464467"/>
                    <a:gd name="connsiteY27" fmla="*/ 1099570 h 1373414"/>
                    <a:gd name="connsiteX28" fmla="*/ 0 w 1464467"/>
                    <a:gd name="connsiteY28" fmla="*/ 1140052 h 1373414"/>
                    <a:gd name="connsiteX29" fmla="*/ 35717 w 1464467"/>
                    <a:gd name="connsiteY29" fmla="*/ 1199584 h 1373414"/>
                    <a:gd name="connsiteX30" fmla="*/ 57149 w 1464467"/>
                    <a:gd name="connsiteY30" fmla="*/ 1228156 h 1373414"/>
                    <a:gd name="connsiteX31" fmla="*/ 107155 w 1464467"/>
                    <a:gd name="connsiteY31" fmla="*/ 1185295 h 1373414"/>
                    <a:gd name="connsiteX32" fmla="*/ 173830 w 1464467"/>
                    <a:gd name="connsiteY32" fmla="*/ 1242445 h 1373414"/>
                    <a:gd name="connsiteX33" fmla="*/ 228599 w 1464467"/>
                    <a:gd name="connsiteY33" fmla="*/ 1259113 h 1373414"/>
                    <a:gd name="connsiteX34" fmla="*/ 366712 w 1464467"/>
                    <a:gd name="connsiteY34" fmla="*/ 1144814 h 1373414"/>
                    <a:gd name="connsiteX35" fmla="*/ 397669 w 1464467"/>
                    <a:gd name="connsiteY35" fmla="*/ 1154339 h 1373414"/>
                    <a:gd name="connsiteX36" fmla="*/ 421481 w 1464467"/>
                    <a:gd name="connsiteY36" fmla="*/ 1237682 h 1373414"/>
                    <a:gd name="connsiteX37" fmla="*/ 416718 w 1464467"/>
                    <a:gd name="connsiteY37" fmla="*/ 1275783 h 1373414"/>
                    <a:gd name="connsiteX38" fmla="*/ 378618 w 1464467"/>
                    <a:gd name="connsiteY38" fmla="*/ 1373414 h 1373414"/>
                    <a:gd name="connsiteX39" fmla="*/ 516731 w 1464467"/>
                    <a:gd name="connsiteY39" fmla="*/ 1194819 h 1373414"/>
                    <a:gd name="connsiteX40" fmla="*/ 908956 w 1464467"/>
                    <a:gd name="connsiteY40" fmla="*/ 714261 h 1373414"/>
                    <a:gd name="connsiteX41" fmla="*/ 1000123 w 1464467"/>
                    <a:gd name="connsiteY41" fmla="*/ 639989 h 1373414"/>
                    <a:gd name="connsiteX42" fmla="*/ 1464467 w 1464467"/>
                    <a:gd name="connsiteY42" fmla="*/ 280420 h 1373414"/>
                    <a:gd name="connsiteX43" fmla="*/ 1464241 w 1464467"/>
                    <a:gd name="connsiteY43" fmla="*/ 0 h 1373414"/>
                    <a:gd name="connsiteX44" fmla="*/ 247650 w 1464467"/>
                    <a:gd name="connsiteY44" fmla="*/ 9752 h 1373414"/>
                    <a:gd name="connsiteX0" fmla="*/ 247650 w 1464467"/>
                    <a:gd name="connsiteY0" fmla="*/ 9752 h 1387700"/>
                    <a:gd name="connsiteX1" fmla="*/ 178592 w 1464467"/>
                    <a:gd name="connsiteY1" fmla="*/ 20864 h 1387700"/>
                    <a:gd name="connsiteX2" fmla="*/ 150017 w 1464467"/>
                    <a:gd name="connsiteY2" fmla="*/ 56582 h 1387700"/>
                    <a:gd name="connsiteX3" fmla="*/ 97630 w 1464467"/>
                    <a:gd name="connsiteY3" fmla="*/ 49439 h 1387700"/>
                    <a:gd name="connsiteX4" fmla="*/ 42861 w 1464467"/>
                    <a:gd name="connsiteY4" fmla="*/ 73251 h 1387700"/>
                    <a:gd name="connsiteX5" fmla="*/ 104774 w 1464467"/>
                    <a:gd name="connsiteY5" fmla="*/ 170882 h 1387700"/>
                    <a:gd name="connsiteX6" fmla="*/ 107154 w 1464467"/>
                    <a:gd name="connsiteY6" fmla="*/ 220890 h 1387700"/>
                    <a:gd name="connsiteX7" fmla="*/ 145255 w 1464467"/>
                    <a:gd name="connsiteY7" fmla="*/ 228033 h 1387700"/>
                    <a:gd name="connsiteX8" fmla="*/ 159542 w 1464467"/>
                    <a:gd name="connsiteY8" fmla="*/ 247082 h 1387700"/>
                    <a:gd name="connsiteX9" fmla="*/ 216693 w 1464467"/>
                    <a:gd name="connsiteY9" fmla="*/ 294708 h 1387700"/>
                    <a:gd name="connsiteX10" fmla="*/ 261936 w 1464467"/>
                    <a:gd name="connsiteY10" fmla="*/ 418533 h 1387700"/>
                    <a:gd name="connsiteX11" fmla="*/ 278605 w 1464467"/>
                    <a:gd name="connsiteY11" fmla="*/ 549501 h 1387700"/>
                    <a:gd name="connsiteX12" fmla="*/ 238123 w 1464467"/>
                    <a:gd name="connsiteY12" fmla="*/ 589984 h 1387700"/>
                    <a:gd name="connsiteX13" fmla="*/ 276223 w 1464467"/>
                    <a:gd name="connsiteY13" fmla="*/ 606651 h 1387700"/>
                    <a:gd name="connsiteX14" fmla="*/ 259555 w 1464467"/>
                    <a:gd name="connsiteY14" fmla="*/ 649514 h 1387700"/>
                    <a:gd name="connsiteX15" fmla="*/ 321468 w 1464467"/>
                    <a:gd name="connsiteY15" fmla="*/ 670946 h 1387700"/>
                    <a:gd name="connsiteX16" fmla="*/ 276223 w 1464467"/>
                    <a:gd name="connsiteY16" fmla="*/ 794771 h 1387700"/>
                    <a:gd name="connsiteX17" fmla="*/ 285749 w 1464467"/>
                    <a:gd name="connsiteY17" fmla="*/ 849538 h 1387700"/>
                    <a:gd name="connsiteX18" fmla="*/ 230980 w 1464467"/>
                    <a:gd name="connsiteY18" fmla="*/ 880495 h 1387700"/>
                    <a:gd name="connsiteX19" fmla="*/ 183355 w 1464467"/>
                    <a:gd name="connsiteY19" fmla="*/ 866207 h 1387700"/>
                    <a:gd name="connsiteX20" fmla="*/ 116681 w 1464467"/>
                    <a:gd name="connsiteY20" fmla="*/ 885258 h 1387700"/>
                    <a:gd name="connsiteX21" fmla="*/ 78581 w 1464467"/>
                    <a:gd name="connsiteY21" fmla="*/ 925739 h 1387700"/>
                    <a:gd name="connsiteX22" fmla="*/ 43995 w 1464467"/>
                    <a:gd name="connsiteY22" fmla="*/ 982322 h 1387700"/>
                    <a:gd name="connsiteX23" fmla="*/ 9525 w 1464467"/>
                    <a:gd name="connsiteY23" fmla="*/ 1047183 h 1387700"/>
                    <a:gd name="connsiteX24" fmla="*/ 28574 w 1464467"/>
                    <a:gd name="connsiteY24" fmla="*/ 1059090 h 1387700"/>
                    <a:gd name="connsiteX25" fmla="*/ 80962 w 1464467"/>
                    <a:gd name="connsiteY25" fmla="*/ 1040039 h 1387700"/>
                    <a:gd name="connsiteX26" fmla="*/ 59530 w 1464467"/>
                    <a:gd name="connsiteY26" fmla="*/ 1073376 h 1387700"/>
                    <a:gd name="connsiteX27" fmla="*/ 30956 w 1464467"/>
                    <a:gd name="connsiteY27" fmla="*/ 1099570 h 1387700"/>
                    <a:gd name="connsiteX28" fmla="*/ 0 w 1464467"/>
                    <a:gd name="connsiteY28" fmla="*/ 1140052 h 1387700"/>
                    <a:gd name="connsiteX29" fmla="*/ 35717 w 1464467"/>
                    <a:gd name="connsiteY29" fmla="*/ 1199584 h 1387700"/>
                    <a:gd name="connsiteX30" fmla="*/ 57149 w 1464467"/>
                    <a:gd name="connsiteY30" fmla="*/ 1228156 h 1387700"/>
                    <a:gd name="connsiteX31" fmla="*/ 107155 w 1464467"/>
                    <a:gd name="connsiteY31" fmla="*/ 1185295 h 1387700"/>
                    <a:gd name="connsiteX32" fmla="*/ 173830 w 1464467"/>
                    <a:gd name="connsiteY32" fmla="*/ 1242445 h 1387700"/>
                    <a:gd name="connsiteX33" fmla="*/ 228599 w 1464467"/>
                    <a:gd name="connsiteY33" fmla="*/ 1259113 h 1387700"/>
                    <a:gd name="connsiteX34" fmla="*/ 366712 w 1464467"/>
                    <a:gd name="connsiteY34" fmla="*/ 1144814 h 1387700"/>
                    <a:gd name="connsiteX35" fmla="*/ 397669 w 1464467"/>
                    <a:gd name="connsiteY35" fmla="*/ 1154339 h 1387700"/>
                    <a:gd name="connsiteX36" fmla="*/ 421481 w 1464467"/>
                    <a:gd name="connsiteY36" fmla="*/ 1237682 h 1387700"/>
                    <a:gd name="connsiteX37" fmla="*/ 416718 w 1464467"/>
                    <a:gd name="connsiteY37" fmla="*/ 1275783 h 1387700"/>
                    <a:gd name="connsiteX38" fmla="*/ 378618 w 1464467"/>
                    <a:gd name="connsiteY38" fmla="*/ 1373414 h 1387700"/>
                    <a:gd name="connsiteX39" fmla="*/ 400050 w 1464467"/>
                    <a:gd name="connsiteY39" fmla="*/ 1387700 h 1387700"/>
                    <a:gd name="connsiteX40" fmla="*/ 908956 w 1464467"/>
                    <a:gd name="connsiteY40" fmla="*/ 714261 h 1387700"/>
                    <a:gd name="connsiteX41" fmla="*/ 1000123 w 1464467"/>
                    <a:gd name="connsiteY41" fmla="*/ 639989 h 1387700"/>
                    <a:gd name="connsiteX42" fmla="*/ 1464467 w 1464467"/>
                    <a:gd name="connsiteY42" fmla="*/ 280420 h 1387700"/>
                    <a:gd name="connsiteX43" fmla="*/ 1464241 w 1464467"/>
                    <a:gd name="connsiteY43" fmla="*/ 0 h 1387700"/>
                    <a:gd name="connsiteX44" fmla="*/ 247650 w 1464467"/>
                    <a:gd name="connsiteY44" fmla="*/ 9752 h 1387700"/>
                    <a:gd name="connsiteX0" fmla="*/ 247650 w 1464467"/>
                    <a:gd name="connsiteY0" fmla="*/ 9752 h 1387700"/>
                    <a:gd name="connsiteX1" fmla="*/ 178592 w 1464467"/>
                    <a:gd name="connsiteY1" fmla="*/ 20864 h 1387700"/>
                    <a:gd name="connsiteX2" fmla="*/ 150017 w 1464467"/>
                    <a:gd name="connsiteY2" fmla="*/ 56582 h 1387700"/>
                    <a:gd name="connsiteX3" fmla="*/ 97630 w 1464467"/>
                    <a:gd name="connsiteY3" fmla="*/ 49439 h 1387700"/>
                    <a:gd name="connsiteX4" fmla="*/ 42861 w 1464467"/>
                    <a:gd name="connsiteY4" fmla="*/ 73251 h 1387700"/>
                    <a:gd name="connsiteX5" fmla="*/ 104774 w 1464467"/>
                    <a:gd name="connsiteY5" fmla="*/ 170882 h 1387700"/>
                    <a:gd name="connsiteX6" fmla="*/ 107154 w 1464467"/>
                    <a:gd name="connsiteY6" fmla="*/ 220890 h 1387700"/>
                    <a:gd name="connsiteX7" fmla="*/ 145255 w 1464467"/>
                    <a:gd name="connsiteY7" fmla="*/ 228033 h 1387700"/>
                    <a:gd name="connsiteX8" fmla="*/ 159542 w 1464467"/>
                    <a:gd name="connsiteY8" fmla="*/ 247082 h 1387700"/>
                    <a:gd name="connsiteX9" fmla="*/ 216693 w 1464467"/>
                    <a:gd name="connsiteY9" fmla="*/ 294708 h 1387700"/>
                    <a:gd name="connsiteX10" fmla="*/ 261936 w 1464467"/>
                    <a:gd name="connsiteY10" fmla="*/ 418533 h 1387700"/>
                    <a:gd name="connsiteX11" fmla="*/ 278605 w 1464467"/>
                    <a:gd name="connsiteY11" fmla="*/ 549501 h 1387700"/>
                    <a:gd name="connsiteX12" fmla="*/ 238123 w 1464467"/>
                    <a:gd name="connsiteY12" fmla="*/ 589984 h 1387700"/>
                    <a:gd name="connsiteX13" fmla="*/ 276223 w 1464467"/>
                    <a:gd name="connsiteY13" fmla="*/ 606651 h 1387700"/>
                    <a:gd name="connsiteX14" fmla="*/ 259555 w 1464467"/>
                    <a:gd name="connsiteY14" fmla="*/ 649514 h 1387700"/>
                    <a:gd name="connsiteX15" fmla="*/ 321468 w 1464467"/>
                    <a:gd name="connsiteY15" fmla="*/ 670946 h 1387700"/>
                    <a:gd name="connsiteX16" fmla="*/ 276223 w 1464467"/>
                    <a:gd name="connsiteY16" fmla="*/ 794771 h 1387700"/>
                    <a:gd name="connsiteX17" fmla="*/ 285749 w 1464467"/>
                    <a:gd name="connsiteY17" fmla="*/ 849538 h 1387700"/>
                    <a:gd name="connsiteX18" fmla="*/ 230980 w 1464467"/>
                    <a:gd name="connsiteY18" fmla="*/ 880495 h 1387700"/>
                    <a:gd name="connsiteX19" fmla="*/ 183355 w 1464467"/>
                    <a:gd name="connsiteY19" fmla="*/ 866207 h 1387700"/>
                    <a:gd name="connsiteX20" fmla="*/ 116681 w 1464467"/>
                    <a:gd name="connsiteY20" fmla="*/ 885258 h 1387700"/>
                    <a:gd name="connsiteX21" fmla="*/ 78581 w 1464467"/>
                    <a:gd name="connsiteY21" fmla="*/ 925739 h 1387700"/>
                    <a:gd name="connsiteX22" fmla="*/ 43995 w 1464467"/>
                    <a:gd name="connsiteY22" fmla="*/ 982322 h 1387700"/>
                    <a:gd name="connsiteX23" fmla="*/ 9525 w 1464467"/>
                    <a:gd name="connsiteY23" fmla="*/ 1047183 h 1387700"/>
                    <a:gd name="connsiteX24" fmla="*/ 28574 w 1464467"/>
                    <a:gd name="connsiteY24" fmla="*/ 1059090 h 1387700"/>
                    <a:gd name="connsiteX25" fmla="*/ 80962 w 1464467"/>
                    <a:gd name="connsiteY25" fmla="*/ 1040039 h 1387700"/>
                    <a:gd name="connsiteX26" fmla="*/ 59530 w 1464467"/>
                    <a:gd name="connsiteY26" fmla="*/ 1073376 h 1387700"/>
                    <a:gd name="connsiteX27" fmla="*/ 30956 w 1464467"/>
                    <a:gd name="connsiteY27" fmla="*/ 1099570 h 1387700"/>
                    <a:gd name="connsiteX28" fmla="*/ 0 w 1464467"/>
                    <a:gd name="connsiteY28" fmla="*/ 1140052 h 1387700"/>
                    <a:gd name="connsiteX29" fmla="*/ 35717 w 1464467"/>
                    <a:gd name="connsiteY29" fmla="*/ 1199584 h 1387700"/>
                    <a:gd name="connsiteX30" fmla="*/ 57149 w 1464467"/>
                    <a:gd name="connsiteY30" fmla="*/ 1228156 h 1387700"/>
                    <a:gd name="connsiteX31" fmla="*/ 107155 w 1464467"/>
                    <a:gd name="connsiteY31" fmla="*/ 1185295 h 1387700"/>
                    <a:gd name="connsiteX32" fmla="*/ 173830 w 1464467"/>
                    <a:gd name="connsiteY32" fmla="*/ 1242445 h 1387700"/>
                    <a:gd name="connsiteX33" fmla="*/ 228599 w 1464467"/>
                    <a:gd name="connsiteY33" fmla="*/ 1259113 h 1387700"/>
                    <a:gd name="connsiteX34" fmla="*/ 366712 w 1464467"/>
                    <a:gd name="connsiteY34" fmla="*/ 1144814 h 1387700"/>
                    <a:gd name="connsiteX35" fmla="*/ 397669 w 1464467"/>
                    <a:gd name="connsiteY35" fmla="*/ 1154339 h 1387700"/>
                    <a:gd name="connsiteX36" fmla="*/ 421481 w 1464467"/>
                    <a:gd name="connsiteY36" fmla="*/ 1237682 h 1387700"/>
                    <a:gd name="connsiteX37" fmla="*/ 416718 w 1464467"/>
                    <a:gd name="connsiteY37" fmla="*/ 1275783 h 1387700"/>
                    <a:gd name="connsiteX38" fmla="*/ 378618 w 1464467"/>
                    <a:gd name="connsiteY38" fmla="*/ 1373414 h 1387700"/>
                    <a:gd name="connsiteX39" fmla="*/ 400050 w 1464467"/>
                    <a:gd name="connsiteY39" fmla="*/ 1387700 h 1387700"/>
                    <a:gd name="connsiteX40" fmla="*/ 454818 w 1464467"/>
                    <a:gd name="connsiteY40" fmla="*/ 1309119 h 1387700"/>
                    <a:gd name="connsiteX41" fmla="*/ 908956 w 1464467"/>
                    <a:gd name="connsiteY41" fmla="*/ 714261 h 1387700"/>
                    <a:gd name="connsiteX42" fmla="*/ 1000123 w 1464467"/>
                    <a:gd name="connsiteY42" fmla="*/ 639989 h 1387700"/>
                    <a:gd name="connsiteX43" fmla="*/ 1464467 w 1464467"/>
                    <a:gd name="connsiteY43" fmla="*/ 280420 h 1387700"/>
                    <a:gd name="connsiteX44" fmla="*/ 1464241 w 1464467"/>
                    <a:gd name="connsiteY44" fmla="*/ 0 h 1387700"/>
                    <a:gd name="connsiteX45" fmla="*/ 247650 w 1464467"/>
                    <a:gd name="connsiteY45" fmla="*/ 9752 h 1387700"/>
                    <a:gd name="connsiteX0" fmla="*/ 247650 w 1464467"/>
                    <a:gd name="connsiteY0" fmla="*/ 9752 h 1387700"/>
                    <a:gd name="connsiteX1" fmla="*/ 178592 w 1464467"/>
                    <a:gd name="connsiteY1" fmla="*/ 20864 h 1387700"/>
                    <a:gd name="connsiteX2" fmla="*/ 150017 w 1464467"/>
                    <a:gd name="connsiteY2" fmla="*/ 56582 h 1387700"/>
                    <a:gd name="connsiteX3" fmla="*/ 97630 w 1464467"/>
                    <a:gd name="connsiteY3" fmla="*/ 49439 h 1387700"/>
                    <a:gd name="connsiteX4" fmla="*/ 42861 w 1464467"/>
                    <a:gd name="connsiteY4" fmla="*/ 73251 h 1387700"/>
                    <a:gd name="connsiteX5" fmla="*/ 104774 w 1464467"/>
                    <a:gd name="connsiteY5" fmla="*/ 170882 h 1387700"/>
                    <a:gd name="connsiteX6" fmla="*/ 107154 w 1464467"/>
                    <a:gd name="connsiteY6" fmla="*/ 220890 h 1387700"/>
                    <a:gd name="connsiteX7" fmla="*/ 145255 w 1464467"/>
                    <a:gd name="connsiteY7" fmla="*/ 228033 h 1387700"/>
                    <a:gd name="connsiteX8" fmla="*/ 159542 w 1464467"/>
                    <a:gd name="connsiteY8" fmla="*/ 247082 h 1387700"/>
                    <a:gd name="connsiteX9" fmla="*/ 216693 w 1464467"/>
                    <a:gd name="connsiteY9" fmla="*/ 294708 h 1387700"/>
                    <a:gd name="connsiteX10" fmla="*/ 261936 w 1464467"/>
                    <a:gd name="connsiteY10" fmla="*/ 418533 h 1387700"/>
                    <a:gd name="connsiteX11" fmla="*/ 278605 w 1464467"/>
                    <a:gd name="connsiteY11" fmla="*/ 549501 h 1387700"/>
                    <a:gd name="connsiteX12" fmla="*/ 238123 w 1464467"/>
                    <a:gd name="connsiteY12" fmla="*/ 589984 h 1387700"/>
                    <a:gd name="connsiteX13" fmla="*/ 276223 w 1464467"/>
                    <a:gd name="connsiteY13" fmla="*/ 606651 h 1387700"/>
                    <a:gd name="connsiteX14" fmla="*/ 259555 w 1464467"/>
                    <a:gd name="connsiteY14" fmla="*/ 649514 h 1387700"/>
                    <a:gd name="connsiteX15" fmla="*/ 321468 w 1464467"/>
                    <a:gd name="connsiteY15" fmla="*/ 670946 h 1387700"/>
                    <a:gd name="connsiteX16" fmla="*/ 276223 w 1464467"/>
                    <a:gd name="connsiteY16" fmla="*/ 794771 h 1387700"/>
                    <a:gd name="connsiteX17" fmla="*/ 285749 w 1464467"/>
                    <a:gd name="connsiteY17" fmla="*/ 849538 h 1387700"/>
                    <a:gd name="connsiteX18" fmla="*/ 230980 w 1464467"/>
                    <a:gd name="connsiteY18" fmla="*/ 880495 h 1387700"/>
                    <a:gd name="connsiteX19" fmla="*/ 183355 w 1464467"/>
                    <a:gd name="connsiteY19" fmla="*/ 866207 h 1387700"/>
                    <a:gd name="connsiteX20" fmla="*/ 116681 w 1464467"/>
                    <a:gd name="connsiteY20" fmla="*/ 885258 h 1387700"/>
                    <a:gd name="connsiteX21" fmla="*/ 78581 w 1464467"/>
                    <a:gd name="connsiteY21" fmla="*/ 925739 h 1387700"/>
                    <a:gd name="connsiteX22" fmla="*/ 43995 w 1464467"/>
                    <a:gd name="connsiteY22" fmla="*/ 982322 h 1387700"/>
                    <a:gd name="connsiteX23" fmla="*/ 9525 w 1464467"/>
                    <a:gd name="connsiteY23" fmla="*/ 1047183 h 1387700"/>
                    <a:gd name="connsiteX24" fmla="*/ 28574 w 1464467"/>
                    <a:gd name="connsiteY24" fmla="*/ 1059090 h 1387700"/>
                    <a:gd name="connsiteX25" fmla="*/ 80962 w 1464467"/>
                    <a:gd name="connsiteY25" fmla="*/ 1040039 h 1387700"/>
                    <a:gd name="connsiteX26" fmla="*/ 59530 w 1464467"/>
                    <a:gd name="connsiteY26" fmla="*/ 1073376 h 1387700"/>
                    <a:gd name="connsiteX27" fmla="*/ 30956 w 1464467"/>
                    <a:gd name="connsiteY27" fmla="*/ 1099570 h 1387700"/>
                    <a:gd name="connsiteX28" fmla="*/ 0 w 1464467"/>
                    <a:gd name="connsiteY28" fmla="*/ 1140052 h 1387700"/>
                    <a:gd name="connsiteX29" fmla="*/ 35717 w 1464467"/>
                    <a:gd name="connsiteY29" fmla="*/ 1199584 h 1387700"/>
                    <a:gd name="connsiteX30" fmla="*/ 57149 w 1464467"/>
                    <a:gd name="connsiteY30" fmla="*/ 1228156 h 1387700"/>
                    <a:gd name="connsiteX31" fmla="*/ 107155 w 1464467"/>
                    <a:gd name="connsiteY31" fmla="*/ 1185295 h 1387700"/>
                    <a:gd name="connsiteX32" fmla="*/ 173830 w 1464467"/>
                    <a:gd name="connsiteY32" fmla="*/ 1242445 h 1387700"/>
                    <a:gd name="connsiteX33" fmla="*/ 228599 w 1464467"/>
                    <a:gd name="connsiteY33" fmla="*/ 1259113 h 1387700"/>
                    <a:gd name="connsiteX34" fmla="*/ 366712 w 1464467"/>
                    <a:gd name="connsiteY34" fmla="*/ 1144814 h 1387700"/>
                    <a:gd name="connsiteX35" fmla="*/ 397669 w 1464467"/>
                    <a:gd name="connsiteY35" fmla="*/ 1154339 h 1387700"/>
                    <a:gd name="connsiteX36" fmla="*/ 421481 w 1464467"/>
                    <a:gd name="connsiteY36" fmla="*/ 1237682 h 1387700"/>
                    <a:gd name="connsiteX37" fmla="*/ 416718 w 1464467"/>
                    <a:gd name="connsiteY37" fmla="*/ 1275783 h 1387700"/>
                    <a:gd name="connsiteX38" fmla="*/ 378618 w 1464467"/>
                    <a:gd name="connsiteY38" fmla="*/ 1373414 h 1387700"/>
                    <a:gd name="connsiteX39" fmla="*/ 400050 w 1464467"/>
                    <a:gd name="connsiteY39" fmla="*/ 1387700 h 1387700"/>
                    <a:gd name="connsiteX40" fmla="*/ 414337 w 1464467"/>
                    <a:gd name="connsiteY40" fmla="*/ 1359125 h 1387700"/>
                    <a:gd name="connsiteX41" fmla="*/ 908956 w 1464467"/>
                    <a:gd name="connsiteY41" fmla="*/ 714261 h 1387700"/>
                    <a:gd name="connsiteX42" fmla="*/ 1000123 w 1464467"/>
                    <a:gd name="connsiteY42" fmla="*/ 639989 h 1387700"/>
                    <a:gd name="connsiteX43" fmla="*/ 1464467 w 1464467"/>
                    <a:gd name="connsiteY43" fmla="*/ 280420 h 1387700"/>
                    <a:gd name="connsiteX44" fmla="*/ 1464241 w 1464467"/>
                    <a:gd name="connsiteY44" fmla="*/ 0 h 1387700"/>
                    <a:gd name="connsiteX45" fmla="*/ 247650 w 1464467"/>
                    <a:gd name="connsiteY45" fmla="*/ 9752 h 1387700"/>
                    <a:gd name="connsiteX0" fmla="*/ 247650 w 1464467"/>
                    <a:gd name="connsiteY0" fmla="*/ 9752 h 1387700"/>
                    <a:gd name="connsiteX1" fmla="*/ 178592 w 1464467"/>
                    <a:gd name="connsiteY1" fmla="*/ 20864 h 1387700"/>
                    <a:gd name="connsiteX2" fmla="*/ 150017 w 1464467"/>
                    <a:gd name="connsiteY2" fmla="*/ 56582 h 1387700"/>
                    <a:gd name="connsiteX3" fmla="*/ 97630 w 1464467"/>
                    <a:gd name="connsiteY3" fmla="*/ 49439 h 1387700"/>
                    <a:gd name="connsiteX4" fmla="*/ 42861 w 1464467"/>
                    <a:gd name="connsiteY4" fmla="*/ 73251 h 1387700"/>
                    <a:gd name="connsiteX5" fmla="*/ 104774 w 1464467"/>
                    <a:gd name="connsiteY5" fmla="*/ 170882 h 1387700"/>
                    <a:gd name="connsiteX6" fmla="*/ 107154 w 1464467"/>
                    <a:gd name="connsiteY6" fmla="*/ 220890 h 1387700"/>
                    <a:gd name="connsiteX7" fmla="*/ 145255 w 1464467"/>
                    <a:gd name="connsiteY7" fmla="*/ 228033 h 1387700"/>
                    <a:gd name="connsiteX8" fmla="*/ 159542 w 1464467"/>
                    <a:gd name="connsiteY8" fmla="*/ 247082 h 1387700"/>
                    <a:gd name="connsiteX9" fmla="*/ 216693 w 1464467"/>
                    <a:gd name="connsiteY9" fmla="*/ 294708 h 1387700"/>
                    <a:gd name="connsiteX10" fmla="*/ 261936 w 1464467"/>
                    <a:gd name="connsiteY10" fmla="*/ 418533 h 1387700"/>
                    <a:gd name="connsiteX11" fmla="*/ 278605 w 1464467"/>
                    <a:gd name="connsiteY11" fmla="*/ 549501 h 1387700"/>
                    <a:gd name="connsiteX12" fmla="*/ 238123 w 1464467"/>
                    <a:gd name="connsiteY12" fmla="*/ 589984 h 1387700"/>
                    <a:gd name="connsiteX13" fmla="*/ 276223 w 1464467"/>
                    <a:gd name="connsiteY13" fmla="*/ 606651 h 1387700"/>
                    <a:gd name="connsiteX14" fmla="*/ 259555 w 1464467"/>
                    <a:gd name="connsiteY14" fmla="*/ 649514 h 1387700"/>
                    <a:gd name="connsiteX15" fmla="*/ 321468 w 1464467"/>
                    <a:gd name="connsiteY15" fmla="*/ 670946 h 1387700"/>
                    <a:gd name="connsiteX16" fmla="*/ 276223 w 1464467"/>
                    <a:gd name="connsiteY16" fmla="*/ 794771 h 1387700"/>
                    <a:gd name="connsiteX17" fmla="*/ 285749 w 1464467"/>
                    <a:gd name="connsiteY17" fmla="*/ 849538 h 1387700"/>
                    <a:gd name="connsiteX18" fmla="*/ 230980 w 1464467"/>
                    <a:gd name="connsiteY18" fmla="*/ 880495 h 1387700"/>
                    <a:gd name="connsiteX19" fmla="*/ 183355 w 1464467"/>
                    <a:gd name="connsiteY19" fmla="*/ 866207 h 1387700"/>
                    <a:gd name="connsiteX20" fmla="*/ 116681 w 1464467"/>
                    <a:gd name="connsiteY20" fmla="*/ 885258 h 1387700"/>
                    <a:gd name="connsiteX21" fmla="*/ 78581 w 1464467"/>
                    <a:gd name="connsiteY21" fmla="*/ 925739 h 1387700"/>
                    <a:gd name="connsiteX22" fmla="*/ 43995 w 1464467"/>
                    <a:gd name="connsiteY22" fmla="*/ 982322 h 1387700"/>
                    <a:gd name="connsiteX23" fmla="*/ 9525 w 1464467"/>
                    <a:gd name="connsiteY23" fmla="*/ 1047183 h 1387700"/>
                    <a:gd name="connsiteX24" fmla="*/ 28574 w 1464467"/>
                    <a:gd name="connsiteY24" fmla="*/ 1059090 h 1387700"/>
                    <a:gd name="connsiteX25" fmla="*/ 80962 w 1464467"/>
                    <a:gd name="connsiteY25" fmla="*/ 1040039 h 1387700"/>
                    <a:gd name="connsiteX26" fmla="*/ 59530 w 1464467"/>
                    <a:gd name="connsiteY26" fmla="*/ 1073376 h 1387700"/>
                    <a:gd name="connsiteX27" fmla="*/ 30956 w 1464467"/>
                    <a:gd name="connsiteY27" fmla="*/ 1099570 h 1387700"/>
                    <a:gd name="connsiteX28" fmla="*/ 0 w 1464467"/>
                    <a:gd name="connsiteY28" fmla="*/ 1140052 h 1387700"/>
                    <a:gd name="connsiteX29" fmla="*/ 35717 w 1464467"/>
                    <a:gd name="connsiteY29" fmla="*/ 1199584 h 1387700"/>
                    <a:gd name="connsiteX30" fmla="*/ 57149 w 1464467"/>
                    <a:gd name="connsiteY30" fmla="*/ 1228156 h 1387700"/>
                    <a:gd name="connsiteX31" fmla="*/ 107155 w 1464467"/>
                    <a:gd name="connsiteY31" fmla="*/ 1185295 h 1387700"/>
                    <a:gd name="connsiteX32" fmla="*/ 173830 w 1464467"/>
                    <a:gd name="connsiteY32" fmla="*/ 1242445 h 1387700"/>
                    <a:gd name="connsiteX33" fmla="*/ 228599 w 1464467"/>
                    <a:gd name="connsiteY33" fmla="*/ 1259113 h 1387700"/>
                    <a:gd name="connsiteX34" fmla="*/ 366712 w 1464467"/>
                    <a:gd name="connsiteY34" fmla="*/ 1144814 h 1387700"/>
                    <a:gd name="connsiteX35" fmla="*/ 397669 w 1464467"/>
                    <a:gd name="connsiteY35" fmla="*/ 1154339 h 1387700"/>
                    <a:gd name="connsiteX36" fmla="*/ 421481 w 1464467"/>
                    <a:gd name="connsiteY36" fmla="*/ 1237682 h 1387700"/>
                    <a:gd name="connsiteX37" fmla="*/ 416718 w 1464467"/>
                    <a:gd name="connsiteY37" fmla="*/ 1275783 h 1387700"/>
                    <a:gd name="connsiteX38" fmla="*/ 378618 w 1464467"/>
                    <a:gd name="connsiteY38" fmla="*/ 1373414 h 1387700"/>
                    <a:gd name="connsiteX39" fmla="*/ 400050 w 1464467"/>
                    <a:gd name="connsiteY39" fmla="*/ 1387700 h 1387700"/>
                    <a:gd name="connsiteX40" fmla="*/ 414337 w 1464467"/>
                    <a:gd name="connsiteY40" fmla="*/ 1359125 h 1387700"/>
                    <a:gd name="connsiteX41" fmla="*/ 514349 w 1464467"/>
                    <a:gd name="connsiteY41" fmla="*/ 1230538 h 1387700"/>
                    <a:gd name="connsiteX42" fmla="*/ 908956 w 1464467"/>
                    <a:gd name="connsiteY42" fmla="*/ 714261 h 1387700"/>
                    <a:gd name="connsiteX43" fmla="*/ 1000123 w 1464467"/>
                    <a:gd name="connsiteY43" fmla="*/ 639989 h 1387700"/>
                    <a:gd name="connsiteX44" fmla="*/ 1464467 w 1464467"/>
                    <a:gd name="connsiteY44" fmla="*/ 280420 h 1387700"/>
                    <a:gd name="connsiteX45" fmla="*/ 1464241 w 1464467"/>
                    <a:gd name="connsiteY45" fmla="*/ 0 h 1387700"/>
                    <a:gd name="connsiteX46" fmla="*/ 247650 w 1464467"/>
                    <a:gd name="connsiteY46" fmla="*/ 9752 h 1387700"/>
                    <a:gd name="connsiteX0" fmla="*/ 247650 w 1464467"/>
                    <a:gd name="connsiteY0" fmla="*/ 9752 h 1392463"/>
                    <a:gd name="connsiteX1" fmla="*/ 178592 w 1464467"/>
                    <a:gd name="connsiteY1" fmla="*/ 20864 h 1392463"/>
                    <a:gd name="connsiteX2" fmla="*/ 150017 w 1464467"/>
                    <a:gd name="connsiteY2" fmla="*/ 56582 h 1392463"/>
                    <a:gd name="connsiteX3" fmla="*/ 97630 w 1464467"/>
                    <a:gd name="connsiteY3" fmla="*/ 49439 h 1392463"/>
                    <a:gd name="connsiteX4" fmla="*/ 42861 w 1464467"/>
                    <a:gd name="connsiteY4" fmla="*/ 73251 h 1392463"/>
                    <a:gd name="connsiteX5" fmla="*/ 104774 w 1464467"/>
                    <a:gd name="connsiteY5" fmla="*/ 170882 h 1392463"/>
                    <a:gd name="connsiteX6" fmla="*/ 107154 w 1464467"/>
                    <a:gd name="connsiteY6" fmla="*/ 220890 h 1392463"/>
                    <a:gd name="connsiteX7" fmla="*/ 145255 w 1464467"/>
                    <a:gd name="connsiteY7" fmla="*/ 228033 h 1392463"/>
                    <a:gd name="connsiteX8" fmla="*/ 159542 w 1464467"/>
                    <a:gd name="connsiteY8" fmla="*/ 247082 h 1392463"/>
                    <a:gd name="connsiteX9" fmla="*/ 216693 w 1464467"/>
                    <a:gd name="connsiteY9" fmla="*/ 294708 h 1392463"/>
                    <a:gd name="connsiteX10" fmla="*/ 261936 w 1464467"/>
                    <a:gd name="connsiteY10" fmla="*/ 418533 h 1392463"/>
                    <a:gd name="connsiteX11" fmla="*/ 278605 w 1464467"/>
                    <a:gd name="connsiteY11" fmla="*/ 549501 h 1392463"/>
                    <a:gd name="connsiteX12" fmla="*/ 238123 w 1464467"/>
                    <a:gd name="connsiteY12" fmla="*/ 589984 h 1392463"/>
                    <a:gd name="connsiteX13" fmla="*/ 276223 w 1464467"/>
                    <a:gd name="connsiteY13" fmla="*/ 606651 h 1392463"/>
                    <a:gd name="connsiteX14" fmla="*/ 259555 w 1464467"/>
                    <a:gd name="connsiteY14" fmla="*/ 649514 h 1392463"/>
                    <a:gd name="connsiteX15" fmla="*/ 321468 w 1464467"/>
                    <a:gd name="connsiteY15" fmla="*/ 670946 h 1392463"/>
                    <a:gd name="connsiteX16" fmla="*/ 276223 w 1464467"/>
                    <a:gd name="connsiteY16" fmla="*/ 794771 h 1392463"/>
                    <a:gd name="connsiteX17" fmla="*/ 285749 w 1464467"/>
                    <a:gd name="connsiteY17" fmla="*/ 849538 h 1392463"/>
                    <a:gd name="connsiteX18" fmla="*/ 230980 w 1464467"/>
                    <a:gd name="connsiteY18" fmla="*/ 880495 h 1392463"/>
                    <a:gd name="connsiteX19" fmla="*/ 183355 w 1464467"/>
                    <a:gd name="connsiteY19" fmla="*/ 866207 h 1392463"/>
                    <a:gd name="connsiteX20" fmla="*/ 116681 w 1464467"/>
                    <a:gd name="connsiteY20" fmla="*/ 885258 h 1392463"/>
                    <a:gd name="connsiteX21" fmla="*/ 78581 w 1464467"/>
                    <a:gd name="connsiteY21" fmla="*/ 925739 h 1392463"/>
                    <a:gd name="connsiteX22" fmla="*/ 43995 w 1464467"/>
                    <a:gd name="connsiteY22" fmla="*/ 982322 h 1392463"/>
                    <a:gd name="connsiteX23" fmla="*/ 9525 w 1464467"/>
                    <a:gd name="connsiteY23" fmla="*/ 1047183 h 1392463"/>
                    <a:gd name="connsiteX24" fmla="*/ 28574 w 1464467"/>
                    <a:gd name="connsiteY24" fmla="*/ 1059090 h 1392463"/>
                    <a:gd name="connsiteX25" fmla="*/ 80962 w 1464467"/>
                    <a:gd name="connsiteY25" fmla="*/ 1040039 h 1392463"/>
                    <a:gd name="connsiteX26" fmla="*/ 59530 w 1464467"/>
                    <a:gd name="connsiteY26" fmla="*/ 1073376 h 1392463"/>
                    <a:gd name="connsiteX27" fmla="*/ 30956 w 1464467"/>
                    <a:gd name="connsiteY27" fmla="*/ 1099570 h 1392463"/>
                    <a:gd name="connsiteX28" fmla="*/ 0 w 1464467"/>
                    <a:gd name="connsiteY28" fmla="*/ 1140052 h 1392463"/>
                    <a:gd name="connsiteX29" fmla="*/ 35717 w 1464467"/>
                    <a:gd name="connsiteY29" fmla="*/ 1199584 h 1392463"/>
                    <a:gd name="connsiteX30" fmla="*/ 57149 w 1464467"/>
                    <a:gd name="connsiteY30" fmla="*/ 1228156 h 1392463"/>
                    <a:gd name="connsiteX31" fmla="*/ 107155 w 1464467"/>
                    <a:gd name="connsiteY31" fmla="*/ 1185295 h 1392463"/>
                    <a:gd name="connsiteX32" fmla="*/ 173830 w 1464467"/>
                    <a:gd name="connsiteY32" fmla="*/ 1242445 h 1392463"/>
                    <a:gd name="connsiteX33" fmla="*/ 228599 w 1464467"/>
                    <a:gd name="connsiteY33" fmla="*/ 1259113 h 1392463"/>
                    <a:gd name="connsiteX34" fmla="*/ 366712 w 1464467"/>
                    <a:gd name="connsiteY34" fmla="*/ 1144814 h 1392463"/>
                    <a:gd name="connsiteX35" fmla="*/ 397669 w 1464467"/>
                    <a:gd name="connsiteY35" fmla="*/ 1154339 h 1392463"/>
                    <a:gd name="connsiteX36" fmla="*/ 421481 w 1464467"/>
                    <a:gd name="connsiteY36" fmla="*/ 1237682 h 1392463"/>
                    <a:gd name="connsiteX37" fmla="*/ 416718 w 1464467"/>
                    <a:gd name="connsiteY37" fmla="*/ 1275783 h 1392463"/>
                    <a:gd name="connsiteX38" fmla="*/ 378618 w 1464467"/>
                    <a:gd name="connsiteY38" fmla="*/ 1373414 h 1392463"/>
                    <a:gd name="connsiteX39" fmla="*/ 400050 w 1464467"/>
                    <a:gd name="connsiteY39" fmla="*/ 1387700 h 1392463"/>
                    <a:gd name="connsiteX40" fmla="*/ 414337 w 1464467"/>
                    <a:gd name="connsiteY40" fmla="*/ 1359125 h 1392463"/>
                    <a:gd name="connsiteX41" fmla="*/ 450055 w 1464467"/>
                    <a:gd name="connsiteY41" fmla="*/ 1392463 h 1392463"/>
                    <a:gd name="connsiteX42" fmla="*/ 908956 w 1464467"/>
                    <a:gd name="connsiteY42" fmla="*/ 714261 h 1392463"/>
                    <a:gd name="connsiteX43" fmla="*/ 1000123 w 1464467"/>
                    <a:gd name="connsiteY43" fmla="*/ 639989 h 1392463"/>
                    <a:gd name="connsiteX44" fmla="*/ 1464467 w 1464467"/>
                    <a:gd name="connsiteY44" fmla="*/ 280420 h 1392463"/>
                    <a:gd name="connsiteX45" fmla="*/ 1464241 w 1464467"/>
                    <a:gd name="connsiteY45" fmla="*/ 0 h 1392463"/>
                    <a:gd name="connsiteX46" fmla="*/ 247650 w 1464467"/>
                    <a:gd name="connsiteY46" fmla="*/ 9752 h 1392463"/>
                    <a:gd name="connsiteX0" fmla="*/ 247650 w 1464467"/>
                    <a:gd name="connsiteY0" fmla="*/ 9752 h 1392463"/>
                    <a:gd name="connsiteX1" fmla="*/ 178592 w 1464467"/>
                    <a:gd name="connsiteY1" fmla="*/ 20864 h 1392463"/>
                    <a:gd name="connsiteX2" fmla="*/ 150017 w 1464467"/>
                    <a:gd name="connsiteY2" fmla="*/ 56582 h 1392463"/>
                    <a:gd name="connsiteX3" fmla="*/ 97630 w 1464467"/>
                    <a:gd name="connsiteY3" fmla="*/ 49439 h 1392463"/>
                    <a:gd name="connsiteX4" fmla="*/ 42861 w 1464467"/>
                    <a:gd name="connsiteY4" fmla="*/ 73251 h 1392463"/>
                    <a:gd name="connsiteX5" fmla="*/ 104774 w 1464467"/>
                    <a:gd name="connsiteY5" fmla="*/ 170882 h 1392463"/>
                    <a:gd name="connsiteX6" fmla="*/ 107154 w 1464467"/>
                    <a:gd name="connsiteY6" fmla="*/ 220890 h 1392463"/>
                    <a:gd name="connsiteX7" fmla="*/ 145255 w 1464467"/>
                    <a:gd name="connsiteY7" fmla="*/ 228033 h 1392463"/>
                    <a:gd name="connsiteX8" fmla="*/ 159542 w 1464467"/>
                    <a:gd name="connsiteY8" fmla="*/ 247082 h 1392463"/>
                    <a:gd name="connsiteX9" fmla="*/ 216693 w 1464467"/>
                    <a:gd name="connsiteY9" fmla="*/ 294708 h 1392463"/>
                    <a:gd name="connsiteX10" fmla="*/ 261936 w 1464467"/>
                    <a:gd name="connsiteY10" fmla="*/ 418533 h 1392463"/>
                    <a:gd name="connsiteX11" fmla="*/ 278605 w 1464467"/>
                    <a:gd name="connsiteY11" fmla="*/ 549501 h 1392463"/>
                    <a:gd name="connsiteX12" fmla="*/ 238123 w 1464467"/>
                    <a:gd name="connsiteY12" fmla="*/ 589984 h 1392463"/>
                    <a:gd name="connsiteX13" fmla="*/ 276223 w 1464467"/>
                    <a:gd name="connsiteY13" fmla="*/ 606651 h 1392463"/>
                    <a:gd name="connsiteX14" fmla="*/ 259555 w 1464467"/>
                    <a:gd name="connsiteY14" fmla="*/ 649514 h 1392463"/>
                    <a:gd name="connsiteX15" fmla="*/ 321468 w 1464467"/>
                    <a:gd name="connsiteY15" fmla="*/ 670946 h 1392463"/>
                    <a:gd name="connsiteX16" fmla="*/ 276223 w 1464467"/>
                    <a:gd name="connsiteY16" fmla="*/ 794771 h 1392463"/>
                    <a:gd name="connsiteX17" fmla="*/ 285749 w 1464467"/>
                    <a:gd name="connsiteY17" fmla="*/ 849538 h 1392463"/>
                    <a:gd name="connsiteX18" fmla="*/ 230980 w 1464467"/>
                    <a:gd name="connsiteY18" fmla="*/ 880495 h 1392463"/>
                    <a:gd name="connsiteX19" fmla="*/ 183355 w 1464467"/>
                    <a:gd name="connsiteY19" fmla="*/ 866207 h 1392463"/>
                    <a:gd name="connsiteX20" fmla="*/ 116681 w 1464467"/>
                    <a:gd name="connsiteY20" fmla="*/ 885258 h 1392463"/>
                    <a:gd name="connsiteX21" fmla="*/ 78581 w 1464467"/>
                    <a:gd name="connsiteY21" fmla="*/ 925739 h 1392463"/>
                    <a:gd name="connsiteX22" fmla="*/ 43995 w 1464467"/>
                    <a:gd name="connsiteY22" fmla="*/ 982322 h 1392463"/>
                    <a:gd name="connsiteX23" fmla="*/ 9525 w 1464467"/>
                    <a:gd name="connsiteY23" fmla="*/ 1047183 h 1392463"/>
                    <a:gd name="connsiteX24" fmla="*/ 28574 w 1464467"/>
                    <a:gd name="connsiteY24" fmla="*/ 1059090 h 1392463"/>
                    <a:gd name="connsiteX25" fmla="*/ 80962 w 1464467"/>
                    <a:gd name="connsiteY25" fmla="*/ 1040039 h 1392463"/>
                    <a:gd name="connsiteX26" fmla="*/ 59530 w 1464467"/>
                    <a:gd name="connsiteY26" fmla="*/ 1073376 h 1392463"/>
                    <a:gd name="connsiteX27" fmla="*/ 30956 w 1464467"/>
                    <a:gd name="connsiteY27" fmla="*/ 1099570 h 1392463"/>
                    <a:gd name="connsiteX28" fmla="*/ 0 w 1464467"/>
                    <a:gd name="connsiteY28" fmla="*/ 1140052 h 1392463"/>
                    <a:gd name="connsiteX29" fmla="*/ 35717 w 1464467"/>
                    <a:gd name="connsiteY29" fmla="*/ 1199584 h 1392463"/>
                    <a:gd name="connsiteX30" fmla="*/ 57149 w 1464467"/>
                    <a:gd name="connsiteY30" fmla="*/ 1228156 h 1392463"/>
                    <a:gd name="connsiteX31" fmla="*/ 107155 w 1464467"/>
                    <a:gd name="connsiteY31" fmla="*/ 1185295 h 1392463"/>
                    <a:gd name="connsiteX32" fmla="*/ 173830 w 1464467"/>
                    <a:gd name="connsiteY32" fmla="*/ 1242445 h 1392463"/>
                    <a:gd name="connsiteX33" fmla="*/ 228599 w 1464467"/>
                    <a:gd name="connsiteY33" fmla="*/ 1259113 h 1392463"/>
                    <a:gd name="connsiteX34" fmla="*/ 366712 w 1464467"/>
                    <a:gd name="connsiteY34" fmla="*/ 1144814 h 1392463"/>
                    <a:gd name="connsiteX35" fmla="*/ 397669 w 1464467"/>
                    <a:gd name="connsiteY35" fmla="*/ 1154339 h 1392463"/>
                    <a:gd name="connsiteX36" fmla="*/ 421481 w 1464467"/>
                    <a:gd name="connsiteY36" fmla="*/ 1237682 h 1392463"/>
                    <a:gd name="connsiteX37" fmla="*/ 416718 w 1464467"/>
                    <a:gd name="connsiteY37" fmla="*/ 1275783 h 1392463"/>
                    <a:gd name="connsiteX38" fmla="*/ 378618 w 1464467"/>
                    <a:gd name="connsiteY38" fmla="*/ 1373414 h 1392463"/>
                    <a:gd name="connsiteX39" fmla="*/ 400050 w 1464467"/>
                    <a:gd name="connsiteY39" fmla="*/ 1387700 h 1392463"/>
                    <a:gd name="connsiteX40" fmla="*/ 414337 w 1464467"/>
                    <a:gd name="connsiteY40" fmla="*/ 1359125 h 1392463"/>
                    <a:gd name="connsiteX41" fmla="*/ 450055 w 1464467"/>
                    <a:gd name="connsiteY41" fmla="*/ 1392463 h 1392463"/>
                    <a:gd name="connsiteX42" fmla="*/ 538162 w 1464467"/>
                    <a:gd name="connsiteY42" fmla="*/ 1259113 h 1392463"/>
                    <a:gd name="connsiteX43" fmla="*/ 908956 w 1464467"/>
                    <a:gd name="connsiteY43" fmla="*/ 714261 h 1392463"/>
                    <a:gd name="connsiteX44" fmla="*/ 1000123 w 1464467"/>
                    <a:gd name="connsiteY44" fmla="*/ 639989 h 1392463"/>
                    <a:gd name="connsiteX45" fmla="*/ 1464467 w 1464467"/>
                    <a:gd name="connsiteY45" fmla="*/ 280420 h 1392463"/>
                    <a:gd name="connsiteX46" fmla="*/ 1464241 w 1464467"/>
                    <a:gd name="connsiteY46" fmla="*/ 0 h 1392463"/>
                    <a:gd name="connsiteX47" fmla="*/ 247650 w 1464467"/>
                    <a:gd name="connsiteY47" fmla="*/ 9752 h 1392463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908956 w 1464467"/>
                    <a:gd name="connsiteY43" fmla="*/ 714261 h 1518669"/>
                    <a:gd name="connsiteX44" fmla="*/ 1000123 w 1464467"/>
                    <a:gd name="connsiteY44" fmla="*/ 639989 h 1518669"/>
                    <a:gd name="connsiteX45" fmla="*/ 1464467 w 1464467"/>
                    <a:gd name="connsiteY45" fmla="*/ 280420 h 1518669"/>
                    <a:gd name="connsiteX46" fmla="*/ 1464241 w 1464467"/>
                    <a:gd name="connsiteY46" fmla="*/ 0 h 1518669"/>
                    <a:gd name="connsiteX47" fmla="*/ 247650 w 1464467"/>
                    <a:gd name="connsiteY47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4349 w 1464467"/>
                    <a:gd name="connsiteY43" fmla="*/ 1468663 h 1518669"/>
                    <a:gd name="connsiteX44" fmla="*/ 908956 w 1464467"/>
                    <a:gd name="connsiteY44" fmla="*/ 714261 h 1518669"/>
                    <a:gd name="connsiteX45" fmla="*/ 1000123 w 1464467"/>
                    <a:gd name="connsiteY45" fmla="*/ 639989 h 1518669"/>
                    <a:gd name="connsiteX46" fmla="*/ 1464467 w 1464467"/>
                    <a:gd name="connsiteY46" fmla="*/ 280420 h 1518669"/>
                    <a:gd name="connsiteX47" fmla="*/ 1464241 w 1464467"/>
                    <a:gd name="connsiteY47" fmla="*/ 0 h 1518669"/>
                    <a:gd name="connsiteX48" fmla="*/ 247650 w 1464467"/>
                    <a:gd name="connsiteY48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908956 w 1464467"/>
                    <a:gd name="connsiteY44" fmla="*/ 714261 h 1518669"/>
                    <a:gd name="connsiteX45" fmla="*/ 1000123 w 1464467"/>
                    <a:gd name="connsiteY45" fmla="*/ 639989 h 1518669"/>
                    <a:gd name="connsiteX46" fmla="*/ 1464467 w 1464467"/>
                    <a:gd name="connsiteY46" fmla="*/ 280420 h 1518669"/>
                    <a:gd name="connsiteX47" fmla="*/ 1464241 w 1464467"/>
                    <a:gd name="connsiteY47" fmla="*/ 0 h 1518669"/>
                    <a:gd name="connsiteX48" fmla="*/ 247650 w 1464467"/>
                    <a:gd name="connsiteY48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59593 w 1464467"/>
                    <a:gd name="connsiteY44" fmla="*/ 1404369 h 1518669"/>
                    <a:gd name="connsiteX45" fmla="*/ 908956 w 1464467"/>
                    <a:gd name="connsiteY45" fmla="*/ 714261 h 1518669"/>
                    <a:gd name="connsiteX46" fmla="*/ 1000123 w 1464467"/>
                    <a:gd name="connsiteY46" fmla="*/ 639989 h 1518669"/>
                    <a:gd name="connsiteX47" fmla="*/ 1464467 w 1464467"/>
                    <a:gd name="connsiteY47" fmla="*/ 280420 h 1518669"/>
                    <a:gd name="connsiteX48" fmla="*/ 1464241 w 1464467"/>
                    <a:gd name="connsiteY48" fmla="*/ 0 h 1518669"/>
                    <a:gd name="connsiteX49" fmla="*/ 247650 w 1464467"/>
                    <a:gd name="connsiteY49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908956 w 1464467"/>
                    <a:gd name="connsiteY45" fmla="*/ 714261 h 1518669"/>
                    <a:gd name="connsiteX46" fmla="*/ 1000123 w 1464467"/>
                    <a:gd name="connsiteY46" fmla="*/ 639989 h 1518669"/>
                    <a:gd name="connsiteX47" fmla="*/ 1464467 w 1464467"/>
                    <a:gd name="connsiteY47" fmla="*/ 280420 h 1518669"/>
                    <a:gd name="connsiteX48" fmla="*/ 1464241 w 1464467"/>
                    <a:gd name="connsiteY48" fmla="*/ 0 h 1518669"/>
                    <a:gd name="connsiteX49" fmla="*/ 247650 w 1464467"/>
                    <a:gd name="connsiteY49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552449 w 1464467"/>
                    <a:gd name="connsiteY45" fmla="*/ 1351982 h 1518669"/>
                    <a:gd name="connsiteX46" fmla="*/ 908956 w 1464467"/>
                    <a:gd name="connsiteY46" fmla="*/ 714261 h 1518669"/>
                    <a:gd name="connsiteX47" fmla="*/ 1000123 w 1464467"/>
                    <a:gd name="connsiteY47" fmla="*/ 639989 h 1518669"/>
                    <a:gd name="connsiteX48" fmla="*/ 1464467 w 1464467"/>
                    <a:gd name="connsiteY48" fmla="*/ 280420 h 1518669"/>
                    <a:gd name="connsiteX49" fmla="*/ 1464241 w 1464467"/>
                    <a:gd name="connsiteY49" fmla="*/ 0 h 1518669"/>
                    <a:gd name="connsiteX50" fmla="*/ 247650 w 1464467"/>
                    <a:gd name="connsiteY50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908956 w 1464467"/>
                    <a:gd name="connsiteY46" fmla="*/ 714261 h 1518669"/>
                    <a:gd name="connsiteX47" fmla="*/ 1000123 w 1464467"/>
                    <a:gd name="connsiteY47" fmla="*/ 639989 h 1518669"/>
                    <a:gd name="connsiteX48" fmla="*/ 1464467 w 1464467"/>
                    <a:gd name="connsiteY48" fmla="*/ 280420 h 1518669"/>
                    <a:gd name="connsiteX49" fmla="*/ 1464241 w 1464467"/>
                    <a:gd name="connsiteY49" fmla="*/ 0 h 1518669"/>
                    <a:gd name="connsiteX50" fmla="*/ 247650 w 1464467"/>
                    <a:gd name="connsiteY50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2462 w 1464467"/>
                    <a:gd name="connsiteY46" fmla="*/ 1287688 h 1518669"/>
                    <a:gd name="connsiteX47" fmla="*/ 908956 w 1464467"/>
                    <a:gd name="connsiteY47" fmla="*/ 714261 h 1518669"/>
                    <a:gd name="connsiteX48" fmla="*/ 1000123 w 1464467"/>
                    <a:gd name="connsiteY48" fmla="*/ 639989 h 1518669"/>
                    <a:gd name="connsiteX49" fmla="*/ 1464467 w 1464467"/>
                    <a:gd name="connsiteY49" fmla="*/ 280420 h 1518669"/>
                    <a:gd name="connsiteX50" fmla="*/ 1464241 w 1464467"/>
                    <a:gd name="connsiteY50" fmla="*/ 0 h 1518669"/>
                    <a:gd name="connsiteX51" fmla="*/ 247650 w 1464467"/>
                    <a:gd name="connsiteY51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908956 w 1464467"/>
                    <a:gd name="connsiteY47" fmla="*/ 714261 h 1518669"/>
                    <a:gd name="connsiteX48" fmla="*/ 1000123 w 1464467"/>
                    <a:gd name="connsiteY48" fmla="*/ 639989 h 1518669"/>
                    <a:gd name="connsiteX49" fmla="*/ 1464467 w 1464467"/>
                    <a:gd name="connsiteY49" fmla="*/ 280420 h 1518669"/>
                    <a:gd name="connsiteX50" fmla="*/ 1464241 w 1464467"/>
                    <a:gd name="connsiteY50" fmla="*/ 0 h 1518669"/>
                    <a:gd name="connsiteX51" fmla="*/ 247650 w 1464467"/>
                    <a:gd name="connsiteY51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292450 h 1518669"/>
                    <a:gd name="connsiteX48" fmla="*/ 908956 w 1464467"/>
                    <a:gd name="connsiteY48" fmla="*/ 714261 h 1518669"/>
                    <a:gd name="connsiteX49" fmla="*/ 1000123 w 1464467"/>
                    <a:gd name="connsiteY49" fmla="*/ 639989 h 1518669"/>
                    <a:gd name="connsiteX50" fmla="*/ 1464467 w 1464467"/>
                    <a:gd name="connsiteY50" fmla="*/ 280420 h 1518669"/>
                    <a:gd name="connsiteX51" fmla="*/ 1464241 w 1464467"/>
                    <a:gd name="connsiteY51" fmla="*/ 0 h 1518669"/>
                    <a:gd name="connsiteX52" fmla="*/ 247650 w 1464467"/>
                    <a:gd name="connsiteY52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908956 w 1464467"/>
                    <a:gd name="connsiteY48" fmla="*/ 714261 h 1518669"/>
                    <a:gd name="connsiteX49" fmla="*/ 1000123 w 1464467"/>
                    <a:gd name="connsiteY49" fmla="*/ 639989 h 1518669"/>
                    <a:gd name="connsiteX50" fmla="*/ 1464467 w 1464467"/>
                    <a:gd name="connsiteY50" fmla="*/ 280420 h 1518669"/>
                    <a:gd name="connsiteX51" fmla="*/ 1464241 w 1464467"/>
                    <a:gd name="connsiteY51" fmla="*/ 0 h 1518669"/>
                    <a:gd name="connsiteX52" fmla="*/ 247650 w 1464467"/>
                    <a:gd name="connsiteY52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714374 w 1464467"/>
                    <a:gd name="connsiteY48" fmla="*/ 1363888 h 1518669"/>
                    <a:gd name="connsiteX49" fmla="*/ 908956 w 1464467"/>
                    <a:gd name="connsiteY49" fmla="*/ 714261 h 1518669"/>
                    <a:gd name="connsiteX50" fmla="*/ 1000123 w 1464467"/>
                    <a:gd name="connsiteY50" fmla="*/ 639989 h 1518669"/>
                    <a:gd name="connsiteX51" fmla="*/ 1464467 w 1464467"/>
                    <a:gd name="connsiteY51" fmla="*/ 280420 h 1518669"/>
                    <a:gd name="connsiteX52" fmla="*/ 1464241 w 1464467"/>
                    <a:gd name="connsiteY52" fmla="*/ 0 h 1518669"/>
                    <a:gd name="connsiteX53" fmla="*/ 247650 w 1464467"/>
                    <a:gd name="connsiteY53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908956 w 1464467"/>
                    <a:gd name="connsiteY49" fmla="*/ 714261 h 1518669"/>
                    <a:gd name="connsiteX50" fmla="*/ 1000123 w 1464467"/>
                    <a:gd name="connsiteY50" fmla="*/ 639989 h 1518669"/>
                    <a:gd name="connsiteX51" fmla="*/ 1464467 w 1464467"/>
                    <a:gd name="connsiteY51" fmla="*/ 280420 h 1518669"/>
                    <a:gd name="connsiteX52" fmla="*/ 1464241 w 1464467"/>
                    <a:gd name="connsiteY52" fmla="*/ 0 h 1518669"/>
                    <a:gd name="connsiteX53" fmla="*/ 247650 w 1464467"/>
                    <a:gd name="connsiteY53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19137 w 1464467"/>
                    <a:gd name="connsiteY49" fmla="*/ 1282925 h 1518669"/>
                    <a:gd name="connsiteX50" fmla="*/ 908956 w 1464467"/>
                    <a:gd name="connsiteY50" fmla="*/ 714261 h 1518669"/>
                    <a:gd name="connsiteX51" fmla="*/ 1000123 w 1464467"/>
                    <a:gd name="connsiteY51" fmla="*/ 639989 h 1518669"/>
                    <a:gd name="connsiteX52" fmla="*/ 1464467 w 1464467"/>
                    <a:gd name="connsiteY52" fmla="*/ 280420 h 1518669"/>
                    <a:gd name="connsiteX53" fmla="*/ 1464241 w 1464467"/>
                    <a:gd name="connsiteY53" fmla="*/ 0 h 1518669"/>
                    <a:gd name="connsiteX54" fmla="*/ 247650 w 1464467"/>
                    <a:gd name="connsiteY54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31044 w 1464467"/>
                    <a:gd name="connsiteY49" fmla="*/ 1397225 h 1518669"/>
                    <a:gd name="connsiteX50" fmla="*/ 908956 w 1464467"/>
                    <a:gd name="connsiteY50" fmla="*/ 714261 h 1518669"/>
                    <a:gd name="connsiteX51" fmla="*/ 1000123 w 1464467"/>
                    <a:gd name="connsiteY51" fmla="*/ 639989 h 1518669"/>
                    <a:gd name="connsiteX52" fmla="*/ 1464467 w 1464467"/>
                    <a:gd name="connsiteY52" fmla="*/ 280420 h 1518669"/>
                    <a:gd name="connsiteX53" fmla="*/ 1464241 w 1464467"/>
                    <a:gd name="connsiteY53" fmla="*/ 0 h 1518669"/>
                    <a:gd name="connsiteX54" fmla="*/ 247650 w 1464467"/>
                    <a:gd name="connsiteY54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31044 w 1464467"/>
                    <a:gd name="connsiteY49" fmla="*/ 1397225 h 1518669"/>
                    <a:gd name="connsiteX50" fmla="*/ 769143 w 1464467"/>
                    <a:gd name="connsiteY50" fmla="*/ 1251969 h 1518669"/>
                    <a:gd name="connsiteX51" fmla="*/ 908956 w 1464467"/>
                    <a:gd name="connsiteY51" fmla="*/ 714261 h 1518669"/>
                    <a:gd name="connsiteX52" fmla="*/ 1000123 w 1464467"/>
                    <a:gd name="connsiteY52" fmla="*/ 639989 h 1518669"/>
                    <a:gd name="connsiteX53" fmla="*/ 1464467 w 1464467"/>
                    <a:gd name="connsiteY53" fmla="*/ 280420 h 1518669"/>
                    <a:gd name="connsiteX54" fmla="*/ 1464241 w 1464467"/>
                    <a:gd name="connsiteY54" fmla="*/ 0 h 1518669"/>
                    <a:gd name="connsiteX55" fmla="*/ 247650 w 1464467"/>
                    <a:gd name="connsiteY55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31044 w 1464467"/>
                    <a:gd name="connsiteY49" fmla="*/ 1397225 h 1518669"/>
                    <a:gd name="connsiteX50" fmla="*/ 735806 w 1464467"/>
                    <a:gd name="connsiteY50" fmla="*/ 1318644 h 1518669"/>
                    <a:gd name="connsiteX51" fmla="*/ 908956 w 1464467"/>
                    <a:gd name="connsiteY51" fmla="*/ 714261 h 1518669"/>
                    <a:gd name="connsiteX52" fmla="*/ 1000123 w 1464467"/>
                    <a:gd name="connsiteY52" fmla="*/ 639989 h 1518669"/>
                    <a:gd name="connsiteX53" fmla="*/ 1464467 w 1464467"/>
                    <a:gd name="connsiteY53" fmla="*/ 280420 h 1518669"/>
                    <a:gd name="connsiteX54" fmla="*/ 1464241 w 1464467"/>
                    <a:gd name="connsiteY54" fmla="*/ 0 h 1518669"/>
                    <a:gd name="connsiteX55" fmla="*/ 247650 w 1464467"/>
                    <a:gd name="connsiteY55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31044 w 1464467"/>
                    <a:gd name="connsiteY49" fmla="*/ 1397225 h 1518669"/>
                    <a:gd name="connsiteX50" fmla="*/ 735806 w 1464467"/>
                    <a:gd name="connsiteY50" fmla="*/ 1318644 h 1518669"/>
                    <a:gd name="connsiteX51" fmla="*/ 761999 w 1464467"/>
                    <a:gd name="connsiteY51" fmla="*/ 1228157 h 1518669"/>
                    <a:gd name="connsiteX52" fmla="*/ 908956 w 1464467"/>
                    <a:gd name="connsiteY52" fmla="*/ 714261 h 1518669"/>
                    <a:gd name="connsiteX53" fmla="*/ 1000123 w 1464467"/>
                    <a:gd name="connsiteY53" fmla="*/ 639989 h 1518669"/>
                    <a:gd name="connsiteX54" fmla="*/ 1464467 w 1464467"/>
                    <a:gd name="connsiteY54" fmla="*/ 280420 h 1518669"/>
                    <a:gd name="connsiteX55" fmla="*/ 1464241 w 1464467"/>
                    <a:gd name="connsiteY55" fmla="*/ 0 h 1518669"/>
                    <a:gd name="connsiteX56" fmla="*/ 247650 w 1464467"/>
                    <a:gd name="connsiteY56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31044 w 1464467"/>
                    <a:gd name="connsiteY49" fmla="*/ 1397225 h 1518669"/>
                    <a:gd name="connsiteX50" fmla="*/ 735806 w 1464467"/>
                    <a:gd name="connsiteY50" fmla="*/ 1318644 h 1518669"/>
                    <a:gd name="connsiteX51" fmla="*/ 685799 w 1464467"/>
                    <a:gd name="connsiteY51" fmla="*/ 1311500 h 1518669"/>
                    <a:gd name="connsiteX52" fmla="*/ 908956 w 1464467"/>
                    <a:gd name="connsiteY52" fmla="*/ 714261 h 1518669"/>
                    <a:gd name="connsiteX53" fmla="*/ 1000123 w 1464467"/>
                    <a:gd name="connsiteY53" fmla="*/ 639989 h 1518669"/>
                    <a:gd name="connsiteX54" fmla="*/ 1464467 w 1464467"/>
                    <a:gd name="connsiteY54" fmla="*/ 280420 h 1518669"/>
                    <a:gd name="connsiteX55" fmla="*/ 1464241 w 1464467"/>
                    <a:gd name="connsiteY55" fmla="*/ 0 h 1518669"/>
                    <a:gd name="connsiteX56" fmla="*/ 247650 w 1464467"/>
                    <a:gd name="connsiteY56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31044 w 1464467"/>
                    <a:gd name="connsiteY49" fmla="*/ 1397225 h 1518669"/>
                    <a:gd name="connsiteX50" fmla="*/ 735806 w 1464467"/>
                    <a:gd name="connsiteY50" fmla="*/ 1318644 h 1518669"/>
                    <a:gd name="connsiteX51" fmla="*/ 685799 w 1464467"/>
                    <a:gd name="connsiteY51" fmla="*/ 1311500 h 1518669"/>
                    <a:gd name="connsiteX52" fmla="*/ 742949 w 1464467"/>
                    <a:gd name="connsiteY52" fmla="*/ 1159100 h 1518669"/>
                    <a:gd name="connsiteX53" fmla="*/ 908956 w 1464467"/>
                    <a:gd name="connsiteY53" fmla="*/ 714261 h 1518669"/>
                    <a:gd name="connsiteX54" fmla="*/ 1000123 w 1464467"/>
                    <a:gd name="connsiteY54" fmla="*/ 639989 h 1518669"/>
                    <a:gd name="connsiteX55" fmla="*/ 1464467 w 1464467"/>
                    <a:gd name="connsiteY55" fmla="*/ 280420 h 1518669"/>
                    <a:gd name="connsiteX56" fmla="*/ 1464241 w 1464467"/>
                    <a:gd name="connsiteY56" fmla="*/ 0 h 1518669"/>
                    <a:gd name="connsiteX57" fmla="*/ 247650 w 1464467"/>
                    <a:gd name="connsiteY57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31044 w 1464467"/>
                    <a:gd name="connsiteY49" fmla="*/ 1397225 h 1518669"/>
                    <a:gd name="connsiteX50" fmla="*/ 735806 w 1464467"/>
                    <a:gd name="connsiteY50" fmla="*/ 1318644 h 1518669"/>
                    <a:gd name="connsiteX51" fmla="*/ 685799 w 1464467"/>
                    <a:gd name="connsiteY51" fmla="*/ 1311500 h 1518669"/>
                    <a:gd name="connsiteX52" fmla="*/ 666749 w 1464467"/>
                    <a:gd name="connsiteY52" fmla="*/ 1221012 h 1518669"/>
                    <a:gd name="connsiteX53" fmla="*/ 908956 w 1464467"/>
                    <a:gd name="connsiteY53" fmla="*/ 714261 h 1518669"/>
                    <a:gd name="connsiteX54" fmla="*/ 1000123 w 1464467"/>
                    <a:gd name="connsiteY54" fmla="*/ 639989 h 1518669"/>
                    <a:gd name="connsiteX55" fmla="*/ 1464467 w 1464467"/>
                    <a:gd name="connsiteY55" fmla="*/ 280420 h 1518669"/>
                    <a:gd name="connsiteX56" fmla="*/ 1464241 w 1464467"/>
                    <a:gd name="connsiteY56" fmla="*/ 0 h 1518669"/>
                    <a:gd name="connsiteX57" fmla="*/ 247650 w 1464467"/>
                    <a:gd name="connsiteY57" fmla="*/ 9752 h 151866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31044 w 1464467"/>
                    <a:gd name="connsiteY49" fmla="*/ 1397225 h 1518669"/>
                    <a:gd name="connsiteX50" fmla="*/ 735806 w 1464467"/>
                    <a:gd name="connsiteY50" fmla="*/ 1318644 h 1518669"/>
                    <a:gd name="connsiteX51" fmla="*/ 685799 w 1464467"/>
                    <a:gd name="connsiteY51" fmla="*/ 1311500 h 1518669"/>
                    <a:gd name="connsiteX52" fmla="*/ 666749 w 1464467"/>
                    <a:gd name="connsiteY52" fmla="*/ 1221012 h 1518669"/>
                    <a:gd name="connsiteX53" fmla="*/ 750093 w 1464467"/>
                    <a:gd name="connsiteY53" fmla="*/ 1042419 h 1518669"/>
                    <a:gd name="connsiteX54" fmla="*/ 908956 w 1464467"/>
                    <a:gd name="connsiteY54" fmla="*/ 714261 h 1518669"/>
                    <a:gd name="connsiteX55" fmla="*/ 1000123 w 1464467"/>
                    <a:gd name="connsiteY55" fmla="*/ 639989 h 1518669"/>
                    <a:gd name="connsiteX56" fmla="*/ 1464467 w 1464467"/>
                    <a:gd name="connsiteY56" fmla="*/ 280420 h 1518669"/>
                    <a:gd name="connsiteX57" fmla="*/ 1464241 w 1464467"/>
                    <a:gd name="connsiteY57" fmla="*/ 0 h 1518669"/>
                    <a:gd name="connsiteX58" fmla="*/ 247650 w 1464467"/>
                    <a:gd name="connsiteY58" fmla="*/ 9752 h 151866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908956 w 1747836"/>
                    <a:gd name="connsiteY54" fmla="*/ 714261 h 1537719"/>
                    <a:gd name="connsiteX55" fmla="*/ 1000123 w 1747836"/>
                    <a:gd name="connsiteY55" fmla="*/ 639989 h 1537719"/>
                    <a:gd name="connsiteX56" fmla="*/ 1464467 w 1747836"/>
                    <a:gd name="connsiteY56" fmla="*/ 280420 h 1537719"/>
                    <a:gd name="connsiteX57" fmla="*/ 1464241 w 1747836"/>
                    <a:gd name="connsiteY57" fmla="*/ 0 h 1537719"/>
                    <a:gd name="connsiteX58" fmla="*/ 247650 w 1747836"/>
                    <a:gd name="connsiteY58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1000123 w 1747836"/>
                    <a:gd name="connsiteY54" fmla="*/ 801913 h 1537719"/>
                    <a:gd name="connsiteX55" fmla="*/ 908956 w 1747836"/>
                    <a:gd name="connsiteY55" fmla="*/ 714261 h 1537719"/>
                    <a:gd name="connsiteX56" fmla="*/ 1000123 w 1747836"/>
                    <a:gd name="connsiteY56" fmla="*/ 639989 h 1537719"/>
                    <a:gd name="connsiteX57" fmla="*/ 1464467 w 1747836"/>
                    <a:gd name="connsiteY57" fmla="*/ 280420 h 1537719"/>
                    <a:gd name="connsiteX58" fmla="*/ 1464241 w 1747836"/>
                    <a:gd name="connsiteY58" fmla="*/ 0 h 1537719"/>
                    <a:gd name="connsiteX59" fmla="*/ 247650 w 1747836"/>
                    <a:gd name="connsiteY59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812004 w 1747836"/>
                    <a:gd name="connsiteY54" fmla="*/ 811438 h 1537719"/>
                    <a:gd name="connsiteX55" fmla="*/ 908956 w 1747836"/>
                    <a:gd name="connsiteY55" fmla="*/ 714261 h 1537719"/>
                    <a:gd name="connsiteX56" fmla="*/ 1000123 w 1747836"/>
                    <a:gd name="connsiteY56" fmla="*/ 639989 h 1537719"/>
                    <a:gd name="connsiteX57" fmla="*/ 1464467 w 1747836"/>
                    <a:gd name="connsiteY57" fmla="*/ 280420 h 1537719"/>
                    <a:gd name="connsiteX58" fmla="*/ 1464241 w 1747836"/>
                    <a:gd name="connsiteY58" fmla="*/ 0 h 1537719"/>
                    <a:gd name="connsiteX59" fmla="*/ 247650 w 1747836"/>
                    <a:gd name="connsiteY59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921542 w 1747836"/>
                    <a:gd name="connsiteY54" fmla="*/ 899544 h 1537719"/>
                    <a:gd name="connsiteX55" fmla="*/ 812004 w 1747836"/>
                    <a:gd name="connsiteY55" fmla="*/ 811438 h 1537719"/>
                    <a:gd name="connsiteX56" fmla="*/ 908956 w 1747836"/>
                    <a:gd name="connsiteY56" fmla="*/ 714261 h 1537719"/>
                    <a:gd name="connsiteX57" fmla="*/ 1000123 w 1747836"/>
                    <a:gd name="connsiteY57" fmla="*/ 639989 h 1537719"/>
                    <a:gd name="connsiteX58" fmla="*/ 1464467 w 1747836"/>
                    <a:gd name="connsiteY58" fmla="*/ 280420 h 1537719"/>
                    <a:gd name="connsiteX59" fmla="*/ 1464241 w 1747836"/>
                    <a:gd name="connsiteY59" fmla="*/ 0 h 1537719"/>
                    <a:gd name="connsiteX60" fmla="*/ 247650 w 1747836"/>
                    <a:gd name="connsiteY60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57235 w 1747836"/>
                    <a:gd name="connsiteY54" fmla="*/ 863825 h 1537719"/>
                    <a:gd name="connsiteX55" fmla="*/ 812004 w 1747836"/>
                    <a:gd name="connsiteY55" fmla="*/ 811438 h 1537719"/>
                    <a:gd name="connsiteX56" fmla="*/ 908956 w 1747836"/>
                    <a:gd name="connsiteY56" fmla="*/ 714261 h 1537719"/>
                    <a:gd name="connsiteX57" fmla="*/ 1000123 w 1747836"/>
                    <a:gd name="connsiteY57" fmla="*/ 639989 h 1537719"/>
                    <a:gd name="connsiteX58" fmla="*/ 1464467 w 1747836"/>
                    <a:gd name="connsiteY58" fmla="*/ 280420 h 1537719"/>
                    <a:gd name="connsiteX59" fmla="*/ 1464241 w 1747836"/>
                    <a:gd name="connsiteY59" fmla="*/ 0 h 1537719"/>
                    <a:gd name="connsiteX60" fmla="*/ 247650 w 1747836"/>
                    <a:gd name="connsiteY60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862011 w 1747836"/>
                    <a:gd name="connsiteY54" fmla="*/ 932882 h 1537719"/>
                    <a:gd name="connsiteX55" fmla="*/ 757235 w 1747836"/>
                    <a:gd name="connsiteY55" fmla="*/ 863825 h 1537719"/>
                    <a:gd name="connsiteX56" fmla="*/ 812004 w 1747836"/>
                    <a:gd name="connsiteY56" fmla="*/ 811438 h 1537719"/>
                    <a:gd name="connsiteX57" fmla="*/ 908956 w 1747836"/>
                    <a:gd name="connsiteY57" fmla="*/ 714261 h 1537719"/>
                    <a:gd name="connsiteX58" fmla="*/ 1000123 w 1747836"/>
                    <a:gd name="connsiteY58" fmla="*/ 639989 h 1537719"/>
                    <a:gd name="connsiteX59" fmla="*/ 1464467 w 1747836"/>
                    <a:gd name="connsiteY59" fmla="*/ 280420 h 1537719"/>
                    <a:gd name="connsiteX60" fmla="*/ 1464241 w 1747836"/>
                    <a:gd name="connsiteY60" fmla="*/ 0 h 1537719"/>
                    <a:gd name="connsiteX61" fmla="*/ 247650 w 1747836"/>
                    <a:gd name="connsiteY61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688179 w 1747836"/>
                    <a:gd name="connsiteY54" fmla="*/ 890019 h 1537719"/>
                    <a:gd name="connsiteX55" fmla="*/ 757235 w 1747836"/>
                    <a:gd name="connsiteY55" fmla="*/ 863825 h 1537719"/>
                    <a:gd name="connsiteX56" fmla="*/ 812004 w 1747836"/>
                    <a:gd name="connsiteY56" fmla="*/ 811438 h 1537719"/>
                    <a:gd name="connsiteX57" fmla="*/ 908956 w 1747836"/>
                    <a:gd name="connsiteY57" fmla="*/ 714261 h 1537719"/>
                    <a:gd name="connsiteX58" fmla="*/ 1000123 w 1747836"/>
                    <a:gd name="connsiteY58" fmla="*/ 639989 h 1537719"/>
                    <a:gd name="connsiteX59" fmla="*/ 1464467 w 1747836"/>
                    <a:gd name="connsiteY59" fmla="*/ 280420 h 1537719"/>
                    <a:gd name="connsiteX60" fmla="*/ 1464241 w 1747836"/>
                    <a:gd name="connsiteY60" fmla="*/ 0 h 1537719"/>
                    <a:gd name="connsiteX61" fmla="*/ 247650 w 1747836"/>
                    <a:gd name="connsiteY61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688179 w 1747836"/>
                    <a:gd name="connsiteY54" fmla="*/ 890019 h 1537719"/>
                    <a:gd name="connsiteX55" fmla="*/ 759616 w 1747836"/>
                    <a:gd name="connsiteY55" fmla="*/ 887638 h 1537719"/>
                    <a:gd name="connsiteX56" fmla="*/ 812004 w 1747836"/>
                    <a:gd name="connsiteY56" fmla="*/ 811438 h 1537719"/>
                    <a:gd name="connsiteX57" fmla="*/ 908956 w 1747836"/>
                    <a:gd name="connsiteY57" fmla="*/ 714261 h 1537719"/>
                    <a:gd name="connsiteX58" fmla="*/ 1000123 w 1747836"/>
                    <a:gd name="connsiteY58" fmla="*/ 639989 h 1537719"/>
                    <a:gd name="connsiteX59" fmla="*/ 1464467 w 1747836"/>
                    <a:gd name="connsiteY59" fmla="*/ 280420 h 1537719"/>
                    <a:gd name="connsiteX60" fmla="*/ 1464241 w 1747836"/>
                    <a:gd name="connsiteY60" fmla="*/ 0 h 1537719"/>
                    <a:gd name="connsiteX61" fmla="*/ 247650 w 1747836"/>
                    <a:gd name="connsiteY61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816767 w 1747836"/>
                    <a:gd name="connsiteY54" fmla="*/ 973363 h 1537719"/>
                    <a:gd name="connsiteX55" fmla="*/ 688179 w 1747836"/>
                    <a:gd name="connsiteY55" fmla="*/ 890019 h 1537719"/>
                    <a:gd name="connsiteX56" fmla="*/ 759616 w 1747836"/>
                    <a:gd name="connsiteY56" fmla="*/ 887638 h 1537719"/>
                    <a:gd name="connsiteX57" fmla="*/ 812004 w 1747836"/>
                    <a:gd name="connsiteY57" fmla="*/ 811438 h 1537719"/>
                    <a:gd name="connsiteX58" fmla="*/ 908956 w 1747836"/>
                    <a:gd name="connsiteY58" fmla="*/ 714261 h 1537719"/>
                    <a:gd name="connsiteX59" fmla="*/ 1000123 w 1747836"/>
                    <a:gd name="connsiteY59" fmla="*/ 639989 h 1537719"/>
                    <a:gd name="connsiteX60" fmla="*/ 1464467 w 1747836"/>
                    <a:gd name="connsiteY60" fmla="*/ 280420 h 1537719"/>
                    <a:gd name="connsiteX61" fmla="*/ 1464241 w 1747836"/>
                    <a:gd name="connsiteY61" fmla="*/ 0 h 1537719"/>
                    <a:gd name="connsiteX62" fmla="*/ 247650 w 1747836"/>
                    <a:gd name="connsiteY62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26279 w 1747836"/>
                    <a:gd name="connsiteY54" fmla="*/ 963838 h 1537719"/>
                    <a:gd name="connsiteX55" fmla="*/ 688179 w 1747836"/>
                    <a:gd name="connsiteY55" fmla="*/ 890019 h 1537719"/>
                    <a:gd name="connsiteX56" fmla="*/ 759616 w 1747836"/>
                    <a:gd name="connsiteY56" fmla="*/ 887638 h 1537719"/>
                    <a:gd name="connsiteX57" fmla="*/ 812004 w 1747836"/>
                    <a:gd name="connsiteY57" fmla="*/ 811438 h 1537719"/>
                    <a:gd name="connsiteX58" fmla="*/ 908956 w 1747836"/>
                    <a:gd name="connsiteY58" fmla="*/ 714261 h 1537719"/>
                    <a:gd name="connsiteX59" fmla="*/ 1000123 w 1747836"/>
                    <a:gd name="connsiteY59" fmla="*/ 639989 h 1537719"/>
                    <a:gd name="connsiteX60" fmla="*/ 1464467 w 1747836"/>
                    <a:gd name="connsiteY60" fmla="*/ 280420 h 1537719"/>
                    <a:gd name="connsiteX61" fmla="*/ 1464241 w 1747836"/>
                    <a:gd name="connsiteY61" fmla="*/ 0 h 1537719"/>
                    <a:gd name="connsiteX62" fmla="*/ 247650 w 1747836"/>
                    <a:gd name="connsiteY62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95336 w 1747836"/>
                    <a:gd name="connsiteY54" fmla="*/ 1006700 h 1537719"/>
                    <a:gd name="connsiteX55" fmla="*/ 726279 w 1747836"/>
                    <a:gd name="connsiteY55" fmla="*/ 963838 h 1537719"/>
                    <a:gd name="connsiteX56" fmla="*/ 688179 w 1747836"/>
                    <a:gd name="connsiteY56" fmla="*/ 890019 h 1537719"/>
                    <a:gd name="connsiteX57" fmla="*/ 759616 w 1747836"/>
                    <a:gd name="connsiteY57" fmla="*/ 887638 h 1537719"/>
                    <a:gd name="connsiteX58" fmla="*/ 812004 w 1747836"/>
                    <a:gd name="connsiteY58" fmla="*/ 811438 h 1537719"/>
                    <a:gd name="connsiteX59" fmla="*/ 908956 w 1747836"/>
                    <a:gd name="connsiteY59" fmla="*/ 714261 h 1537719"/>
                    <a:gd name="connsiteX60" fmla="*/ 1000123 w 1747836"/>
                    <a:gd name="connsiteY60" fmla="*/ 639989 h 1537719"/>
                    <a:gd name="connsiteX61" fmla="*/ 1464467 w 1747836"/>
                    <a:gd name="connsiteY61" fmla="*/ 280420 h 1537719"/>
                    <a:gd name="connsiteX62" fmla="*/ 1464241 w 1747836"/>
                    <a:gd name="connsiteY62" fmla="*/ 0 h 1537719"/>
                    <a:gd name="connsiteX63" fmla="*/ 247650 w 1747836"/>
                    <a:gd name="connsiteY63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659605 w 1747836"/>
                    <a:gd name="connsiteY54" fmla="*/ 956694 h 1537719"/>
                    <a:gd name="connsiteX55" fmla="*/ 726279 w 1747836"/>
                    <a:gd name="connsiteY55" fmla="*/ 963838 h 1537719"/>
                    <a:gd name="connsiteX56" fmla="*/ 688179 w 1747836"/>
                    <a:gd name="connsiteY56" fmla="*/ 890019 h 1537719"/>
                    <a:gd name="connsiteX57" fmla="*/ 759616 w 1747836"/>
                    <a:gd name="connsiteY57" fmla="*/ 887638 h 1537719"/>
                    <a:gd name="connsiteX58" fmla="*/ 812004 w 1747836"/>
                    <a:gd name="connsiteY58" fmla="*/ 811438 h 1537719"/>
                    <a:gd name="connsiteX59" fmla="*/ 908956 w 1747836"/>
                    <a:gd name="connsiteY59" fmla="*/ 714261 h 1537719"/>
                    <a:gd name="connsiteX60" fmla="*/ 1000123 w 1747836"/>
                    <a:gd name="connsiteY60" fmla="*/ 639989 h 1537719"/>
                    <a:gd name="connsiteX61" fmla="*/ 1464467 w 1747836"/>
                    <a:gd name="connsiteY61" fmla="*/ 280420 h 1537719"/>
                    <a:gd name="connsiteX62" fmla="*/ 1464241 w 1747836"/>
                    <a:gd name="connsiteY62" fmla="*/ 0 h 1537719"/>
                    <a:gd name="connsiteX63" fmla="*/ 247650 w 1747836"/>
                    <a:gd name="connsiteY63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926305 w 1747836"/>
                    <a:gd name="connsiteY54" fmla="*/ 1097188 h 1537719"/>
                    <a:gd name="connsiteX55" fmla="*/ 659605 w 1747836"/>
                    <a:gd name="connsiteY55" fmla="*/ 956694 h 1537719"/>
                    <a:gd name="connsiteX56" fmla="*/ 726279 w 1747836"/>
                    <a:gd name="connsiteY56" fmla="*/ 963838 h 1537719"/>
                    <a:gd name="connsiteX57" fmla="*/ 688179 w 1747836"/>
                    <a:gd name="connsiteY57" fmla="*/ 890019 h 1537719"/>
                    <a:gd name="connsiteX58" fmla="*/ 759616 w 1747836"/>
                    <a:gd name="connsiteY58" fmla="*/ 887638 h 1537719"/>
                    <a:gd name="connsiteX59" fmla="*/ 812004 w 1747836"/>
                    <a:gd name="connsiteY59" fmla="*/ 811438 h 1537719"/>
                    <a:gd name="connsiteX60" fmla="*/ 908956 w 1747836"/>
                    <a:gd name="connsiteY60" fmla="*/ 714261 h 1537719"/>
                    <a:gd name="connsiteX61" fmla="*/ 1000123 w 1747836"/>
                    <a:gd name="connsiteY61" fmla="*/ 639989 h 1537719"/>
                    <a:gd name="connsiteX62" fmla="*/ 1464467 w 1747836"/>
                    <a:gd name="connsiteY62" fmla="*/ 280420 h 1537719"/>
                    <a:gd name="connsiteX63" fmla="*/ 1464241 w 1747836"/>
                    <a:gd name="connsiteY63" fmla="*/ 0 h 1537719"/>
                    <a:gd name="connsiteX64" fmla="*/ 247650 w 1747836"/>
                    <a:gd name="connsiteY64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631030 w 1747836"/>
                    <a:gd name="connsiteY54" fmla="*/ 1016225 h 1537719"/>
                    <a:gd name="connsiteX55" fmla="*/ 659605 w 1747836"/>
                    <a:gd name="connsiteY55" fmla="*/ 956694 h 1537719"/>
                    <a:gd name="connsiteX56" fmla="*/ 726279 w 1747836"/>
                    <a:gd name="connsiteY56" fmla="*/ 963838 h 1537719"/>
                    <a:gd name="connsiteX57" fmla="*/ 688179 w 1747836"/>
                    <a:gd name="connsiteY57" fmla="*/ 890019 h 1537719"/>
                    <a:gd name="connsiteX58" fmla="*/ 759616 w 1747836"/>
                    <a:gd name="connsiteY58" fmla="*/ 887638 h 1537719"/>
                    <a:gd name="connsiteX59" fmla="*/ 812004 w 1747836"/>
                    <a:gd name="connsiteY59" fmla="*/ 811438 h 1537719"/>
                    <a:gd name="connsiteX60" fmla="*/ 908956 w 1747836"/>
                    <a:gd name="connsiteY60" fmla="*/ 714261 h 1537719"/>
                    <a:gd name="connsiteX61" fmla="*/ 1000123 w 1747836"/>
                    <a:gd name="connsiteY61" fmla="*/ 639989 h 1537719"/>
                    <a:gd name="connsiteX62" fmla="*/ 1464467 w 1747836"/>
                    <a:gd name="connsiteY62" fmla="*/ 280420 h 1537719"/>
                    <a:gd name="connsiteX63" fmla="*/ 1464241 w 1747836"/>
                    <a:gd name="connsiteY63" fmla="*/ 0 h 1537719"/>
                    <a:gd name="connsiteX64" fmla="*/ 247650 w 1747836"/>
                    <a:gd name="connsiteY64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826292 w 1747836"/>
                    <a:gd name="connsiteY54" fmla="*/ 1106713 h 1537719"/>
                    <a:gd name="connsiteX55" fmla="*/ 631030 w 1747836"/>
                    <a:gd name="connsiteY55" fmla="*/ 1016225 h 1537719"/>
                    <a:gd name="connsiteX56" fmla="*/ 659605 w 1747836"/>
                    <a:gd name="connsiteY56" fmla="*/ 956694 h 1537719"/>
                    <a:gd name="connsiteX57" fmla="*/ 726279 w 1747836"/>
                    <a:gd name="connsiteY57" fmla="*/ 963838 h 1537719"/>
                    <a:gd name="connsiteX58" fmla="*/ 688179 w 1747836"/>
                    <a:gd name="connsiteY58" fmla="*/ 890019 h 1537719"/>
                    <a:gd name="connsiteX59" fmla="*/ 759616 w 1747836"/>
                    <a:gd name="connsiteY59" fmla="*/ 887638 h 1537719"/>
                    <a:gd name="connsiteX60" fmla="*/ 812004 w 1747836"/>
                    <a:gd name="connsiteY60" fmla="*/ 811438 h 1537719"/>
                    <a:gd name="connsiteX61" fmla="*/ 908956 w 1747836"/>
                    <a:gd name="connsiteY61" fmla="*/ 714261 h 1537719"/>
                    <a:gd name="connsiteX62" fmla="*/ 1000123 w 1747836"/>
                    <a:gd name="connsiteY62" fmla="*/ 639989 h 1537719"/>
                    <a:gd name="connsiteX63" fmla="*/ 1464467 w 1747836"/>
                    <a:gd name="connsiteY63" fmla="*/ 280420 h 1537719"/>
                    <a:gd name="connsiteX64" fmla="*/ 1464241 w 1747836"/>
                    <a:gd name="connsiteY64" fmla="*/ 0 h 1537719"/>
                    <a:gd name="connsiteX65" fmla="*/ 247650 w 1747836"/>
                    <a:gd name="connsiteY65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614361 w 1747836"/>
                    <a:gd name="connsiteY54" fmla="*/ 1059088 h 1537719"/>
                    <a:gd name="connsiteX55" fmla="*/ 631030 w 1747836"/>
                    <a:gd name="connsiteY55" fmla="*/ 1016225 h 1537719"/>
                    <a:gd name="connsiteX56" fmla="*/ 659605 w 1747836"/>
                    <a:gd name="connsiteY56" fmla="*/ 956694 h 1537719"/>
                    <a:gd name="connsiteX57" fmla="*/ 726279 w 1747836"/>
                    <a:gd name="connsiteY57" fmla="*/ 963838 h 1537719"/>
                    <a:gd name="connsiteX58" fmla="*/ 688179 w 1747836"/>
                    <a:gd name="connsiteY58" fmla="*/ 890019 h 1537719"/>
                    <a:gd name="connsiteX59" fmla="*/ 759616 w 1747836"/>
                    <a:gd name="connsiteY59" fmla="*/ 887638 h 1537719"/>
                    <a:gd name="connsiteX60" fmla="*/ 812004 w 1747836"/>
                    <a:gd name="connsiteY60" fmla="*/ 811438 h 1537719"/>
                    <a:gd name="connsiteX61" fmla="*/ 908956 w 1747836"/>
                    <a:gd name="connsiteY61" fmla="*/ 714261 h 1537719"/>
                    <a:gd name="connsiteX62" fmla="*/ 1000123 w 1747836"/>
                    <a:gd name="connsiteY62" fmla="*/ 639989 h 1537719"/>
                    <a:gd name="connsiteX63" fmla="*/ 1464467 w 1747836"/>
                    <a:gd name="connsiteY63" fmla="*/ 280420 h 1537719"/>
                    <a:gd name="connsiteX64" fmla="*/ 1464241 w 1747836"/>
                    <a:gd name="connsiteY64" fmla="*/ 0 h 1537719"/>
                    <a:gd name="connsiteX65" fmla="*/ 247650 w 1747836"/>
                    <a:gd name="connsiteY65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16755 w 1747836"/>
                    <a:gd name="connsiteY54" fmla="*/ 1104332 h 1537719"/>
                    <a:gd name="connsiteX55" fmla="*/ 614361 w 1747836"/>
                    <a:gd name="connsiteY55" fmla="*/ 1059088 h 1537719"/>
                    <a:gd name="connsiteX56" fmla="*/ 631030 w 1747836"/>
                    <a:gd name="connsiteY56" fmla="*/ 1016225 h 1537719"/>
                    <a:gd name="connsiteX57" fmla="*/ 659605 w 1747836"/>
                    <a:gd name="connsiteY57" fmla="*/ 956694 h 1537719"/>
                    <a:gd name="connsiteX58" fmla="*/ 726279 w 1747836"/>
                    <a:gd name="connsiteY58" fmla="*/ 963838 h 1537719"/>
                    <a:gd name="connsiteX59" fmla="*/ 688179 w 1747836"/>
                    <a:gd name="connsiteY59" fmla="*/ 890019 h 1537719"/>
                    <a:gd name="connsiteX60" fmla="*/ 759616 w 1747836"/>
                    <a:gd name="connsiteY60" fmla="*/ 887638 h 1537719"/>
                    <a:gd name="connsiteX61" fmla="*/ 812004 w 1747836"/>
                    <a:gd name="connsiteY61" fmla="*/ 811438 h 1537719"/>
                    <a:gd name="connsiteX62" fmla="*/ 908956 w 1747836"/>
                    <a:gd name="connsiteY62" fmla="*/ 714261 h 1537719"/>
                    <a:gd name="connsiteX63" fmla="*/ 1000123 w 1747836"/>
                    <a:gd name="connsiteY63" fmla="*/ 639989 h 1537719"/>
                    <a:gd name="connsiteX64" fmla="*/ 1464467 w 1747836"/>
                    <a:gd name="connsiteY64" fmla="*/ 280420 h 1537719"/>
                    <a:gd name="connsiteX65" fmla="*/ 1464241 w 1747836"/>
                    <a:gd name="connsiteY65" fmla="*/ 0 h 1537719"/>
                    <a:gd name="connsiteX66" fmla="*/ 247650 w 1747836"/>
                    <a:gd name="connsiteY66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673893 w 1747836"/>
                    <a:gd name="connsiteY54" fmla="*/ 1061469 h 1537719"/>
                    <a:gd name="connsiteX55" fmla="*/ 614361 w 1747836"/>
                    <a:gd name="connsiteY55" fmla="*/ 1059088 h 1537719"/>
                    <a:gd name="connsiteX56" fmla="*/ 631030 w 1747836"/>
                    <a:gd name="connsiteY56" fmla="*/ 1016225 h 1537719"/>
                    <a:gd name="connsiteX57" fmla="*/ 659605 w 1747836"/>
                    <a:gd name="connsiteY57" fmla="*/ 956694 h 1537719"/>
                    <a:gd name="connsiteX58" fmla="*/ 726279 w 1747836"/>
                    <a:gd name="connsiteY58" fmla="*/ 963838 h 1537719"/>
                    <a:gd name="connsiteX59" fmla="*/ 688179 w 1747836"/>
                    <a:gd name="connsiteY59" fmla="*/ 890019 h 1537719"/>
                    <a:gd name="connsiteX60" fmla="*/ 759616 w 1747836"/>
                    <a:gd name="connsiteY60" fmla="*/ 887638 h 1537719"/>
                    <a:gd name="connsiteX61" fmla="*/ 812004 w 1747836"/>
                    <a:gd name="connsiteY61" fmla="*/ 811438 h 1537719"/>
                    <a:gd name="connsiteX62" fmla="*/ 908956 w 1747836"/>
                    <a:gd name="connsiteY62" fmla="*/ 714261 h 1537719"/>
                    <a:gd name="connsiteX63" fmla="*/ 1000123 w 1747836"/>
                    <a:gd name="connsiteY63" fmla="*/ 639989 h 1537719"/>
                    <a:gd name="connsiteX64" fmla="*/ 1464467 w 1747836"/>
                    <a:gd name="connsiteY64" fmla="*/ 280420 h 1537719"/>
                    <a:gd name="connsiteX65" fmla="*/ 1464241 w 1747836"/>
                    <a:gd name="connsiteY65" fmla="*/ 0 h 1537719"/>
                    <a:gd name="connsiteX66" fmla="*/ 247650 w 1747836"/>
                    <a:gd name="connsiteY66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40567 w 1747836"/>
                    <a:gd name="connsiteY54" fmla="*/ 1094807 h 1537719"/>
                    <a:gd name="connsiteX55" fmla="*/ 673893 w 1747836"/>
                    <a:gd name="connsiteY55" fmla="*/ 1061469 h 1537719"/>
                    <a:gd name="connsiteX56" fmla="*/ 614361 w 1747836"/>
                    <a:gd name="connsiteY56" fmla="*/ 1059088 h 1537719"/>
                    <a:gd name="connsiteX57" fmla="*/ 631030 w 1747836"/>
                    <a:gd name="connsiteY57" fmla="*/ 1016225 h 1537719"/>
                    <a:gd name="connsiteX58" fmla="*/ 659605 w 1747836"/>
                    <a:gd name="connsiteY58" fmla="*/ 956694 h 1537719"/>
                    <a:gd name="connsiteX59" fmla="*/ 726279 w 1747836"/>
                    <a:gd name="connsiteY59" fmla="*/ 963838 h 1537719"/>
                    <a:gd name="connsiteX60" fmla="*/ 688179 w 1747836"/>
                    <a:gd name="connsiteY60" fmla="*/ 890019 h 1537719"/>
                    <a:gd name="connsiteX61" fmla="*/ 759616 w 1747836"/>
                    <a:gd name="connsiteY61" fmla="*/ 887638 h 1537719"/>
                    <a:gd name="connsiteX62" fmla="*/ 812004 w 1747836"/>
                    <a:gd name="connsiteY62" fmla="*/ 811438 h 1537719"/>
                    <a:gd name="connsiteX63" fmla="*/ 908956 w 1747836"/>
                    <a:gd name="connsiteY63" fmla="*/ 714261 h 1537719"/>
                    <a:gd name="connsiteX64" fmla="*/ 1000123 w 1747836"/>
                    <a:gd name="connsiteY64" fmla="*/ 639989 h 1537719"/>
                    <a:gd name="connsiteX65" fmla="*/ 1464467 w 1747836"/>
                    <a:gd name="connsiteY65" fmla="*/ 280420 h 1537719"/>
                    <a:gd name="connsiteX66" fmla="*/ 1464241 w 1747836"/>
                    <a:gd name="connsiteY66" fmla="*/ 0 h 1537719"/>
                    <a:gd name="connsiteX67" fmla="*/ 247650 w 1747836"/>
                    <a:gd name="connsiteY67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31042 w 1747836"/>
                    <a:gd name="connsiteY54" fmla="*/ 1082901 h 1537719"/>
                    <a:gd name="connsiteX55" fmla="*/ 673893 w 1747836"/>
                    <a:gd name="connsiteY55" fmla="*/ 1061469 h 1537719"/>
                    <a:gd name="connsiteX56" fmla="*/ 614361 w 1747836"/>
                    <a:gd name="connsiteY56" fmla="*/ 1059088 h 1537719"/>
                    <a:gd name="connsiteX57" fmla="*/ 631030 w 1747836"/>
                    <a:gd name="connsiteY57" fmla="*/ 1016225 h 1537719"/>
                    <a:gd name="connsiteX58" fmla="*/ 659605 w 1747836"/>
                    <a:gd name="connsiteY58" fmla="*/ 956694 h 1537719"/>
                    <a:gd name="connsiteX59" fmla="*/ 726279 w 1747836"/>
                    <a:gd name="connsiteY59" fmla="*/ 963838 h 1537719"/>
                    <a:gd name="connsiteX60" fmla="*/ 688179 w 1747836"/>
                    <a:gd name="connsiteY60" fmla="*/ 890019 h 1537719"/>
                    <a:gd name="connsiteX61" fmla="*/ 759616 w 1747836"/>
                    <a:gd name="connsiteY61" fmla="*/ 887638 h 1537719"/>
                    <a:gd name="connsiteX62" fmla="*/ 812004 w 1747836"/>
                    <a:gd name="connsiteY62" fmla="*/ 811438 h 1537719"/>
                    <a:gd name="connsiteX63" fmla="*/ 908956 w 1747836"/>
                    <a:gd name="connsiteY63" fmla="*/ 714261 h 1537719"/>
                    <a:gd name="connsiteX64" fmla="*/ 1000123 w 1747836"/>
                    <a:gd name="connsiteY64" fmla="*/ 639989 h 1537719"/>
                    <a:gd name="connsiteX65" fmla="*/ 1464467 w 1747836"/>
                    <a:gd name="connsiteY65" fmla="*/ 280420 h 1537719"/>
                    <a:gd name="connsiteX66" fmla="*/ 1464241 w 1747836"/>
                    <a:gd name="connsiteY66" fmla="*/ 0 h 1537719"/>
                    <a:gd name="connsiteX67" fmla="*/ 247650 w 1747836"/>
                    <a:gd name="connsiteY67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78667 w 1747836"/>
                    <a:gd name="connsiteY54" fmla="*/ 1109094 h 1537719"/>
                    <a:gd name="connsiteX55" fmla="*/ 731042 w 1747836"/>
                    <a:gd name="connsiteY55" fmla="*/ 1082901 h 1537719"/>
                    <a:gd name="connsiteX56" fmla="*/ 673893 w 1747836"/>
                    <a:gd name="connsiteY56" fmla="*/ 1061469 h 1537719"/>
                    <a:gd name="connsiteX57" fmla="*/ 614361 w 1747836"/>
                    <a:gd name="connsiteY57" fmla="*/ 1059088 h 1537719"/>
                    <a:gd name="connsiteX58" fmla="*/ 631030 w 1747836"/>
                    <a:gd name="connsiteY58" fmla="*/ 1016225 h 1537719"/>
                    <a:gd name="connsiteX59" fmla="*/ 659605 w 1747836"/>
                    <a:gd name="connsiteY59" fmla="*/ 956694 h 1537719"/>
                    <a:gd name="connsiteX60" fmla="*/ 726279 w 1747836"/>
                    <a:gd name="connsiteY60" fmla="*/ 963838 h 1537719"/>
                    <a:gd name="connsiteX61" fmla="*/ 688179 w 1747836"/>
                    <a:gd name="connsiteY61" fmla="*/ 890019 h 1537719"/>
                    <a:gd name="connsiteX62" fmla="*/ 759616 w 1747836"/>
                    <a:gd name="connsiteY62" fmla="*/ 887638 h 1537719"/>
                    <a:gd name="connsiteX63" fmla="*/ 812004 w 1747836"/>
                    <a:gd name="connsiteY63" fmla="*/ 811438 h 1537719"/>
                    <a:gd name="connsiteX64" fmla="*/ 908956 w 1747836"/>
                    <a:gd name="connsiteY64" fmla="*/ 714261 h 1537719"/>
                    <a:gd name="connsiteX65" fmla="*/ 1000123 w 1747836"/>
                    <a:gd name="connsiteY65" fmla="*/ 639989 h 1537719"/>
                    <a:gd name="connsiteX66" fmla="*/ 1464467 w 1747836"/>
                    <a:gd name="connsiteY66" fmla="*/ 280420 h 1537719"/>
                    <a:gd name="connsiteX67" fmla="*/ 1464241 w 1747836"/>
                    <a:gd name="connsiteY67" fmla="*/ 0 h 1537719"/>
                    <a:gd name="connsiteX68" fmla="*/ 247650 w 1747836"/>
                    <a:gd name="connsiteY68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35805 w 1747836"/>
                    <a:gd name="connsiteY54" fmla="*/ 1116238 h 1537719"/>
                    <a:gd name="connsiteX55" fmla="*/ 731042 w 1747836"/>
                    <a:gd name="connsiteY55" fmla="*/ 1082901 h 1537719"/>
                    <a:gd name="connsiteX56" fmla="*/ 673893 w 1747836"/>
                    <a:gd name="connsiteY56" fmla="*/ 1061469 h 1537719"/>
                    <a:gd name="connsiteX57" fmla="*/ 614361 w 1747836"/>
                    <a:gd name="connsiteY57" fmla="*/ 1059088 h 1537719"/>
                    <a:gd name="connsiteX58" fmla="*/ 631030 w 1747836"/>
                    <a:gd name="connsiteY58" fmla="*/ 1016225 h 1537719"/>
                    <a:gd name="connsiteX59" fmla="*/ 659605 w 1747836"/>
                    <a:gd name="connsiteY59" fmla="*/ 956694 h 1537719"/>
                    <a:gd name="connsiteX60" fmla="*/ 726279 w 1747836"/>
                    <a:gd name="connsiteY60" fmla="*/ 963838 h 1537719"/>
                    <a:gd name="connsiteX61" fmla="*/ 688179 w 1747836"/>
                    <a:gd name="connsiteY61" fmla="*/ 890019 h 1537719"/>
                    <a:gd name="connsiteX62" fmla="*/ 759616 w 1747836"/>
                    <a:gd name="connsiteY62" fmla="*/ 887638 h 1537719"/>
                    <a:gd name="connsiteX63" fmla="*/ 812004 w 1747836"/>
                    <a:gd name="connsiteY63" fmla="*/ 811438 h 1537719"/>
                    <a:gd name="connsiteX64" fmla="*/ 908956 w 1747836"/>
                    <a:gd name="connsiteY64" fmla="*/ 714261 h 1537719"/>
                    <a:gd name="connsiteX65" fmla="*/ 1000123 w 1747836"/>
                    <a:gd name="connsiteY65" fmla="*/ 639989 h 1537719"/>
                    <a:gd name="connsiteX66" fmla="*/ 1464467 w 1747836"/>
                    <a:gd name="connsiteY66" fmla="*/ 280420 h 1537719"/>
                    <a:gd name="connsiteX67" fmla="*/ 1464241 w 1747836"/>
                    <a:gd name="connsiteY67" fmla="*/ 0 h 1537719"/>
                    <a:gd name="connsiteX68" fmla="*/ 247650 w 1747836"/>
                    <a:gd name="connsiteY68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97717 w 1747836"/>
                    <a:gd name="connsiteY54" fmla="*/ 1142432 h 1537719"/>
                    <a:gd name="connsiteX55" fmla="*/ 735805 w 1747836"/>
                    <a:gd name="connsiteY55" fmla="*/ 1116238 h 1537719"/>
                    <a:gd name="connsiteX56" fmla="*/ 731042 w 1747836"/>
                    <a:gd name="connsiteY56" fmla="*/ 1082901 h 1537719"/>
                    <a:gd name="connsiteX57" fmla="*/ 673893 w 1747836"/>
                    <a:gd name="connsiteY57" fmla="*/ 1061469 h 1537719"/>
                    <a:gd name="connsiteX58" fmla="*/ 614361 w 1747836"/>
                    <a:gd name="connsiteY58" fmla="*/ 1059088 h 1537719"/>
                    <a:gd name="connsiteX59" fmla="*/ 631030 w 1747836"/>
                    <a:gd name="connsiteY59" fmla="*/ 1016225 h 1537719"/>
                    <a:gd name="connsiteX60" fmla="*/ 659605 w 1747836"/>
                    <a:gd name="connsiteY60" fmla="*/ 956694 h 1537719"/>
                    <a:gd name="connsiteX61" fmla="*/ 726279 w 1747836"/>
                    <a:gd name="connsiteY61" fmla="*/ 963838 h 1537719"/>
                    <a:gd name="connsiteX62" fmla="*/ 688179 w 1747836"/>
                    <a:gd name="connsiteY62" fmla="*/ 890019 h 1537719"/>
                    <a:gd name="connsiteX63" fmla="*/ 759616 w 1747836"/>
                    <a:gd name="connsiteY63" fmla="*/ 887638 h 1537719"/>
                    <a:gd name="connsiteX64" fmla="*/ 812004 w 1747836"/>
                    <a:gd name="connsiteY64" fmla="*/ 811438 h 1537719"/>
                    <a:gd name="connsiteX65" fmla="*/ 908956 w 1747836"/>
                    <a:gd name="connsiteY65" fmla="*/ 714261 h 1537719"/>
                    <a:gd name="connsiteX66" fmla="*/ 1000123 w 1747836"/>
                    <a:gd name="connsiteY66" fmla="*/ 639989 h 1537719"/>
                    <a:gd name="connsiteX67" fmla="*/ 1464467 w 1747836"/>
                    <a:gd name="connsiteY67" fmla="*/ 280420 h 1537719"/>
                    <a:gd name="connsiteX68" fmla="*/ 1464241 w 1747836"/>
                    <a:gd name="connsiteY68" fmla="*/ 0 h 1537719"/>
                    <a:gd name="connsiteX69" fmla="*/ 247650 w 1747836"/>
                    <a:gd name="connsiteY69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804861 w 1747836"/>
                    <a:gd name="connsiteY54" fmla="*/ 1094807 h 1537719"/>
                    <a:gd name="connsiteX55" fmla="*/ 735805 w 1747836"/>
                    <a:gd name="connsiteY55" fmla="*/ 1116238 h 1537719"/>
                    <a:gd name="connsiteX56" fmla="*/ 731042 w 1747836"/>
                    <a:gd name="connsiteY56" fmla="*/ 1082901 h 1537719"/>
                    <a:gd name="connsiteX57" fmla="*/ 673893 w 1747836"/>
                    <a:gd name="connsiteY57" fmla="*/ 1061469 h 1537719"/>
                    <a:gd name="connsiteX58" fmla="*/ 614361 w 1747836"/>
                    <a:gd name="connsiteY58" fmla="*/ 1059088 h 1537719"/>
                    <a:gd name="connsiteX59" fmla="*/ 631030 w 1747836"/>
                    <a:gd name="connsiteY59" fmla="*/ 1016225 h 1537719"/>
                    <a:gd name="connsiteX60" fmla="*/ 659605 w 1747836"/>
                    <a:gd name="connsiteY60" fmla="*/ 956694 h 1537719"/>
                    <a:gd name="connsiteX61" fmla="*/ 726279 w 1747836"/>
                    <a:gd name="connsiteY61" fmla="*/ 963838 h 1537719"/>
                    <a:gd name="connsiteX62" fmla="*/ 688179 w 1747836"/>
                    <a:gd name="connsiteY62" fmla="*/ 890019 h 1537719"/>
                    <a:gd name="connsiteX63" fmla="*/ 759616 w 1747836"/>
                    <a:gd name="connsiteY63" fmla="*/ 887638 h 1537719"/>
                    <a:gd name="connsiteX64" fmla="*/ 812004 w 1747836"/>
                    <a:gd name="connsiteY64" fmla="*/ 811438 h 1537719"/>
                    <a:gd name="connsiteX65" fmla="*/ 908956 w 1747836"/>
                    <a:gd name="connsiteY65" fmla="*/ 714261 h 1537719"/>
                    <a:gd name="connsiteX66" fmla="*/ 1000123 w 1747836"/>
                    <a:gd name="connsiteY66" fmla="*/ 639989 h 1537719"/>
                    <a:gd name="connsiteX67" fmla="*/ 1464467 w 1747836"/>
                    <a:gd name="connsiteY67" fmla="*/ 280420 h 1537719"/>
                    <a:gd name="connsiteX68" fmla="*/ 1464241 w 1747836"/>
                    <a:gd name="connsiteY68" fmla="*/ 0 h 1537719"/>
                    <a:gd name="connsiteX69" fmla="*/ 247650 w 1747836"/>
                    <a:gd name="connsiteY69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1207292 w 1747836"/>
                    <a:gd name="connsiteY54" fmla="*/ 1285307 h 1537719"/>
                    <a:gd name="connsiteX55" fmla="*/ 804861 w 1747836"/>
                    <a:gd name="connsiteY55" fmla="*/ 1094807 h 1537719"/>
                    <a:gd name="connsiteX56" fmla="*/ 735805 w 1747836"/>
                    <a:gd name="connsiteY56" fmla="*/ 1116238 h 1537719"/>
                    <a:gd name="connsiteX57" fmla="*/ 731042 w 1747836"/>
                    <a:gd name="connsiteY57" fmla="*/ 1082901 h 1537719"/>
                    <a:gd name="connsiteX58" fmla="*/ 673893 w 1747836"/>
                    <a:gd name="connsiteY58" fmla="*/ 1061469 h 1537719"/>
                    <a:gd name="connsiteX59" fmla="*/ 614361 w 1747836"/>
                    <a:gd name="connsiteY59" fmla="*/ 1059088 h 1537719"/>
                    <a:gd name="connsiteX60" fmla="*/ 631030 w 1747836"/>
                    <a:gd name="connsiteY60" fmla="*/ 1016225 h 1537719"/>
                    <a:gd name="connsiteX61" fmla="*/ 659605 w 1747836"/>
                    <a:gd name="connsiteY61" fmla="*/ 956694 h 1537719"/>
                    <a:gd name="connsiteX62" fmla="*/ 726279 w 1747836"/>
                    <a:gd name="connsiteY62" fmla="*/ 963838 h 1537719"/>
                    <a:gd name="connsiteX63" fmla="*/ 688179 w 1747836"/>
                    <a:gd name="connsiteY63" fmla="*/ 890019 h 1537719"/>
                    <a:gd name="connsiteX64" fmla="*/ 759616 w 1747836"/>
                    <a:gd name="connsiteY64" fmla="*/ 887638 h 1537719"/>
                    <a:gd name="connsiteX65" fmla="*/ 812004 w 1747836"/>
                    <a:gd name="connsiteY65" fmla="*/ 811438 h 1537719"/>
                    <a:gd name="connsiteX66" fmla="*/ 908956 w 1747836"/>
                    <a:gd name="connsiteY66" fmla="*/ 714261 h 1537719"/>
                    <a:gd name="connsiteX67" fmla="*/ 1000123 w 1747836"/>
                    <a:gd name="connsiteY67" fmla="*/ 639989 h 1537719"/>
                    <a:gd name="connsiteX68" fmla="*/ 1464467 w 1747836"/>
                    <a:gd name="connsiteY68" fmla="*/ 280420 h 1537719"/>
                    <a:gd name="connsiteX69" fmla="*/ 1464241 w 1747836"/>
                    <a:gd name="connsiteY69" fmla="*/ 0 h 1537719"/>
                    <a:gd name="connsiteX70" fmla="*/ 247650 w 1747836"/>
                    <a:gd name="connsiteY70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835817 w 1747836"/>
                    <a:gd name="connsiteY54" fmla="*/ 1132907 h 1537719"/>
                    <a:gd name="connsiteX55" fmla="*/ 804861 w 1747836"/>
                    <a:gd name="connsiteY55" fmla="*/ 1094807 h 1537719"/>
                    <a:gd name="connsiteX56" fmla="*/ 735805 w 1747836"/>
                    <a:gd name="connsiteY56" fmla="*/ 1116238 h 1537719"/>
                    <a:gd name="connsiteX57" fmla="*/ 731042 w 1747836"/>
                    <a:gd name="connsiteY57" fmla="*/ 1082901 h 1537719"/>
                    <a:gd name="connsiteX58" fmla="*/ 673893 w 1747836"/>
                    <a:gd name="connsiteY58" fmla="*/ 1061469 h 1537719"/>
                    <a:gd name="connsiteX59" fmla="*/ 614361 w 1747836"/>
                    <a:gd name="connsiteY59" fmla="*/ 1059088 h 1537719"/>
                    <a:gd name="connsiteX60" fmla="*/ 631030 w 1747836"/>
                    <a:gd name="connsiteY60" fmla="*/ 1016225 h 1537719"/>
                    <a:gd name="connsiteX61" fmla="*/ 659605 w 1747836"/>
                    <a:gd name="connsiteY61" fmla="*/ 956694 h 1537719"/>
                    <a:gd name="connsiteX62" fmla="*/ 726279 w 1747836"/>
                    <a:gd name="connsiteY62" fmla="*/ 963838 h 1537719"/>
                    <a:gd name="connsiteX63" fmla="*/ 688179 w 1747836"/>
                    <a:gd name="connsiteY63" fmla="*/ 890019 h 1537719"/>
                    <a:gd name="connsiteX64" fmla="*/ 759616 w 1747836"/>
                    <a:gd name="connsiteY64" fmla="*/ 887638 h 1537719"/>
                    <a:gd name="connsiteX65" fmla="*/ 812004 w 1747836"/>
                    <a:gd name="connsiteY65" fmla="*/ 811438 h 1537719"/>
                    <a:gd name="connsiteX66" fmla="*/ 908956 w 1747836"/>
                    <a:gd name="connsiteY66" fmla="*/ 714261 h 1537719"/>
                    <a:gd name="connsiteX67" fmla="*/ 1000123 w 1747836"/>
                    <a:gd name="connsiteY67" fmla="*/ 639989 h 1537719"/>
                    <a:gd name="connsiteX68" fmla="*/ 1464467 w 1747836"/>
                    <a:gd name="connsiteY68" fmla="*/ 280420 h 1537719"/>
                    <a:gd name="connsiteX69" fmla="*/ 1464241 w 1747836"/>
                    <a:gd name="connsiteY69" fmla="*/ 0 h 1537719"/>
                    <a:gd name="connsiteX70" fmla="*/ 247650 w 1747836"/>
                    <a:gd name="connsiteY70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1181098 w 1747836"/>
                    <a:gd name="connsiteY54" fmla="*/ 1285307 h 1537719"/>
                    <a:gd name="connsiteX55" fmla="*/ 835817 w 1747836"/>
                    <a:gd name="connsiteY55" fmla="*/ 1132907 h 1537719"/>
                    <a:gd name="connsiteX56" fmla="*/ 804861 w 1747836"/>
                    <a:gd name="connsiteY56" fmla="*/ 1094807 h 1537719"/>
                    <a:gd name="connsiteX57" fmla="*/ 735805 w 1747836"/>
                    <a:gd name="connsiteY57" fmla="*/ 1116238 h 1537719"/>
                    <a:gd name="connsiteX58" fmla="*/ 731042 w 1747836"/>
                    <a:gd name="connsiteY58" fmla="*/ 1082901 h 1537719"/>
                    <a:gd name="connsiteX59" fmla="*/ 673893 w 1747836"/>
                    <a:gd name="connsiteY59" fmla="*/ 1061469 h 1537719"/>
                    <a:gd name="connsiteX60" fmla="*/ 614361 w 1747836"/>
                    <a:gd name="connsiteY60" fmla="*/ 1059088 h 1537719"/>
                    <a:gd name="connsiteX61" fmla="*/ 631030 w 1747836"/>
                    <a:gd name="connsiteY61" fmla="*/ 1016225 h 1537719"/>
                    <a:gd name="connsiteX62" fmla="*/ 659605 w 1747836"/>
                    <a:gd name="connsiteY62" fmla="*/ 956694 h 1537719"/>
                    <a:gd name="connsiteX63" fmla="*/ 726279 w 1747836"/>
                    <a:gd name="connsiteY63" fmla="*/ 963838 h 1537719"/>
                    <a:gd name="connsiteX64" fmla="*/ 688179 w 1747836"/>
                    <a:gd name="connsiteY64" fmla="*/ 890019 h 1537719"/>
                    <a:gd name="connsiteX65" fmla="*/ 759616 w 1747836"/>
                    <a:gd name="connsiteY65" fmla="*/ 887638 h 1537719"/>
                    <a:gd name="connsiteX66" fmla="*/ 812004 w 1747836"/>
                    <a:gd name="connsiteY66" fmla="*/ 811438 h 1537719"/>
                    <a:gd name="connsiteX67" fmla="*/ 908956 w 1747836"/>
                    <a:gd name="connsiteY67" fmla="*/ 714261 h 1537719"/>
                    <a:gd name="connsiteX68" fmla="*/ 1000123 w 1747836"/>
                    <a:gd name="connsiteY68" fmla="*/ 639989 h 1537719"/>
                    <a:gd name="connsiteX69" fmla="*/ 1464467 w 1747836"/>
                    <a:gd name="connsiteY69" fmla="*/ 280420 h 1537719"/>
                    <a:gd name="connsiteX70" fmla="*/ 1464241 w 1747836"/>
                    <a:gd name="connsiteY70" fmla="*/ 0 h 1537719"/>
                    <a:gd name="connsiteX71" fmla="*/ 247650 w 1747836"/>
                    <a:gd name="connsiteY71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45329 w 1747836"/>
                    <a:gd name="connsiteY54" fmla="*/ 1185294 h 1537719"/>
                    <a:gd name="connsiteX55" fmla="*/ 835817 w 1747836"/>
                    <a:gd name="connsiteY55" fmla="*/ 1132907 h 1537719"/>
                    <a:gd name="connsiteX56" fmla="*/ 804861 w 1747836"/>
                    <a:gd name="connsiteY56" fmla="*/ 1094807 h 1537719"/>
                    <a:gd name="connsiteX57" fmla="*/ 735805 w 1747836"/>
                    <a:gd name="connsiteY57" fmla="*/ 1116238 h 1537719"/>
                    <a:gd name="connsiteX58" fmla="*/ 731042 w 1747836"/>
                    <a:gd name="connsiteY58" fmla="*/ 1082901 h 1537719"/>
                    <a:gd name="connsiteX59" fmla="*/ 673893 w 1747836"/>
                    <a:gd name="connsiteY59" fmla="*/ 1061469 h 1537719"/>
                    <a:gd name="connsiteX60" fmla="*/ 614361 w 1747836"/>
                    <a:gd name="connsiteY60" fmla="*/ 1059088 h 1537719"/>
                    <a:gd name="connsiteX61" fmla="*/ 631030 w 1747836"/>
                    <a:gd name="connsiteY61" fmla="*/ 1016225 h 1537719"/>
                    <a:gd name="connsiteX62" fmla="*/ 659605 w 1747836"/>
                    <a:gd name="connsiteY62" fmla="*/ 956694 h 1537719"/>
                    <a:gd name="connsiteX63" fmla="*/ 726279 w 1747836"/>
                    <a:gd name="connsiteY63" fmla="*/ 963838 h 1537719"/>
                    <a:gd name="connsiteX64" fmla="*/ 688179 w 1747836"/>
                    <a:gd name="connsiteY64" fmla="*/ 890019 h 1537719"/>
                    <a:gd name="connsiteX65" fmla="*/ 759616 w 1747836"/>
                    <a:gd name="connsiteY65" fmla="*/ 887638 h 1537719"/>
                    <a:gd name="connsiteX66" fmla="*/ 812004 w 1747836"/>
                    <a:gd name="connsiteY66" fmla="*/ 811438 h 1537719"/>
                    <a:gd name="connsiteX67" fmla="*/ 908956 w 1747836"/>
                    <a:gd name="connsiteY67" fmla="*/ 714261 h 1537719"/>
                    <a:gd name="connsiteX68" fmla="*/ 1000123 w 1747836"/>
                    <a:gd name="connsiteY68" fmla="*/ 639989 h 1537719"/>
                    <a:gd name="connsiteX69" fmla="*/ 1464467 w 1747836"/>
                    <a:gd name="connsiteY69" fmla="*/ 280420 h 1537719"/>
                    <a:gd name="connsiteX70" fmla="*/ 1464241 w 1747836"/>
                    <a:gd name="connsiteY70" fmla="*/ 0 h 1537719"/>
                    <a:gd name="connsiteX71" fmla="*/ 247650 w 1747836"/>
                    <a:gd name="connsiteY71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862011 w 1747836"/>
                    <a:gd name="connsiteY54" fmla="*/ 1230538 h 1537719"/>
                    <a:gd name="connsiteX55" fmla="*/ 745329 w 1747836"/>
                    <a:gd name="connsiteY55" fmla="*/ 1185294 h 1537719"/>
                    <a:gd name="connsiteX56" fmla="*/ 835817 w 1747836"/>
                    <a:gd name="connsiteY56" fmla="*/ 1132907 h 1537719"/>
                    <a:gd name="connsiteX57" fmla="*/ 804861 w 1747836"/>
                    <a:gd name="connsiteY57" fmla="*/ 1094807 h 1537719"/>
                    <a:gd name="connsiteX58" fmla="*/ 735805 w 1747836"/>
                    <a:gd name="connsiteY58" fmla="*/ 1116238 h 1537719"/>
                    <a:gd name="connsiteX59" fmla="*/ 731042 w 1747836"/>
                    <a:gd name="connsiteY59" fmla="*/ 1082901 h 1537719"/>
                    <a:gd name="connsiteX60" fmla="*/ 673893 w 1747836"/>
                    <a:gd name="connsiteY60" fmla="*/ 1061469 h 1537719"/>
                    <a:gd name="connsiteX61" fmla="*/ 614361 w 1747836"/>
                    <a:gd name="connsiteY61" fmla="*/ 1059088 h 1537719"/>
                    <a:gd name="connsiteX62" fmla="*/ 631030 w 1747836"/>
                    <a:gd name="connsiteY62" fmla="*/ 1016225 h 1537719"/>
                    <a:gd name="connsiteX63" fmla="*/ 659605 w 1747836"/>
                    <a:gd name="connsiteY63" fmla="*/ 956694 h 1537719"/>
                    <a:gd name="connsiteX64" fmla="*/ 726279 w 1747836"/>
                    <a:gd name="connsiteY64" fmla="*/ 963838 h 1537719"/>
                    <a:gd name="connsiteX65" fmla="*/ 688179 w 1747836"/>
                    <a:gd name="connsiteY65" fmla="*/ 890019 h 1537719"/>
                    <a:gd name="connsiteX66" fmla="*/ 759616 w 1747836"/>
                    <a:gd name="connsiteY66" fmla="*/ 887638 h 1537719"/>
                    <a:gd name="connsiteX67" fmla="*/ 812004 w 1747836"/>
                    <a:gd name="connsiteY67" fmla="*/ 811438 h 1537719"/>
                    <a:gd name="connsiteX68" fmla="*/ 908956 w 1747836"/>
                    <a:gd name="connsiteY68" fmla="*/ 714261 h 1537719"/>
                    <a:gd name="connsiteX69" fmla="*/ 1000123 w 1747836"/>
                    <a:gd name="connsiteY69" fmla="*/ 639989 h 1537719"/>
                    <a:gd name="connsiteX70" fmla="*/ 1464467 w 1747836"/>
                    <a:gd name="connsiteY70" fmla="*/ 280420 h 1537719"/>
                    <a:gd name="connsiteX71" fmla="*/ 1464241 w 1747836"/>
                    <a:gd name="connsiteY71" fmla="*/ 0 h 1537719"/>
                    <a:gd name="connsiteX72" fmla="*/ 247650 w 1747836"/>
                    <a:gd name="connsiteY72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33423 w 1747836"/>
                    <a:gd name="connsiteY54" fmla="*/ 1213869 h 1537719"/>
                    <a:gd name="connsiteX55" fmla="*/ 745329 w 1747836"/>
                    <a:gd name="connsiteY55" fmla="*/ 1185294 h 1537719"/>
                    <a:gd name="connsiteX56" fmla="*/ 835817 w 1747836"/>
                    <a:gd name="connsiteY56" fmla="*/ 1132907 h 1537719"/>
                    <a:gd name="connsiteX57" fmla="*/ 804861 w 1747836"/>
                    <a:gd name="connsiteY57" fmla="*/ 1094807 h 1537719"/>
                    <a:gd name="connsiteX58" fmla="*/ 735805 w 1747836"/>
                    <a:gd name="connsiteY58" fmla="*/ 1116238 h 1537719"/>
                    <a:gd name="connsiteX59" fmla="*/ 731042 w 1747836"/>
                    <a:gd name="connsiteY59" fmla="*/ 1082901 h 1537719"/>
                    <a:gd name="connsiteX60" fmla="*/ 673893 w 1747836"/>
                    <a:gd name="connsiteY60" fmla="*/ 1061469 h 1537719"/>
                    <a:gd name="connsiteX61" fmla="*/ 614361 w 1747836"/>
                    <a:gd name="connsiteY61" fmla="*/ 1059088 h 1537719"/>
                    <a:gd name="connsiteX62" fmla="*/ 631030 w 1747836"/>
                    <a:gd name="connsiteY62" fmla="*/ 1016225 h 1537719"/>
                    <a:gd name="connsiteX63" fmla="*/ 659605 w 1747836"/>
                    <a:gd name="connsiteY63" fmla="*/ 956694 h 1537719"/>
                    <a:gd name="connsiteX64" fmla="*/ 726279 w 1747836"/>
                    <a:gd name="connsiteY64" fmla="*/ 963838 h 1537719"/>
                    <a:gd name="connsiteX65" fmla="*/ 688179 w 1747836"/>
                    <a:gd name="connsiteY65" fmla="*/ 890019 h 1537719"/>
                    <a:gd name="connsiteX66" fmla="*/ 759616 w 1747836"/>
                    <a:gd name="connsiteY66" fmla="*/ 887638 h 1537719"/>
                    <a:gd name="connsiteX67" fmla="*/ 812004 w 1747836"/>
                    <a:gd name="connsiteY67" fmla="*/ 811438 h 1537719"/>
                    <a:gd name="connsiteX68" fmla="*/ 908956 w 1747836"/>
                    <a:gd name="connsiteY68" fmla="*/ 714261 h 1537719"/>
                    <a:gd name="connsiteX69" fmla="*/ 1000123 w 1747836"/>
                    <a:gd name="connsiteY69" fmla="*/ 639989 h 1537719"/>
                    <a:gd name="connsiteX70" fmla="*/ 1464467 w 1747836"/>
                    <a:gd name="connsiteY70" fmla="*/ 280420 h 1537719"/>
                    <a:gd name="connsiteX71" fmla="*/ 1464241 w 1747836"/>
                    <a:gd name="connsiteY71" fmla="*/ 0 h 1537719"/>
                    <a:gd name="connsiteX72" fmla="*/ 247650 w 1747836"/>
                    <a:gd name="connsiteY72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814386 w 1747836"/>
                    <a:gd name="connsiteY54" fmla="*/ 1242444 h 1537719"/>
                    <a:gd name="connsiteX55" fmla="*/ 733423 w 1747836"/>
                    <a:gd name="connsiteY55" fmla="*/ 1213869 h 1537719"/>
                    <a:gd name="connsiteX56" fmla="*/ 745329 w 1747836"/>
                    <a:gd name="connsiteY56" fmla="*/ 1185294 h 1537719"/>
                    <a:gd name="connsiteX57" fmla="*/ 835817 w 1747836"/>
                    <a:gd name="connsiteY57" fmla="*/ 1132907 h 1537719"/>
                    <a:gd name="connsiteX58" fmla="*/ 804861 w 1747836"/>
                    <a:gd name="connsiteY58" fmla="*/ 1094807 h 1537719"/>
                    <a:gd name="connsiteX59" fmla="*/ 735805 w 1747836"/>
                    <a:gd name="connsiteY59" fmla="*/ 1116238 h 1537719"/>
                    <a:gd name="connsiteX60" fmla="*/ 731042 w 1747836"/>
                    <a:gd name="connsiteY60" fmla="*/ 1082901 h 1537719"/>
                    <a:gd name="connsiteX61" fmla="*/ 673893 w 1747836"/>
                    <a:gd name="connsiteY61" fmla="*/ 1061469 h 1537719"/>
                    <a:gd name="connsiteX62" fmla="*/ 614361 w 1747836"/>
                    <a:gd name="connsiteY62" fmla="*/ 1059088 h 1537719"/>
                    <a:gd name="connsiteX63" fmla="*/ 631030 w 1747836"/>
                    <a:gd name="connsiteY63" fmla="*/ 1016225 h 1537719"/>
                    <a:gd name="connsiteX64" fmla="*/ 659605 w 1747836"/>
                    <a:gd name="connsiteY64" fmla="*/ 956694 h 1537719"/>
                    <a:gd name="connsiteX65" fmla="*/ 726279 w 1747836"/>
                    <a:gd name="connsiteY65" fmla="*/ 963838 h 1537719"/>
                    <a:gd name="connsiteX66" fmla="*/ 688179 w 1747836"/>
                    <a:gd name="connsiteY66" fmla="*/ 890019 h 1537719"/>
                    <a:gd name="connsiteX67" fmla="*/ 759616 w 1747836"/>
                    <a:gd name="connsiteY67" fmla="*/ 887638 h 1537719"/>
                    <a:gd name="connsiteX68" fmla="*/ 812004 w 1747836"/>
                    <a:gd name="connsiteY68" fmla="*/ 811438 h 1537719"/>
                    <a:gd name="connsiteX69" fmla="*/ 908956 w 1747836"/>
                    <a:gd name="connsiteY69" fmla="*/ 714261 h 1537719"/>
                    <a:gd name="connsiteX70" fmla="*/ 1000123 w 1747836"/>
                    <a:gd name="connsiteY70" fmla="*/ 639989 h 1537719"/>
                    <a:gd name="connsiteX71" fmla="*/ 1464467 w 1747836"/>
                    <a:gd name="connsiteY71" fmla="*/ 280420 h 1537719"/>
                    <a:gd name="connsiteX72" fmla="*/ 1464241 w 1747836"/>
                    <a:gd name="connsiteY72" fmla="*/ 0 h 1537719"/>
                    <a:gd name="connsiteX73" fmla="*/ 247650 w 1747836"/>
                    <a:gd name="connsiteY73" fmla="*/ 9752 h 1537719"/>
                    <a:gd name="connsiteX0" fmla="*/ 247650 w 1747836"/>
                    <a:gd name="connsiteY0" fmla="*/ 9752 h 1537719"/>
                    <a:gd name="connsiteX1" fmla="*/ 178592 w 1747836"/>
                    <a:gd name="connsiteY1" fmla="*/ 20864 h 1537719"/>
                    <a:gd name="connsiteX2" fmla="*/ 150017 w 1747836"/>
                    <a:gd name="connsiteY2" fmla="*/ 56582 h 1537719"/>
                    <a:gd name="connsiteX3" fmla="*/ 97630 w 1747836"/>
                    <a:gd name="connsiteY3" fmla="*/ 49439 h 1537719"/>
                    <a:gd name="connsiteX4" fmla="*/ 42861 w 1747836"/>
                    <a:gd name="connsiteY4" fmla="*/ 73251 h 1537719"/>
                    <a:gd name="connsiteX5" fmla="*/ 104774 w 1747836"/>
                    <a:gd name="connsiteY5" fmla="*/ 170882 h 1537719"/>
                    <a:gd name="connsiteX6" fmla="*/ 107154 w 1747836"/>
                    <a:gd name="connsiteY6" fmla="*/ 220890 h 1537719"/>
                    <a:gd name="connsiteX7" fmla="*/ 145255 w 1747836"/>
                    <a:gd name="connsiteY7" fmla="*/ 228033 h 1537719"/>
                    <a:gd name="connsiteX8" fmla="*/ 159542 w 1747836"/>
                    <a:gd name="connsiteY8" fmla="*/ 247082 h 1537719"/>
                    <a:gd name="connsiteX9" fmla="*/ 216693 w 1747836"/>
                    <a:gd name="connsiteY9" fmla="*/ 294708 h 1537719"/>
                    <a:gd name="connsiteX10" fmla="*/ 261936 w 1747836"/>
                    <a:gd name="connsiteY10" fmla="*/ 418533 h 1537719"/>
                    <a:gd name="connsiteX11" fmla="*/ 278605 w 1747836"/>
                    <a:gd name="connsiteY11" fmla="*/ 549501 h 1537719"/>
                    <a:gd name="connsiteX12" fmla="*/ 238123 w 1747836"/>
                    <a:gd name="connsiteY12" fmla="*/ 589984 h 1537719"/>
                    <a:gd name="connsiteX13" fmla="*/ 276223 w 1747836"/>
                    <a:gd name="connsiteY13" fmla="*/ 606651 h 1537719"/>
                    <a:gd name="connsiteX14" fmla="*/ 259555 w 1747836"/>
                    <a:gd name="connsiteY14" fmla="*/ 649514 h 1537719"/>
                    <a:gd name="connsiteX15" fmla="*/ 321468 w 1747836"/>
                    <a:gd name="connsiteY15" fmla="*/ 670946 h 1537719"/>
                    <a:gd name="connsiteX16" fmla="*/ 276223 w 1747836"/>
                    <a:gd name="connsiteY16" fmla="*/ 794771 h 1537719"/>
                    <a:gd name="connsiteX17" fmla="*/ 285749 w 1747836"/>
                    <a:gd name="connsiteY17" fmla="*/ 849538 h 1537719"/>
                    <a:gd name="connsiteX18" fmla="*/ 230980 w 1747836"/>
                    <a:gd name="connsiteY18" fmla="*/ 880495 h 1537719"/>
                    <a:gd name="connsiteX19" fmla="*/ 183355 w 1747836"/>
                    <a:gd name="connsiteY19" fmla="*/ 866207 h 1537719"/>
                    <a:gd name="connsiteX20" fmla="*/ 116681 w 1747836"/>
                    <a:gd name="connsiteY20" fmla="*/ 885258 h 1537719"/>
                    <a:gd name="connsiteX21" fmla="*/ 78581 w 1747836"/>
                    <a:gd name="connsiteY21" fmla="*/ 925739 h 1537719"/>
                    <a:gd name="connsiteX22" fmla="*/ 43995 w 1747836"/>
                    <a:gd name="connsiteY22" fmla="*/ 982322 h 1537719"/>
                    <a:gd name="connsiteX23" fmla="*/ 9525 w 1747836"/>
                    <a:gd name="connsiteY23" fmla="*/ 1047183 h 1537719"/>
                    <a:gd name="connsiteX24" fmla="*/ 28574 w 1747836"/>
                    <a:gd name="connsiteY24" fmla="*/ 1059090 h 1537719"/>
                    <a:gd name="connsiteX25" fmla="*/ 80962 w 1747836"/>
                    <a:gd name="connsiteY25" fmla="*/ 1040039 h 1537719"/>
                    <a:gd name="connsiteX26" fmla="*/ 59530 w 1747836"/>
                    <a:gd name="connsiteY26" fmla="*/ 1073376 h 1537719"/>
                    <a:gd name="connsiteX27" fmla="*/ 30956 w 1747836"/>
                    <a:gd name="connsiteY27" fmla="*/ 1099570 h 1537719"/>
                    <a:gd name="connsiteX28" fmla="*/ 0 w 1747836"/>
                    <a:gd name="connsiteY28" fmla="*/ 1140052 h 1537719"/>
                    <a:gd name="connsiteX29" fmla="*/ 35717 w 1747836"/>
                    <a:gd name="connsiteY29" fmla="*/ 1199584 h 1537719"/>
                    <a:gd name="connsiteX30" fmla="*/ 57149 w 1747836"/>
                    <a:gd name="connsiteY30" fmla="*/ 1228156 h 1537719"/>
                    <a:gd name="connsiteX31" fmla="*/ 107155 w 1747836"/>
                    <a:gd name="connsiteY31" fmla="*/ 1185295 h 1537719"/>
                    <a:gd name="connsiteX32" fmla="*/ 173830 w 1747836"/>
                    <a:gd name="connsiteY32" fmla="*/ 1242445 h 1537719"/>
                    <a:gd name="connsiteX33" fmla="*/ 228599 w 1747836"/>
                    <a:gd name="connsiteY33" fmla="*/ 1259113 h 1537719"/>
                    <a:gd name="connsiteX34" fmla="*/ 366712 w 1747836"/>
                    <a:gd name="connsiteY34" fmla="*/ 1144814 h 1537719"/>
                    <a:gd name="connsiteX35" fmla="*/ 397669 w 1747836"/>
                    <a:gd name="connsiteY35" fmla="*/ 1154339 h 1537719"/>
                    <a:gd name="connsiteX36" fmla="*/ 421481 w 1747836"/>
                    <a:gd name="connsiteY36" fmla="*/ 1237682 h 1537719"/>
                    <a:gd name="connsiteX37" fmla="*/ 416718 w 1747836"/>
                    <a:gd name="connsiteY37" fmla="*/ 1275783 h 1537719"/>
                    <a:gd name="connsiteX38" fmla="*/ 378618 w 1747836"/>
                    <a:gd name="connsiteY38" fmla="*/ 1373414 h 1537719"/>
                    <a:gd name="connsiteX39" fmla="*/ 400050 w 1747836"/>
                    <a:gd name="connsiteY39" fmla="*/ 1387700 h 1537719"/>
                    <a:gd name="connsiteX40" fmla="*/ 414337 w 1747836"/>
                    <a:gd name="connsiteY40" fmla="*/ 1359125 h 1537719"/>
                    <a:gd name="connsiteX41" fmla="*/ 450055 w 1747836"/>
                    <a:gd name="connsiteY41" fmla="*/ 1392463 h 1537719"/>
                    <a:gd name="connsiteX42" fmla="*/ 488156 w 1747836"/>
                    <a:gd name="connsiteY42" fmla="*/ 1518669 h 1537719"/>
                    <a:gd name="connsiteX43" fmla="*/ 511968 w 1747836"/>
                    <a:gd name="connsiteY43" fmla="*/ 1490094 h 1537719"/>
                    <a:gd name="connsiteX44" fmla="*/ 507205 w 1747836"/>
                    <a:gd name="connsiteY44" fmla="*/ 1440088 h 1537719"/>
                    <a:gd name="connsiteX45" fmla="*/ 607218 w 1747836"/>
                    <a:gd name="connsiteY45" fmla="*/ 1390082 h 1537719"/>
                    <a:gd name="connsiteX46" fmla="*/ 650080 w 1747836"/>
                    <a:gd name="connsiteY46" fmla="*/ 1385319 h 1537719"/>
                    <a:gd name="connsiteX47" fmla="*/ 688181 w 1747836"/>
                    <a:gd name="connsiteY47" fmla="*/ 1442469 h 1537719"/>
                    <a:gd name="connsiteX48" fmla="*/ 692943 w 1747836"/>
                    <a:gd name="connsiteY48" fmla="*/ 1387701 h 1537719"/>
                    <a:gd name="connsiteX49" fmla="*/ 731044 w 1747836"/>
                    <a:gd name="connsiteY49" fmla="*/ 1397225 h 1537719"/>
                    <a:gd name="connsiteX50" fmla="*/ 735806 w 1747836"/>
                    <a:gd name="connsiteY50" fmla="*/ 1318644 h 1537719"/>
                    <a:gd name="connsiteX51" fmla="*/ 685799 w 1747836"/>
                    <a:gd name="connsiteY51" fmla="*/ 1311500 h 1537719"/>
                    <a:gd name="connsiteX52" fmla="*/ 666749 w 1747836"/>
                    <a:gd name="connsiteY52" fmla="*/ 1221012 h 1537719"/>
                    <a:gd name="connsiteX53" fmla="*/ 1747836 w 1747836"/>
                    <a:gd name="connsiteY53" fmla="*/ 1537719 h 1537719"/>
                    <a:gd name="connsiteX54" fmla="*/ 704849 w 1747836"/>
                    <a:gd name="connsiteY54" fmla="*/ 1197200 h 1537719"/>
                    <a:gd name="connsiteX55" fmla="*/ 733423 w 1747836"/>
                    <a:gd name="connsiteY55" fmla="*/ 1213869 h 1537719"/>
                    <a:gd name="connsiteX56" fmla="*/ 745329 w 1747836"/>
                    <a:gd name="connsiteY56" fmla="*/ 1185294 h 1537719"/>
                    <a:gd name="connsiteX57" fmla="*/ 835817 w 1747836"/>
                    <a:gd name="connsiteY57" fmla="*/ 1132907 h 1537719"/>
                    <a:gd name="connsiteX58" fmla="*/ 804861 w 1747836"/>
                    <a:gd name="connsiteY58" fmla="*/ 1094807 h 1537719"/>
                    <a:gd name="connsiteX59" fmla="*/ 735805 w 1747836"/>
                    <a:gd name="connsiteY59" fmla="*/ 1116238 h 1537719"/>
                    <a:gd name="connsiteX60" fmla="*/ 731042 w 1747836"/>
                    <a:gd name="connsiteY60" fmla="*/ 1082901 h 1537719"/>
                    <a:gd name="connsiteX61" fmla="*/ 673893 w 1747836"/>
                    <a:gd name="connsiteY61" fmla="*/ 1061469 h 1537719"/>
                    <a:gd name="connsiteX62" fmla="*/ 614361 w 1747836"/>
                    <a:gd name="connsiteY62" fmla="*/ 1059088 h 1537719"/>
                    <a:gd name="connsiteX63" fmla="*/ 631030 w 1747836"/>
                    <a:gd name="connsiteY63" fmla="*/ 1016225 h 1537719"/>
                    <a:gd name="connsiteX64" fmla="*/ 659605 w 1747836"/>
                    <a:gd name="connsiteY64" fmla="*/ 956694 h 1537719"/>
                    <a:gd name="connsiteX65" fmla="*/ 726279 w 1747836"/>
                    <a:gd name="connsiteY65" fmla="*/ 963838 h 1537719"/>
                    <a:gd name="connsiteX66" fmla="*/ 688179 w 1747836"/>
                    <a:gd name="connsiteY66" fmla="*/ 890019 h 1537719"/>
                    <a:gd name="connsiteX67" fmla="*/ 759616 w 1747836"/>
                    <a:gd name="connsiteY67" fmla="*/ 887638 h 1537719"/>
                    <a:gd name="connsiteX68" fmla="*/ 812004 w 1747836"/>
                    <a:gd name="connsiteY68" fmla="*/ 811438 h 1537719"/>
                    <a:gd name="connsiteX69" fmla="*/ 908956 w 1747836"/>
                    <a:gd name="connsiteY69" fmla="*/ 714261 h 1537719"/>
                    <a:gd name="connsiteX70" fmla="*/ 1000123 w 1747836"/>
                    <a:gd name="connsiteY70" fmla="*/ 639989 h 1537719"/>
                    <a:gd name="connsiteX71" fmla="*/ 1464467 w 1747836"/>
                    <a:gd name="connsiteY71" fmla="*/ 280420 h 1537719"/>
                    <a:gd name="connsiteX72" fmla="*/ 1464241 w 1747836"/>
                    <a:gd name="connsiteY72" fmla="*/ 0 h 1537719"/>
                    <a:gd name="connsiteX73" fmla="*/ 247650 w 1747836"/>
                    <a:gd name="connsiteY73" fmla="*/ 9752 h 1537719"/>
                    <a:gd name="connsiteX0" fmla="*/ 247650 w 1464467"/>
                    <a:gd name="connsiteY0" fmla="*/ 9752 h 1518669"/>
                    <a:gd name="connsiteX1" fmla="*/ 178592 w 1464467"/>
                    <a:gd name="connsiteY1" fmla="*/ 20864 h 1518669"/>
                    <a:gd name="connsiteX2" fmla="*/ 150017 w 1464467"/>
                    <a:gd name="connsiteY2" fmla="*/ 56582 h 1518669"/>
                    <a:gd name="connsiteX3" fmla="*/ 97630 w 1464467"/>
                    <a:gd name="connsiteY3" fmla="*/ 49439 h 1518669"/>
                    <a:gd name="connsiteX4" fmla="*/ 42861 w 1464467"/>
                    <a:gd name="connsiteY4" fmla="*/ 73251 h 1518669"/>
                    <a:gd name="connsiteX5" fmla="*/ 104774 w 1464467"/>
                    <a:gd name="connsiteY5" fmla="*/ 170882 h 1518669"/>
                    <a:gd name="connsiteX6" fmla="*/ 107154 w 1464467"/>
                    <a:gd name="connsiteY6" fmla="*/ 220890 h 1518669"/>
                    <a:gd name="connsiteX7" fmla="*/ 145255 w 1464467"/>
                    <a:gd name="connsiteY7" fmla="*/ 228033 h 1518669"/>
                    <a:gd name="connsiteX8" fmla="*/ 159542 w 1464467"/>
                    <a:gd name="connsiteY8" fmla="*/ 247082 h 1518669"/>
                    <a:gd name="connsiteX9" fmla="*/ 216693 w 1464467"/>
                    <a:gd name="connsiteY9" fmla="*/ 294708 h 1518669"/>
                    <a:gd name="connsiteX10" fmla="*/ 261936 w 1464467"/>
                    <a:gd name="connsiteY10" fmla="*/ 418533 h 1518669"/>
                    <a:gd name="connsiteX11" fmla="*/ 278605 w 1464467"/>
                    <a:gd name="connsiteY11" fmla="*/ 549501 h 1518669"/>
                    <a:gd name="connsiteX12" fmla="*/ 238123 w 1464467"/>
                    <a:gd name="connsiteY12" fmla="*/ 589984 h 1518669"/>
                    <a:gd name="connsiteX13" fmla="*/ 276223 w 1464467"/>
                    <a:gd name="connsiteY13" fmla="*/ 606651 h 1518669"/>
                    <a:gd name="connsiteX14" fmla="*/ 259555 w 1464467"/>
                    <a:gd name="connsiteY14" fmla="*/ 649514 h 1518669"/>
                    <a:gd name="connsiteX15" fmla="*/ 321468 w 1464467"/>
                    <a:gd name="connsiteY15" fmla="*/ 670946 h 1518669"/>
                    <a:gd name="connsiteX16" fmla="*/ 276223 w 1464467"/>
                    <a:gd name="connsiteY16" fmla="*/ 794771 h 1518669"/>
                    <a:gd name="connsiteX17" fmla="*/ 285749 w 1464467"/>
                    <a:gd name="connsiteY17" fmla="*/ 849538 h 1518669"/>
                    <a:gd name="connsiteX18" fmla="*/ 230980 w 1464467"/>
                    <a:gd name="connsiteY18" fmla="*/ 880495 h 1518669"/>
                    <a:gd name="connsiteX19" fmla="*/ 183355 w 1464467"/>
                    <a:gd name="connsiteY19" fmla="*/ 866207 h 1518669"/>
                    <a:gd name="connsiteX20" fmla="*/ 116681 w 1464467"/>
                    <a:gd name="connsiteY20" fmla="*/ 885258 h 1518669"/>
                    <a:gd name="connsiteX21" fmla="*/ 78581 w 1464467"/>
                    <a:gd name="connsiteY21" fmla="*/ 925739 h 1518669"/>
                    <a:gd name="connsiteX22" fmla="*/ 43995 w 1464467"/>
                    <a:gd name="connsiteY22" fmla="*/ 982322 h 1518669"/>
                    <a:gd name="connsiteX23" fmla="*/ 9525 w 1464467"/>
                    <a:gd name="connsiteY23" fmla="*/ 1047183 h 1518669"/>
                    <a:gd name="connsiteX24" fmla="*/ 28574 w 1464467"/>
                    <a:gd name="connsiteY24" fmla="*/ 1059090 h 1518669"/>
                    <a:gd name="connsiteX25" fmla="*/ 80962 w 1464467"/>
                    <a:gd name="connsiteY25" fmla="*/ 1040039 h 1518669"/>
                    <a:gd name="connsiteX26" fmla="*/ 59530 w 1464467"/>
                    <a:gd name="connsiteY26" fmla="*/ 1073376 h 1518669"/>
                    <a:gd name="connsiteX27" fmla="*/ 30956 w 1464467"/>
                    <a:gd name="connsiteY27" fmla="*/ 1099570 h 1518669"/>
                    <a:gd name="connsiteX28" fmla="*/ 0 w 1464467"/>
                    <a:gd name="connsiteY28" fmla="*/ 1140052 h 1518669"/>
                    <a:gd name="connsiteX29" fmla="*/ 35717 w 1464467"/>
                    <a:gd name="connsiteY29" fmla="*/ 1199584 h 1518669"/>
                    <a:gd name="connsiteX30" fmla="*/ 57149 w 1464467"/>
                    <a:gd name="connsiteY30" fmla="*/ 1228156 h 1518669"/>
                    <a:gd name="connsiteX31" fmla="*/ 107155 w 1464467"/>
                    <a:gd name="connsiteY31" fmla="*/ 1185295 h 1518669"/>
                    <a:gd name="connsiteX32" fmla="*/ 173830 w 1464467"/>
                    <a:gd name="connsiteY32" fmla="*/ 1242445 h 1518669"/>
                    <a:gd name="connsiteX33" fmla="*/ 228599 w 1464467"/>
                    <a:gd name="connsiteY33" fmla="*/ 1259113 h 1518669"/>
                    <a:gd name="connsiteX34" fmla="*/ 366712 w 1464467"/>
                    <a:gd name="connsiteY34" fmla="*/ 1144814 h 1518669"/>
                    <a:gd name="connsiteX35" fmla="*/ 397669 w 1464467"/>
                    <a:gd name="connsiteY35" fmla="*/ 1154339 h 1518669"/>
                    <a:gd name="connsiteX36" fmla="*/ 421481 w 1464467"/>
                    <a:gd name="connsiteY36" fmla="*/ 1237682 h 1518669"/>
                    <a:gd name="connsiteX37" fmla="*/ 416718 w 1464467"/>
                    <a:gd name="connsiteY37" fmla="*/ 1275783 h 1518669"/>
                    <a:gd name="connsiteX38" fmla="*/ 378618 w 1464467"/>
                    <a:gd name="connsiteY38" fmla="*/ 1373414 h 1518669"/>
                    <a:gd name="connsiteX39" fmla="*/ 400050 w 1464467"/>
                    <a:gd name="connsiteY39" fmla="*/ 1387700 h 1518669"/>
                    <a:gd name="connsiteX40" fmla="*/ 414337 w 1464467"/>
                    <a:gd name="connsiteY40" fmla="*/ 1359125 h 1518669"/>
                    <a:gd name="connsiteX41" fmla="*/ 450055 w 1464467"/>
                    <a:gd name="connsiteY41" fmla="*/ 1392463 h 1518669"/>
                    <a:gd name="connsiteX42" fmla="*/ 488156 w 1464467"/>
                    <a:gd name="connsiteY42" fmla="*/ 1518669 h 1518669"/>
                    <a:gd name="connsiteX43" fmla="*/ 511968 w 1464467"/>
                    <a:gd name="connsiteY43" fmla="*/ 1490094 h 1518669"/>
                    <a:gd name="connsiteX44" fmla="*/ 507205 w 1464467"/>
                    <a:gd name="connsiteY44" fmla="*/ 1440088 h 1518669"/>
                    <a:gd name="connsiteX45" fmla="*/ 607218 w 1464467"/>
                    <a:gd name="connsiteY45" fmla="*/ 1390082 h 1518669"/>
                    <a:gd name="connsiteX46" fmla="*/ 650080 w 1464467"/>
                    <a:gd name="connsiteY46" fmla="*/ 1385319 h 1518669"/>
                    <a:gd name="connsiteX47" fmla="*/ 688181 w 1464467"/>
                    <a:gd name="connsiteY47" fmla="*/ 1442469 h 1518669"/>
                    <a:gd name="connsiteX48" fmla="*/ 692943 w 1464467"/>
                    <a:gd name="connsiteY48" fmla="*/ 1387701 h 1518669"/>
                    <a:gd name="connsiteX49" fmla="*/ 731044 w 1464467"/>
                    <a:gd name="connsiteY49" fmla="*/ 1397225 h 1518669"/>
                    <a:gd name="connsiteX50" fmla="*/ 735806 w 1464467"/>
                    <a:gd name="connsiteY50" fmla="*/ 1318644 h 1518669"/>
                    <a:gd name="connsiteX51" fmla="*/ 685799 w 1464467"/>
                    <a:gd name="connsiteY51" fmla="*/ 1311500 h 1518669"/>
                    <a:gd name="connsiteX52" fmla="*/ 666749 w 1464467"/>
                    <a:gd name="connsiteY52" fmla="*/ 1221012 h 1518669"/>
                    <a:gd name="connsiteX53" fmla="*/ 659605 w 1464467"/>
                    <a:gd name="connsiteY53" fmla="*/ 1194819 h 1518669"/>
                    <a:gd name="connsiteX54" fmla="*/ 704849 w 1464467"/>
                    <a:gd name="connsiteY54" fmla="*/ 1197200 h 1518669"/>
                    <a:gd name="connsiteX55" fmla="*/ 733423 w 1464467"/>
                    <a:gd name="connsiteY55" fmla="*/ 1213869 h 1518669"/>
                    <a:gd name="connsiteX56" fmla="*/ 745329 w 1464467"/>
                    <a:gd name="connsiteY56" fmla="*/ 1185294 h 1518669"/>
                    <a:gd name="connsiteX57" fmla="*/ 835817 w 1464467"/>
                    <a:gd name="connsiteY57" fmla="*/ 1132907 h 1518669"/>
                    <a:gd name="connsiteX58" fmla="*/ 804861 w 1464467"/>
                    <a:gd name="connsiteY58" fmla="*/ 1094807 h 1518669"/>
                    <a:gd name="connsiteX59" fmla="*/ 735805 w 1464467"/>
                    <a:gd name="connsiteY59" fmla="*/ 1116238 h 1518669"/>
                    <a:gd name="connsiteX60" fmla="*/ 731042 w 1464467"/>
                    <a:gd name="connsiteY60" fmla="*/ 1082901 h 1518669"/>
                    <a:gd name="connsiteX61" fmla="*/ 673893 w 1464467"/>
                    <a:gd name="connsiteY61" fmla="*/ 1061469 h 1518669"/>
                    <a:gd name="connsiteX62" fmla="*/ 614361 w 1464467"/>
                    <a:gd name="connsiteY62" fmla="*/ 1059088 h 1518669"/>
                    <a:gd name="connsiteX63" fmla="*/ 631030 w 1464467"/>
                    <a:gd name="connsiteY63" fmla="*/ 1016225 h 1518669"/>
                    <a:gd name="connsiteX64" fmla="*/ 659605 w 1464467"/>
                    <a:gd name="connsiteY64" fmla="*/ 956694 h 1518669"/>
                    <a:gd name="connsiteX65" fmla="*/ 726279 w 1464467"/>
                    <a:gd name="connsiteY65" fmla="*/ 963838 h 1518669"/>
                    <a:gd name="connsiteX66" fmla="*/ 688179 w 1464467"/>
                    <a:gd name="connsiteY66" fmla="*/ 890019 h 1518669"/>
                    <a:gd name="connsiteX67" fmla="*/ 759616 w 1464467"/>
                    <a:gd name="connsiteY67" fmla="*/ 887638 h 1518669"/>
                    <a:gd name="connsiteX68" fmla="*/ 812004 w 1464467"/>
                    <a:gd name="connsiteY68" fmla="*/ 811438 h 1518669"/>
                    <a:gd name="connsiteX69" fmla="*/ 908956 w 1464467"/>
                    <a:gd name="connsiteY69" fmla="*/ 714261 h 1518669"/>
                    <a:gd name="connsiteX70" fmla="*/ 1000123 w 1464467"/>
                    <a:gd name="connsiteY70" fmla="*/ 639989 h 1518669"/>
                    <a:gd name="connsiteX71" fmla="*/ 1464467 w 1464467"/>
                    <a:gd name="connsiteY71" fmla="*/ 280420 h 1518669"/>
                    <a:gd name="connsiteX72" fmla="*/ 1464241 w 1464467"/>
                    <a:gd name="connsiteY72" fmla="*/ 0 h 1518669"/>
                    <a:gd name="connsiteX73" fmla="*/ 247650 w 1464467"/>
                    <a:gd name="connsiteY73" fmla="*/ 9752 h 1518669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  <a:cxn ang="0">
                      <a:pos x="connsiteX52" y="connsiteY52"/>
                    </a:cxn>
                    <a:cxn ang="0">
                      <a:pos x="connsiteX53" y="connsiteY53"/>
                    </a:cxn>
                    <a:cxn ang="0">
                      <a:pos x="connsiteX54" y="connsiteY54"/>
                    </a:cxn>
                    <a:cxn ang="0">
                      <a:pos x="connsiteX55" y="connsiteY55"/>
                    </a:cxn>
                    <a:cxn ang="0">
                      <a:pos x="connsiteX56" y="connsiteY56"/>
                    </a:cxn>
                    <a:cxn ang="0">
                      <a:pos x="connsiteX57" y="connsiteY57"/>
                    </a:cxn>
                    <a:cxn ang="0">
                      <a:pos x="connsiteX58" y="connsiteY58"/>
                    </a:cxn>
                    <a:cxn ang="0">
                      <a:pos x="connsiteX59" y="connsiteY59"/>
                    </a:cxn>
                    <a:cxn ang="0">
                      <a:pos x="connsiteX60" y="connsiteY60"/>
                    </a:cxn>
                    <a:cxn ang="0">
                      <a:pos x="connsiteX61" y="connsiteY61"/>
                    </a:cxn>
                    <a:cxn ang="0">
                      <a:pos x="connsiteX62" y="connsiteY62"/>
                    </a:cxn>
                    <a:cxn ang="0">
                      <a:pos x="connsiteX63" y="connsiteY63"/>
                    </a:cxn>
                    <a:cxn ang="0">
                      <a:pos x="connsiteX64" y="connsiteY64"/>
                    </a:cxn>
                    <a:cxn ang="0">
                      <a:pos x="connsiteX65" y="connsiteY65"/>
                    </a:cxn>
                    <a:cxn ang="0">
                      <a:pos x="connsiteX66" y="connsiteY66"/>
                    </a:cxn>
                    <a:cxn ang="0">
                      <a:pos x="connsiteX67" y="connsiteY67"/>
                    </a:cxn>
                    <a:cxn ang="0">
                      <a:pos x="connsiteX68" y="connsiteY68"/>
                    </a:cxn>
                    <a:cxn ang="0">
                      <a:pos x="connsiteX69" y="connsiteY69"/>
                    </a:cxn>
                    <a:cxn ang="0">
                      <a:pos x="connsiteX70" y="connsiteY70"/>
                    </a:cxn>
                    <a:cxn ang="0">
                      <a:pos x="connsiteX71" y="connsiteY71"/>
                    </a:cxn>
                    <a:cxn ang="0">
                      <a:pos x="connsiteX72" y="connsiteY72"/>
                    </a:cxn>
                    <a:cxn ang="0">
                      <a:pos x="connsiteX73" y="connsiteY73"/>
                    </a:cxn>
                  </a:cxnLst>
                  <a:rect l="l" t="t" r="r" b="b"/>
                  <a:pathLst>
                    <a:path w="1464467" h="1518669">
                      <a:moveTo>
                        <a:pt x="247650" y="9752"/>
                      </a:moveTo>
                      <a:lnTo>
                        <a:pt x="178592" y="20864"/>
                      </a:lnTo>
                      <a:lnTo>
                        <a:pt x="150017" y="56582"/>
                      </a:lnTo>
                      <a:lnTo>
                        <a:pt x="97630" y="49439"/>
                      </a:lnTo>
                      <a:lnTo>
                        <a:pt x="42861" y="73251"/>
                      </a:lnTo>
                      <a:lnTo>
                        <a:pt x="104774" y="170882"/>
                      </a:lnTo>
                      <a:lnTo>
                        <a:pt x="107154" y="220890"/>
                      </a:lnTo>
                      <a:lnTo>
                        <a:pt x="145255" y="228033"/>
                      </a:lnTo>
                      <a:lnTo>
                        <a:pt x="159542" y="247082"/>
                      </a:lnTo>
                      <a:lnTo>
                        <a:pt x="216693" y="294708"/>
                      </a:lnTo>
                      <a:lnTo>
                        <a:pt x="261936" y="418533"/>
                      </a:lnTo>
                      <a:lnTo>
                        <a:pt x="278605" y="549501"/>
                      </a:lnTo>
                      <a:lnTo>
                        <a:pt x="238123" y="589984"/>
                      </a:lnTo>
                      <a:lnTo>
                        <a:pt x="276223" y="606651"/>
                      </a:lnTo>
                      <a:lnTo>
                        <a:pt x="259555" y="649514"/>
                      </a:lnTo>
                      <a:lnTo>
                        <a:pt x="321468" y="670946"/>
                      </a:lnTo>
                      <a:lnTo>
                        <a:pt x="276223" y="794771"/>
                      </a:lnTo>
                      <a:lnTo>
                        <a:pt x="285749" y="849538"/>
                      </a:lnTo>
                      <a:lnTo>
                        <a:pt x="230980" y="880495"/>
                      </a:lnTo>
                      <a:lnTo>
                        <a:pt x="183355" y="866207"/>
                      </a:lnTo>
                      <a:lnTo>
                        <a:pt x="116681" y="885258"/>
                      </a:lnTo>
                      <a:lnTo>
                        <a:pt x="78581" y="925739"/>
                      </a:lnTo>
                      <a:lnTo>
                        <a:pt x="43995" y="982322"/>
                      </a:lnTo>
                      <a:lnTo>
                        <a:pt x="9525" y="1047183"/>
                      </a:lnTo>
                      <a:lnTo>
                        <a:pt x="28574" y="1059090"/>
                      </a:lnTo>
                      <a:lnTo>
                        <a:pt x="80962" y="1040039"/>
                      </a:lnTo>
                      <a:lnTo>
                        <a:pt x="59530" y="1073376"/>
                      </a:lnTo>
                      <a:lnTo>
                        <a:pt x="30956" y="1099570"/>
                      </a:lnTo>
                      <a:lnTo>
                        <a:pt x="0" y="1140052"/>
                      </a:lnTo>
                      <a:lnTo>
                        <a:pt x="35717" y="1199584"/>
                      </a:lnTo>
                      <a:lnTo>
                        <a:pt x="57149" y="1228156"/>
                      </a:lnTo>
                      <a:lnTo>
                        <a:pt x="107155" y="1185295"/>
                      </a:lnTo>
                      <a:lnTo>
                        <a:pt x="173830" y="1242445"/>
                      </a:lnTo>
                      <a:lnTo>
                        <a:pt x="228599" y="1259113"/>
                      </a:lnTo>
                      <a:lnTo>
                        <a:pt x="366712" y="1144814"/>
                      </a:lnTo>
                      <a:lnTo>
                        <a:pt x="397669" y="1154339"/>
                      </a:lnTo>
                      <a:lnTo>
                        <a:pt x="421481" y="1237682"/>
                      </a:lnTo>
                      <a:lnTo>
                        <a:pt x="416718" y="1275783"/>
                      </a:lnTo>
                      <a:lnTo>
                        <a:pt x="378618" y="1373414"/>
                      </a:lnTo>
                      <a:lnTo>
                        <a:pt x="400050" y="1387700"/>
                      </a:lnTo>
                      <a:lnTo>
                        <a:pt x="414337" y="1359125"/>
                      </a:lnTo>
                      <a:lnTo>
                        <a:pt x="450055" y="1392463"/>
                      </a:lnTo>
                      <a:lnTo>
                        <a:pt x="488156" y="1518669"/>
                      </a:lnTo>
                      <a:lnTo>
                        <a:pt x="511968" y="1490094"/>
                      </a:lnTo>
                      <a:lnTo>
                        <a:pt x="507205" y="1440088"/>
                      </a:lnTo>
                      <a:lnTo>
                        <a:pt x="607218" y="1390082"/>
                      </a:lnTo>
                      <a:lnTo>
                        <a:pt x="650080" y="1385319"/>
                      </a:lnTo>
                      <a:lnTo>
                        <a:pt x="688181" y="1442469"/>
                      </a:lnTo>
                      <a:lnTo>
                        <a:pt x="692943" y="1387701"/>
                      </a:lnTo>
                      <a:lnTo>
                        <a:pt x="731044" y="1397225"/>
                      </a:lnTo>
                      <a:lnTo>
                        <a:pt x="735806" y="1318644"/>
                      </a:lnTo>
                      <a:lnTo>
                        <a:pt x="685799" y="1311500"/>
                      </a:lnTo>
                      <a:lnTo>
                        <a:pt x="666749" y="1221012"/>
                      </a:lnTo>
                      <a:lnTo>
                        <a:pt x="659605" y="1194819"/>
                      </a:lnTo>
                      <a:lnTo>
                        <a:pt x="704849" y="1197200"/>
                      </a:lnTo>
                      <a:lnTo>
                        <a:pt x="733423" y="1213869"/>
                      </a:lnTo>
                      <a:lnTo>
                        <a:pt x="745329" y="1185294"/>
                      </a:lnTo>
                      <a:lnTo>
                        <a:pt x="835817" y="1132907"/>
                      </a:lnTo>
                      <a:lnTo>
                        <a:pt x="804861" y="1094807"/>
                      </a:lnTo>
                      <a:lnTo>
                        <a:pt x="735805" y="1116238"/>
                      </a:lnTo>
                      <a:lnTo>
                        <a:pt x="731042" y="1082901"/>
                      </a:lnTo>
                      <a:lnTo>
                        <a:pt x="673893" y="1061469"/>
                      </a:lnTo>
                      <a:lnTo>
                        <a:pt x="614361" y="1059088"/>
                      </a:lnTo>
                      <a:lnTo>
                        <a:pt x="631030" y="1016225"/>
                      </a:lnTo>
                      <a:lnTo>
                        <a:pt x="659605" y="956694"/>
                      </a:lnTo>
                      <a:lnTo>
                        <a:pt x="726279" y="963838"/>
                      </a:lnTo>
                      <a:lnTo>
                        <a:pt x="688179" y="890019"/>
                      </a:lnTo>
                      <a:lnTo>
                        <a:pt x="759616" y="887638"/>
                      </a:lnTo>
                      <a:lnTo>
                        <a:pt x="812004" y="811438"/>
                      </a:lnTo>
                      <a:lnTo>
                        <a:pt x="908956" y="714261"/>
                      </a:lnTo>
                      <a:lnTo>
                        <a:pt x="1000123" y="639989"/>
                      </a:lnTo>
                      <a:lnTo>
                        <a:pt x="1464467" y="280420"/>
                      </a:lnTo>
                      <a:cubicBezTo>
                        <a:pt x="1464392" y="186947"/>
                        <a:pt x="1464316" y="93473"/>
                        <a:pt x="1464241" y="0"/>
                      </a:cubicBezTo>
                      <a:lnTo>
                        <a:pt x="247650" y="9752"/>
                      </a:lnTo>
                      <a:close/>
                    </a:path>
                  </a:pathLst>
                </a:custGeom>
                <a:solidFill>
                  <a:srgbClr val="C00000"/>
                </a:solidFill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105" name="Freeform 104"/>
                <p:cNvSpPr/>
                <p:nvPr/>
              </p:nvSpPr>
              <p:spPr>
                <a:xfrm>
                  <a:off x="5917406" y="2021681"/>
                  <a:ext cx="1338262" cy="1269205"/>
                </a:xfrm>
                <a:custGeom>
                  <a:avLst/>
                  <a:gdLst>
                    <a:gd name="connsiteX0" fmla="*/ 992981 w 1531144"/>
                    <a:gd name="connsiteY0" fmla="*/ 0 h 1362075"/>
                    <a:gd name="connsiteX1" fmla="*/ 802481 w 1531144"/>
                    <a:gd name="connsiteY1" fmla="*/ 9525 h 1362075"/>
                    <a:gd name="connsiteX2" fmla="*/ 623887 w 1531144"/>
                    <a:gd name="connsiteY2" fmla="*/ 345282 h 1362075"/>
                    <a:gd name="connsiteX3" fmla="*/ 431006 w 1531144"/>
                    <a:gd name="connsiteY3" fmla="*/ 509588 h 1362075"/>
                    <a:gd name="connsiteX4" fmla="*/ 147637 w 1531144"/>
                    <a:gd name="connsiteY4" fmla="*/ 740569 h 1362075"/>
                    <a:gd name="connsiteX5" fmla="*/ 33337 w 1531144"/>
                    <a:gd name="connsiteY5" fmla="*/ 1021557 h 1362075"/>
                    <a:gd name="connsiteX6" fmla="*/ 0 w 1531144"/>
                    <a:gd name="connsiteY6" fmla="*/ 1197769 h 1362075"/>
                    <a:gd name="connsiteX7" fmla="*/ 95250 w 1531144"/>
                    <a:gd name="connsiteY7" fmla="*/ 1323975 h 1362075"/>
                    <a:gd name="connsiteX8" fmla="*/ 435769 w 1531144"/>
                    <a:gd name="connsiteY8" fmla="*/ 1362075 h 1362075"/>
                    <a:gd name="connsiteX9" fmla="*/ 947737 w 1531144"/>
                    <a:gd name="connsiteY9" fmla="*/ 1362075 h 1362075"/>
                    <a:gd name="connsiteX10" fmla="*/ 1273969 w 1531144"/>
                    <a:gd name="connsiteY10" fmla="*/ 1283494 h 1362075"/>
                    <a:gd name="connsiteX11" fmla="*/ 1462087 w 1531144"/>
                    <a:gd name="connsiteY11" fmla="*/ 940594 h 1362075"/>
                    <a:gd name="connsiteX12" fmla="*/ 1531144 w 1531144"/>
                    <a:gd name="connsiteY12" fmla="*/ 523875 h 1362075"/>
                    <a:gd name="connsiteX13" fmla="*/ 1514475 w 1531144"/>
                    <a:gd name="connsiteY13" fmla="*/ 323850 h 1362075"/>
                    <a:gd name="connsiteX14" fmla="*/ 1414462 w 1531144"/>
                    <a:gd name="connsiteY14" fmla="*/ 254794 h 1362075"/>
                    <a:gd name="connsiteX15" fmla="*/ 1235869 w 1531144"/>
                    <a:gd name="connsiteY15" fmla="*/ 169069 h 1362075"/>
                    <a:gd name="connsiteX16" fmla="*/ 992981 w 1531144"/>
                    <a:gd name="connsiteY16" fmla="*/ 0 h 1362075"/>
                    <a:gd name="connsiteX0" fmla="*/ 945356 w 1531144"/>
                    <a:gd name="connsiteY0" fmla="*/ 28575 h 1352550"/>
                    <a:gd name="connsiteX1" fmla="*/ 802481 w 1531144"/>
                    <a:gd name="connsiteY1" fmla="*/ 0 h 1352550"/>
                    <a:gd name="connsiteX2" fmla="*/ 623887 w 1531144"/>
                    <a:gd name="connsiteY2" fmla="*/ 335757 h 1352550"/>
                    <a:gd name="connsiteX3" fmla="*/ 431006 w 1531144"/>
                    <a:gd name="connsiteY3" fmla="*/ 500063 h 1352550"/>
                    <a:gd name="connsiteX4" fmla="*/ 147637 w 1531144"/>
                    <a:gd name="connsiteY4" fmla="*/ 731044 h 1352550"/>
                    <a:gd name="connsiteX5" fmla="*/ 33337 w 1531144"/>
                    <a:gd name="connsiteY5" fmla="*/ 1012032 h 1352550"/>
                    <a:gd name="connsiteX6" fmla="*/ 0 w 1531144"/>
                    <a:gd name="connsiteY6" fmla="*/ 1188244 h 1352550"/>
                    <a:gd name="connsiteX7" fmla="*/ 95250 w 1531144"/>
                    <a:gd name="connsiteY7" fmla="*/ 1314450 h 1352550"/>
                    <a:gd name="connsiteX8" fmla="*/ 435769 w 1531144"/>
                    <a:gd name="connsiteY8" fmla="*/ 1352550 h 1352550"/>
                    <a:gd name="connsiteX9" fmla="*/ 947737 w 1531144"/>
                    <a:gd name="connsiteY9" fmla="*/ 1352550 h 1352550"/>
                    <a:gd name="connsiteX10" fmla="*/ 1273969 w 1531144"/>
                    <a:gd name="connsiteY10" fmla="*/ 1273969 h 1352550"/>
                    <a:gd name="connsiteX11" fmla="*/ 1462087 w 1531144"/>
                    <a:gd name="connsiteY11" fmla="*/ 931069 h 1352550"/>
                    <a:gd name="connsiteX12" fmla="*/ 1531144 w 1531144"/>
                    <a:gd name="connsiteY12" fmla="*/ 514350 h 1352550"/>
                    <a:gd name="connsiteX13" fmla="*/ 1514475 w 1531144"/>
                    <a:gd name="connsiteY13" fmla="*/ 314325 h 1352550"/>
                    <a:gd name="connsiteX14" fmla="*/ 1414462 w 1531144"/>
                    <a:gd name="connsiteY14" fmla="*/ 245269 h 1352550"/>
                    <a:gd name="connsiteX15" fmla="*/ 1235869 w 1531144"/>
                    <a:gd name="connsiteY15" fmla="*/ 159544 h 1352550"/>
                    <a:gd name="connsiteX16" fmla="*/ 945356 w 1531144"/>
                    <a:gd name="connsiteY16" fmla="*/ 28575 h 1352550"/>
                    <a:gd name="connsiteX0" fmla="*/ 945356 w 1531144"/>
                    <a:gd name="connsiteY0" fmla="*/ 28575 h 1352550"/>
                    <a:gd name="connsiteX1" fmla="*/ 802481 w 1531144"/>
                    <a:gd name="connsiteY1" fmla="*/ 0 h 1352550"/>
                    <a:gd name="connsiteX2" fmla="*/ 623887 w 1531144"/>
                    <a:gd name="connsiteY2" fmla="*/ 335757 h 1352550"/>
                    <a:gd name="connsiteX3" fmla="*/ 431006 w 1531144"/>
                    <a:gd name="connsiteY3" fmla="*/ 500063 h 1352550"/>
                    <a:gd name="connsiteX4" fmla="*/ 147637 w 1531144"/>
                    <a:gd name="connsiteY4" fmla="*/ 731044 h 1352550"/>
                    <a:gd name="connsiteX5" fmla="*/ 33337 w 1531144"/>
                    <a:gd name="connsiteY5" fmla="*/ 1012032 h 1352550"/>
                    <a:gd name="connsiteX6" fmla="*/ 0 w 1531144"/>
                    <a:gd name="connsiteY6" fmla="*/ 1188244 h 1352550"/>
                    <a:gd name="connsiteX7" fmla="*/ 95250 w 1531144"/>
                    <a:gd name="connsiteY7" fmla="*/ 1314450 h 1352550"/>
                    <a:gd name="connsiteX8" fmla="*/ 435769 w 1531144"/>
                    <a:gd name="connsiteY8" fmla="*/ 1352550 h 1352550"/>
                    <a:gd name="connsiteX9" fmla="*/ 947737 w 1531144"/>
                    <a:gd name="connsiteY9" fmla="*/ 1352550 h 1352550"/>
                    <a:gd name="connsiteX10" fmla="*/ 1273969 w 1531144"/>
                    <a:gd name="connsiteY10" fmla="*/ 1273969 h 1352550"/>
                    <a:gd name="connsiteX11" fmla="*/ 1462087 w 1531144"/>
                    <a:gd name="connsiteY11" fmla="*/ 931069 h 1352550"/>
                    <a:gd name="connsiteX12" fmla="*/ 1531144 w 1531144"/>
                    <a:gd name="connsiteY12" fmla="*/ 514350 h 1352550"/>
                    <a:gd name="connsiteX13" fmla="*/ 1514475 w 1531144"/>
                    <a:gd name="connsiteY13" fmla="*/ 314325 h 1352550"/>
                    <a:gd name="connsiteX14" fmla="*/ 1428749 w 1531144"/>
                    <a:gd name="connsiteY14" fmla="*/ 361950 h 1352550"/>
                    <a:gd name="connsiteX15" fmla="*/ 1235869 w 1531144"/>
                    <a:gd name="connsiteY15" fmla="*/ 159544 h 1352550"/>
                    <a:gd name="connsiteX16" fmla="*/ 945356 w 1531144"/>
                    <a:gd name="connsiteY16" fmla="*/ 28575 h 1352550"/>
                    <a:gd name="connsiteX0" fmla="*/ 945356 w 1531144"/>
                    <a:gd name="connsiteY0" fmla="*/ 28575 h 1352550"/>
                    <a:gd name="connsiteX1" fmla="*/ 802481 w 1531144"/>
                    <a:gd name="connsiteY1" fmla="*/ 0 h 1352550"/>
                    <a:gd name="connsiteX2" fmla="*/ 623887 w 1531144"/>
                    <a:gd name="connsiteY2" fmla="*/ 335757 h 1352550"/>
                    <a:gd name="connsiteX3" fmla="*/ 431006 w 1531144"/>
                    <a:gd name="connsiteY3" fmla="*/ 500063 h 1352550"/>
                    <a:gd name="connsiteX4" fmla="*/ 147637 w 1531144"/>
                    <a:gd name="connsiteY4" fmla="*/ 731044 h 1352550"/>
                    <a:gd name="connsiteX5" fmla="*/ 33337 w 1531144"/>
                    <a:gd name="connsiteY5" fmla="*/ 1012032 h 1352550"/>
                    <a:gd name="connsiteX6" fmla="*/ 0 w 1531144"/>
                    <a:gd name="connsiteY6" fmla="*/ 1188244 h 1352550"/>
                    <a:gd name="connsiteX7" fmla="*/ 95250 w 1531144"/>
                    <a:gd name="connsiteY7" fmla="*/ 1314450 h 1352550"/>
                    <a:gd name="connsiteX8" fmla="*/ 435769 w 1531144"/>
                    <a:gd name="connsiteY8" fmla="*/ 1352550 h 1352550"/>
                    <a:gd name="connsiteX9" fmla="*/ 947737 w 1531144"/>
                    <a:gd name="connsiteY9" fmla="*/ 1352550 h 1352550"/>
                    <a:gd name="connsiteX10" fmla="*/ 1273969 w 1531144"/>
                    <a:gd name="connsiteY10" fmla="*/ 1273969 h 1352550"/>
                    <a:gd name="connsiteX11" fmla="*/ 1462087 w 1531144"/>
                    <a:gd name="connsiteY11" fmla="*/ 931069 h 1352550"/>
                    <a:gd name="connsiteX12" fmla="*/ 1531144 w 1531144"/>
                    <a:gd name="connsiteY12" fmla="*/ 514350 h 1352550"/>
                    <a:gd name="connsiteX13" fmla="*/ 1514475 w 1531144"/>
                    <a:gd name="connsiteY13" fmla="*/ 314325 h 1352550"/>
                    <a:gd name="connsiteX14" fmla="*/ 1428749 w 1531144"/>
                    <a:gd name="connsiteY14" fmla="*/ 361950 h 1352550"/>
                    <a:gd name="connsiteX15" fmla="*/ 1312069 w 1531144"/>
                    <a:gd name="connsiteY15" fmla="*/ 280988 h 1352550"/>
                    <a:gd name="connsiteX16" fmla="*/ 945356 w 1531144"/>
                    <a:gd name="connsiteY16" fmla="*/ 28575 h 1352550"/>
                    <a:gd name="connsiteX0" fmla="*/ 945356 w 1531144"/>
                    <a:gd name="connsiteY0" fmla="*/ 28575 h 1352550"/>
                    <a:gd name="connsiteX1" fmla="*/ 802481 w 1531144"/>
                    <a:gd name="connsiteY1" fmla="*/ 0 h 1352550"/>
                    <a:gd name="connsiteX2" fmla="*/ 623887 w 1531144"/>
                    <a:gd name="connsiteY2" fmla="*/ 335757 h 1352550"/>
                    <a:gd name="connsiteX3" fmla="*/ 431006 w 1531144"/>
                    <a:gd name="connsiteY3" fmla="*/ 500063 h 1352550"/>
                    <a:gd name="connsiteX4" fmla="*/ 147637 w 1531144"/>
                    <a:gd name="connsiteY4" fmla="*/ 731044 h 1352550"/>
                    <a:gd name="connsiteX5" fmla="*/ 33337 w 1531144"/>
                    <a:gd name="connsiteY5" fmla="*/ 1012032 h 1352550"/>
                    <a:gd name="connsiteX6" fmla="*/ 0 w 1531144"/>
                    <a:gd name="connsiteY6" fmla="*/ 1188244 h 1352550"/>
                    <a:gd name="connsiteX7" fmla="*/ 95250 w 1531144"/>
                    <a:gd name="connsiteY7" fmla="*/ 1314450 h 1352550"/>
                    <a:gd name="connsiteX8" fmla="*/ 435769 w 1531144"/>
                    <a:gd name="connsiteY8" fmla="*/ 1352550 h 1352550"/>
                    <a:gd name="connsiteX9" fmla="*/ 947737 w 1531144"/>
                    <a:gd name="connsiteY9" fmla="*/ 1352550 h 1352550"/>
                    <a:gd name="connsiteX10" fmla="*/ 1273969 w 1531144"/>
                    <a:gd name="connsiteY10" fmla="*/ 1273969 h 1352550"/>
                    <a:gd name="connsiteX11" fmla="*/ 1462087 w 1531144"/>
                    <a:gd name="connsiteY11" fmla="*/ 931069 h 1352550"/>
                    <a:gd name="connsiteX12" fmla="*/ 1531144 w 1531144"/>
                    <a:gd name="connsiteY12" fmla="*/ 514350 h 1352550"/>
                    <a:gd name="connsiteX13" fmla="*/ 1514475 w 1531144"/>
                    <a:gd name="connsiteY13" fmla="*/ 314325 h 1352550"/>
                    <a:gd name="connsiteX14" fmla="*/ 1428749 w 1531144"/>
                    <a:gd name="connsiteY14" fmla="*/ 361950 h 1352550"/>
                    <a:gd name="connsiteX15" fmla="*/ 945356 w 1531144"/>
                    <a:gd name="connsiteY15" fmla="*/ 28575 h 1352550"/>
                    <a:gd name="connsiteX0" fmla="*/ 945356 w 1531144"/>
                    <a:gd name="connsiteY0" fmla="*/ 28575 h 1352550"/>
                    <a:gd name="connsiteX1" fmla="*/ 802481 w 1531144"/>
                    <a:gd name="connsiteY1" fmla="*/ 0 h 1352550"/>
                    <a:gd name="connsiteX2" fmla="*/ 623887 w 1531144"/>
                    <a:gd name="connsiteY2" fmla="*/ 335757 h 1352550"/>
                    <a:gd name="connsiteX3" fmla="*/ 431006 w 1531144"/>
                    <a:gd name="connsiteY3" fmla="*/ 500063 h 1352550"/>
                    <a:gd name="connsiteX4" fmla="*/ 147637 w 1531144"/>
                    <a:gd name="connsiteY4" fmla="*/ 731044 h 1352550"/>
                    <a:gd name="connsiteX5" fmla="*/ 33337 w 1531144"/>
                    <a:gd name="connsiteY5" fmla="*/ 1012032 h 1352550"/>
                    <a:gd name="connsiteX6" fmla="*/ 0 w 1531144"/>
                    <a:gd name="connsiteY6" fmla="*/ 1188244 h 1352550"/>
                    <a:gd name="connsiteX7" fmla="*/ 95250 w 1531144"/>
                    <a:gd name="connsiteY7" fmla="*/ 1314450 h 1352550"/>
                    <a:gd name="connsiteX8" fmla="*/ 435769 w 1531144"/>
                    <a:gd name="connsiteY8" fmla="*/ 1352550 h 1352550"/>
                    <a:gd name="connsiteX9" fmla="*/ 947737 w 1531144"/>
                    <a:gd name="connsiteY9" fmla="*/ 1352550 h 1352550"/>
                    <a:gd name="connsiteX10" fmla="*/ 1273969 w 1531144"/>
                    <a:gd name="connsiteY10" fmla="*/ 1273969 h 1352550"/>
                    <a:gd name="connsiteX11" fmla="*/ 1462087 w 1531144"/>
                    <a:gd name="connsiteY11" fmla="*/ 931069 h 1352550"/>
                    <a:gd name="connsiteX12" fmla="*/ 1531144 w 1531144"/>
                    <a:gd name="connsiteY12" fmla="*/ 514350 h 1352550"/>
                    <a:gd name="connsiteX13" fmla="*/ 1388269 w 1531144"/>
                    <a:gd name="connsiteY13" fmla="*/ 483394 h 1352550"/>
                    <a:gd name="connsiteX14" fmla="*/ 1428749 w 1531144"/>
                    <a:gd name="connsiteY14" fmla="*/ 361950 h 1352550"/>
                    <a:gd name="connsiteX15" fmla="*/ 945356 w 1531144"/>
                    <a:gd name="connsiteY15" fmla="*/ 28575 h 1352550"/>
                    <a:gd name="connsiteX0" fmla="*/ 945356 w 1462087"/>
                    <a:gd name="connsiteY0" fmla="*/ 28575 h 1352550"/>
                    <a:gd name="connsiteX1" fmla="*/ 802481 w 1462087"/>
                    <a:gd name="connsiteY1" fmla="*/ 0 h 1352550"/>
                    <a:gd name="connsiteX2" fmla="*/ 623887 w 1462087"/>
                    <a:gd name="connsiteY2" fmla="*/ 335757 h 1352550"/>
                    <a:gd name="connsiteX3" fmla="*/ 431006 w 1462087"/>
                    <a:gd name="connsiteY3" fmla="*/ 500063 h 1352550"/>
                    <a:gd name="connsiteX4" fmla="*/ 147637 w 1462087"/>
                    <a:gd name="connsiteY4" fmla="*/ 731044 h 1352550"/>
                    <a:gd name="connsiteX5" fmla="*/ 33337 w 1462087"/>
                    <a:gd name="connsiteY5" fmla="*/ 1012032 h 1352550"/>
                    <a:gd name="connsiteX6" fmla="*/ 0 w 1462087"/>
                    <a:gd name="connsiteY6" fmla="*/ 1188244 h 1352550"/>
                    <a:gd name="connsiteX7" fmla="*/ 95250 w 1462087"/>
                    <a:gd name="connsiteY7" fmla="*/ 1314450 h 1352550"/>
                    <a:gd name="connsiteX8" fmla="*/ 435769 w 1462087"/>
                    <a:gd name="connsiteY8" fmla="*/ 1352550 h 1352550"/>
                    <a:gd name="connsiteX9" fmla="*/ 947737 w 1462087"/>
                    <a:gd name="connsiteY9" fmla="*/ 1352550 h 1352550"/>
                    <a:gd name="connsiteX10" fmla="*/ 1273969 w 1462087"/>
                    <a:gd name="connsiteY10" fmla="*/ 1273969 h 1352550"/>
                    <a:gd name="connsiteX11" fmla="*/ 1462087 w 1462087"/>
                    <a:gd name="connsiteY11" fmla="*/ 931069 h 1352550"/>
                    <a:gd name="connsiteX12" fmla="*/ 1157288 w 1462087"/>
                    <a:gd name="connsiteY12" fmla="*/ 1173957 h 1352550"/>
                    <a:gd name="connsiteX13" fmla="*/ 1388269 w 1462087"/>
                    <a:gd name="connsiteY13" fmla="*/ 483394 h 1352550"/>
                    <a:gd name="connsiteX14" fmla="*/ 1428749 w 1462087"/>
                    <a:gd name="connsiteY14" fmla="*/ 361950 h 1352550"/>
                    <a:gd name="connsiteX15" fmla="*/ 945356 w 1462087"/>
                    <a:gd name="connsiteY15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23887 w 1428749"/>
                    <a:gd name="connsiteY2" fmla="*/ 335757 h 1352550"/>
                    <a:gd name="connsiteX3" fmla="*/ 431006 w 1428749"/>
                    <a:gd name="connsiteY3" fmla="*/ 500063 h 1352550"/>
                    <a:gd name="connsiteX4" fmla="*/ 147637 w 1428749"/>
                    <a:gd name="connsiteY4" fmla="*/ 731044 h 1352550"/>
                    <a:gd name="connsiteX5" fmla="*/ 33337 w 1428749"/>
                    <a:gd name="connsiteY5" fmla="*/ 1012032 h 1352550"/>
                    <a:gd name="connsiteX6" fmla="*/ 0 w 1428749"/>
                    <a:gd name="connsiteY6" fmla="*/ 1188244 h 1352550"/>
                    <a:gd name="connsiteX7" fmla="*/ 95250 w 1428749"/>
                    <a:gd name="connsiteY7" fmla="*/ 1314450 h 1352550"/>
                    <a:gd name="connsiteX8" fmla="*/ 435769 w 1428749"/>
                    <a:gd name="connsiteY8" fmla="*/ 1352550 h 1352550"/>
                    <a:gd name="connsiteX9" fmla="*/ 947737 w 1428749"/>
                    <a:gd name="connsiteY9" fmla="*/ 1352550 h 1352550"/>
                    <a:gd name="connsiteX10" fmla="*/ 1273969 w 1428749"/>
                    <a:gd name="connsiteY10" fmla="*/ 1273969 h 1352550"/>
                    <a:gd name="connsiteX11" fmla="*/ 1157288 w 1428749"/>
                    <a:gd name="connsiteY11" fmla="*/ 1173957 h 1352550"/>
                    <a:gd name="connsiteX12" fmla="*/ 1388269 w 1428749"/>
                    <a:gd name="connsiteY12" fmla="*/ 483394 h 1352550"/>
                    <a:gd name="connsiteX13" fmla="*/ 1428749 w 1428749"/>
                    <a:gd name="connsiteY13" fmla="*/ 361950 h 1352550"/>
                    <a:gd name="connsiteX14" fmla="*/ 945356 w 1428749"/>
                    <a:gd name="connsiteY14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431006 w 1428749"/>
                    <a:gd name="connsiteY3" fmla="*/ 500063 h 1352550"/>
                    <a:gd name="connsiteX4" fmla="*/ 147637 w 1428749"/>
                    <a:gd name="connsiteY4" fmla="*/ 731044 h 1352550"/>
                    <a:gd name="connsiteX5" fmla="*/ 33337 w 1428749"/>
                    <a:gd name="connsiteY5" fmla="*/ 1012032 h 1352550"/>
                    <a:gd name="connsiteX6" fmla="*/ 0 w 1428749"/>
                    <a:gd name="connsiteY6" fmla="*/ 1188244 h 1352550"/>
                    <a:gd name="connsiteX7" fmla="*/ 95250 w 1428749"/>
                    <a:gd name="connsiteY7" fmla="*/ 1314450 h 1352550"/>
                    <a:gd name="connsiteX8" fmla="*/ 435769 w 1428749"/>
                    <a:gd name="connsiteY8" fmla="*/ 1352550 h 1352550"/>
                    <a:gd name="connsiteX9" fmla="*/ 947737 w 1428749"/>
                    <a:gd name="connsiteY9" fmla="*/ 1352550 h 1352550"/>
                    <a:gd name="connsiteX10" fmla="*/ 1273969 w 1428749"/>
                    <a:gd name="connsiteY10" fmla="*/ 1273969 h 1352550"/>
                    <a:gd name="connsiteX11" fmla="*/ 1157288 w 1428749"/>
                    <a:gd name="connsiteY11" fmla="*/ 1173957 h 1352550"/>
                    <a:gd name="connsiteX12" fmla="*/ 1388269 w 1428749"/>
                    <a:gd name="connsiteY12" fmla="*/ 483394 h 1352550"/>
                    <a:gd name="connsiteX13" fmla="*/ 1428749 w 1428749"/>
                    <a:gd name="connsiteY13" fmla="*/ 361950 h 1352550"/>
                    <a:gd name="connsiteX14" fmla="*/ 945356 w 1428749"/>
                    <a:gd name="connsiteY14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147637 w 1428749"/>
                    <a:gd name="connsiteY4" fmla="*/ 731044 h 1352550"/>
                    <a:gd name="connsiteX5" fmla="*/ 33337 w 1428749"/>
                    <a:gd name="connsiteY5" fmla="*/ 1012032 h 1352550"/>
                    <a:gd name="connsiteX6" fmla="*/ 0 w 1428749"/>
                    <a:gd name="connsiteY6" fmla="*/ 1188244 h 1352550"/>
                    <a:gd name="connsiteX7" fmla="*/ 95250 w 1428749"/>
                    <a:gd name="connsiteY7" fmla="*/ 1314450 h 1352550"/>
                    <a:gd name="connsiteX8" fmla="*/ 435769 w 1428749"/>
                    <a:gd name="connsiteY8" fmla="*/ 1352550 h 1352550"/>
                    <a:gd name="connsiteX9" fmla="*/ 947737 w 1428749"/>
                    <a:gd name="connsiteY9" fmla="*/ 1352550 h 1352550"/>
                    <a:gd name="connsiteX10" fmla="*/ 1273969 w 1428749"/>
                    <a:gd name="connsiteY10" fmla="*/ 1273969 h 1352550"/>
                    <a:gd name="connsiteX11" fmla="*/ 1157288 w 1428749"/>
                    <a:gd name="connsiteY11" fmla="*/ 1173957 h 1352550"/>
                    <a:gd name="connsiteX12" fmla="*/ 1388269 w 1428749"/>
                    <a:gd name="connsiteY12" fmla="*/ 483394 h 1352550"/>
                    <a:gd name="connsiteX13" fmla="*/ 1428749 w 1428749"/>
                    <a:gd name="connsiteY13" fmla="*/ 361950 h 1352550"/>
                    <a:gd name="connsiteX14" fmla="*/ 945356 w 1428749"/>
                    <a:gd name="connsiteY14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450057 w 1428749"/>
                    <a:gd name="connsiteY4" fmla="*/ 583406 h 1352550"/>
                    <a:gd name="connsiteX5" fmla="*/ 147637 w 1428749"/>
                    <a:gd name="connsiteY5" fmla="*/ 731044 h 1352550"/>
                    <a:gd name="connsiteX6" fmla="*/ 33337 w 1428749"/>
                    <a:gd name="connsiteY6" fmla="*/ 1012032 h 1352550"/>
                    <a:gd name="connsiteX7" fmla="*/ 0 w 1428749"/>
                    <a:gd name="connsiteY7" fmla="*/ 1188244 h 1352550"/>
                    <a:gd name="connsiteX8" fmla="*/ 95250 w 1428749"/>
                    <a:gd name="connsiteY8" fmla="*/ 1314450 h 1352550"/>
                    <a:gd name="connsiteX9" fmla="*/ 435769 w 1428749"/>
                    <a:gd name="connsiteY9" fmla="*/ 1352550 h 1352550"/>
                    <a:gd name="connsiteX10" fmla="*/ 947737 w 1428749"/>
                    <a:gd name="connsiteY10" fmla="*/ 1352550 h 1352550"/>
                    <a:gd name="connsiteX11" fmla="*/ 1273969 w 1428749"/>
                    <a:gd name="connsiteY11" fmla="*/ 1273969 h 1352550"/>
                    <a:gd name="connsiteX12" fmla="*/ 1157288 w 1428749"/>
                    <a:gd name="connsiteY12" fmla="*/ 1173957 h 1352550"/>
                    <a:gd name="connsiteX13" fmla="*/ 1388269 w 1428749"/>
                    <a:gd name="connsiteY13" fmla="*/ 483394 h 1352550"/>
                    <a:gd name="connsiteX14" fmla="*/ 1428749 w 1428749"/>
                    <a:gd name="connsiteY14" fmla="*/ 361950 h 1352550"/>
                    <a:gd name="connsiteX15" fmla="*/ 945356 w 1428749"/>
                    <a:gd name="connsiteY15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147637 w 1428749"/>
                    <a:gd name="connsiteY5" fmla="*/ 731044 h 1352550"/>
                    <a:gd name="connsiteX6" fmla="*/ 33337 w 1428749"/>
                    <a:gd name="connsiteY6" fmla="*/ 1012032 h 1352550"/>
                    <a:gd name="connsiteX7" fmla="*/ 0 w 1428749"/>
                    <a:gd name="connsiteY7" fmla="*/ 1188244 h 1352550"/>
                    <a:gd name="connsiteX8" fmla="*/ 95250 w 1428749"/>
                    <a:gd name="connsiteY8" fmla="*/ 1314450 h 1352550"/>
                    <a:gd name="connsiteX9" fmla="*/ 435769 w 1428749"/>
                    <a:gd name="connsiteY9" fmla="*/ 1352550 h 1352550"/>
                    <a:gd name="connsiteX10" fmla="*/ 947737 w 1428749"/>
                    <a:gd name="connsiteY10" fmla="*/ 1352550 h 1352550"/>
                    <a:gd name="connsiteX11" fmla="*/ 1273969 w 1428749"/>
                    <a:gd name="connsiteY11" fmla="*/ 1273969 h 1352550"/>
                    <a:gd name="connsiteX12" fmla="*/ 1157288 w 1428749"/>
                    <a:gd name="connsiteY12" fmla="*/ 1173957 h 1352550"/>
                    <a:gd name="connsiteX13" fmla="*/ 1388269 w 1428749"/>
                    <a:gd name="connsiteY13" fmla="*/ 483394 h 1352550"/>
                    <a:gd name="connsiteX14" fmla="*/ 1428749 w 1428749"/>
                    <a:gd name="connsiteY14" fmla="*/ 361950 h 1352550"/>
                    <a:gd name="connsiteX15" fmla="*/ 945356 w 1428749"/>
                    <a:gd name="connsiteY15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564357 w 1428749"/>
                    <a:gd name="connsiteY5" fmla="*/ 609599 h 1352550"/>
                    <a:gd name="connsiteX6" fmla="*/ 147637 w 1428749"/>
                    <a:gd name="connsiteY6" fmla="*/ 731044 h 1352550"/>
                    <a:gd name="connsiteX7" fmla="*/ 33337 w 1428749"/>
                    <a:gd name="connsiteY7" fmla="*/ 1012032 h 1352550"/>
                    <a:gd name="connsiteX8" fmla="*/ 0 w 1428749"/>
                    <a:gd name="connsiteY8" fmla="*/ 1188244 h 1352550"/>
                    <a:gd name="connsiteX9" fmla="*/ 95250 w 1428749"/>
                    <a:gd name="connsiteY9" fmla="*/ 1314450 h 1352550"/>
                    <a:gd name="connsiteX10" fmla="*/ 435769 w 1428749"/>
                    <a:gd name="connsiteY10" fmla="*/ 1352550 h 1352550"/>
                    <a:gd name="connsiteX11" fmla="*/ 947737 w 1428749"/>
                    <a:gd name="connsiteY11" fmla="*/ 1352550 h 1352550"/>
                    <a:gd name="connsiteX12" fmla="*/ 1273969 w 1428749"/>
                    <a:gd name="connsiteY12" fmla="*/ 1273969 h 1352550"/>
                    <a:gd name="connsiteX13" fmla="*/ 1157288 w 1428749"/>
                    <a:gd name="connsiteY13" fmla="*/ 1173957 h 1352550"/>
                    <a:gd name="connsiteX14" fmla="*/ 1388269 w 1428749"/>
                    <a:gd name="connsiteY14" fmla="*/ 483394 h 1352550"/>
                    <a:gd name="connsiteX15" fmla="*/ 1428749 w 1428749"/>
                    <a:gd name="connsiteY15" fmla="*/ 361950 h 1352550"/>
                    <a:gd name="connsiteX16" fmla="*/ 945356 w 1428749"/>
                    <a:gd name="connsiteY16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147637 w 1428749"/>
                    <a:gd name="connsiteY6" fmla="*/ 731044 h 1352550"/>
                    <a:gd name="connsiteX7" fmla="*/ 33337 w 1428749"/>
                    <a:gd name="connsiteY7" fmla="*/ 1012032 h 1352550"/>
                    <a:gd name="connsiteX8" fmla="*/ 0 w 1428749"/>
                    <a:gd name="connsiteY8" fmla="*/ 1188244 h 1352550"/>
                    <a:gd name="connsiteX9" fmla="*/ 95250 w 1428749"/>
                    <a:gd name="connsiteY9" fmla="*/ 1314450 h 1352550"/>
                    <a:gd name="connsiteX10" fmla="*/ 435769 w 1428749"/>
                    <a:gd name="connsiteY10" fmla="*/ 1352550 h 1352550"/>
                    <a:gd name="connsiteX11" fmla="*/ 947737 w 1428749"/>
                    <a:gd name="connsiteY11" fmla="*/ 1352550 h 1352550"/>
                    <a:gd name="connsiteX12" fmla="*/ 1273969 w 1428749"/>
                    <a:gd name="connsiteY12" fmla="*/ 1273969 h 1352550"/>
                    <a:gd name="connsiteX13" fmla="*/ 1157288 w 1428749"/>
                    <a:gd name="connsiteY13" fmla="*/ 1173957 h 1352550"/>
                    <a:gd name="connsiteX14" fmla="*/ 1388269 w 1428749"/>
                    <a:gd name="connsiteY14" fmla="*/ 483394 h 1352550"/>
                    <a:gd name="connsiteX15" fmla="*/ 1428749 w 1428749"/>
                    <a:gd name="connsiteY15" fmla="*/ 361950 h 1352550"/>
                    <a:gd name="connsiteX16" fmla="*/ 945356 w 1428749"/>
                    <a:gd name="connsiteY16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397670 w 1428749"/>
                    <a:gd name="connsiteY6" fmla="*/ 628649 h 1352550"/>
                    <a:gd name="connsiteX7" fmla="*/ 147637 w 1428749"/>
                    <a:gd name="connsiteY7" fmla="*/ 731044 h 1352550"/>
                    <a:gd name="connsiteX8" fmla="*/ 33337 w 1428749"/>
                    <a:gd name="connsiteY8" fmla="*/ 1012032 h 1352550"/>
                    <a:gd name="connsiteX9" fmla="*/ 0 w 1428749"/>
                    <a:gd name="connsiteY9" fmla="*/ 1188244 h 1352550"/>
                    <a:gd name="connsiteX10" fmla="*/ 95250 w 1428749"/>
                    <a:gd name="connsiteY10" fmla="*/ 1314450 h 1352550"/>
                    <a:gd name="connsiteX11" fmla="*/ 435769 w 1428749"/>
                    <a:gd name="connsiteY11" fmla="*/ 1352550 h 1352550"/>
                    <a:gd name="connsiteX12" fmla="*/ 947737 w 1428749"/>
                    <a:gd name="connsiteY12" fmla="*/ 1352550 h 1352550"/>
                    <a:gd name="connsiteX13" fmla="*/ 1273969 w 1428749"/>
                    <a:gd name="connsiteY13" fmla="*/ 1273969 h 1352550"/>
                    <a:gd name="connsiteX14" fmla="*/ 1157288 w 1428749"/>
                    <a:gd name="connsiteY14" fmla="*/ 1173957 h 1352550"/>
                    <a:gd name="connsiteX15" fmla="*/ 1388269 w 1428749"/>
                    <a:gd name="connsiteY15" fmla="*/ 483394 h 1352550"/>
                    <a:gd name="connsiteX16" fmla="*/ 1428749 w 1428749"/>
                    <a:gd name="connsiteY16" fmla="*/ 361950 h 1352550"/>
                    <a:gd name="connsiteX17" fmla="*/ 945356 w 1428749"/>
                    <a:gd name="connsiteY17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147637 w 1428749"/>
                    <a:gd name="connsiteY7" fmla="*/ 731044 h 1352550"/>
                    <a:gd name="connsiteX8" fmla="*/ 33337 w 1428749"/>
                    <a:gd name="connsiteY8" fmla="*/ 1012032 h 1352550"/>
                    <a:gd name="connsiteX9" fmla="*/ 0 w 1428749"/>
                    <a:gd name="connsiteY9" fmla="*/ 1188244 h 1352550"/>
                    <a:gd name="connsiteX10" fmla="*/ 95250 w 1428749"/>
                    <a:gd name="connsiteY10" fmla="*/ 1314450 h 1352550"/>
                    <a:gd name="connsiteX11" fmla="*/ 435769 w 1428749"/>
                    <a:gd name="connsiteY11" fmla="*/ 1352550 h 1352550"/>
                    <a:gd name="connsiteX12" fmla="*/ 947737 w 1428749"/>
                    <a:gd name="connsiteY12" fmla="*/ 1352550 h 1352550"/>
                    <a:gd name="connsiteX13" fmla="*/ 1273969 w 1428749"/>
                    <a:gd name="connsiteY13" fmla="*/ 1273969 h 1352550"/>
                    <a:gd name="connsiteX14" fmla="*/ 1157288 w 1428749"/>
                    <a:gd name="connsiteY14" fmla="*/ 1173957 h 1352550"/>
                    <a:gd name="connsiteX15" fmla="*/ 1388269 w 1428749"/>
                    <a:gd name="connsiteY15" fmla="*/ 483394 h 1352550"/>
                    <a:gd name="connsiteX16" fmla="*/ 1428749 w 1428749"/>
                    <a:gd name="connsiteY16" fmla="*/ 361950 h 1352550"/>
                    <a:gd name="connsiteX17" fmla="*/ 945356 w 1428749"/>
                    <a:gd name="connsiteY17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50057 w 1428749"/>
                    <a:gd name="connsiteY7" fmla="*/ 602456 h 1352550"/>
                    <a:gd name="connsiteX8" fmla="*/ 147637 w 1428749"/>
                    <a:gd name="connsiteY8" fmla="*/ 731044 h 1352550"/>
                    <a:gd name="connsiteX9" fmla="*/ 33337 w 1428749"/>
                    <a:gd name="connsiteY9" fmla="*/ 1012032 h 1352550"/>
                    <a:gd name="connsiteX10" fmla="*/ 0 w 1428749"/>
                    <a:gd name="connsiteY10" fmla="*/ 1188244 h 1352550"/>
                    <a:gd name="connsiteX11" fmla="*/ 95250 w 1428749"/>
                    <a:gd name="connsiteY11" fmla="*/ 1314450 h 1352550"/>
                    <a:gd name="connsiteX12" fmla="*/ 435769 w 1428749"/>
                    <a:gd name="connsiteY12" fmla="*/ 1352550 h 1352550"/>
                    <a:gd name="connsiteX13" fmla="*/ 947737 w 1428749"/>
                    <a:gd name="connsiteY13" fmla="*/ 1352550 h 1352550"/>
                    <a:gd name="connsiteX14" fmla="*/ 1273969 w 1428749"/>
                    <a:gd name="connsiteY14" fmla="*/ 1273969 h 1352550"/>
                    <a:gd name="connsiteX15" fmla="*/ 1157288 w 1428749"/>
                    <a:gd name="connsiteY15" fmla="*/ 1173957 h 1352550"/>
                    <a:gd name="connsiteX16" fmla="*/ 1388269 w 1428749"/>
                    <a:gd name="connsiteY16" fmla="*/ 483394 h 1352550"/>
                    <a:gd name="connsiteX17" fmla="*/ 1428749 w 1428749"/>
                    <a:gd name="connsiteY17" fmla="*/ 361950 h 1352550"/>
                    <a:gd name="connsiteX18" fmla="*/ 945356 w 1428749"/>
                    <a:gd name="connsiteY18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19101 w 1428749"/>
                    <a:gd name="connsiteY7" fmla="*/ 554831 h 1352550"/>
                    <a:gd name="connsiteX8" fmla="*/ 147637 w 1428749"/>
                    <a:gd name="connsiteY8" fmla="*/ 731044 h 1352550"/>
                    <a:gd name="connsiteX9" fmla="*/ 33337 w 1428749"/>
                    <a:gd name="connsiteY9" fmla="*/ 1012032 h 1352550"/>
                    <a:gd name="connsiteX10" fmla="*/ 0 w 1428749"/>
                    <a:gd name="connsiteY10" fmla="*/ 1188244 h 1352550"/>
                    <a:gd name="connsiteX11" fmla="*/ 95250 w 1428749"/>
                    <a:gd name="connsiteY11" fmla="*/ 1314450 h 1352550"/>
                    <a:gd name="connsiteX12" fmla="*/ 435769 w 1428749"/>
                    <a:gd name="connsiteY12" fmla="*/ 1352550 h 1352550"/>
                    <a:gd name="connsiteX13" fmla="*/ 947737 w 1428749"/>
                    <a:gd name="connsiteY13" fmla="*/ 1352550 h 1352550"/>
                    <a:gd name="connsiteX14" fmla="*/ 1273969 w 1428749"/>
                    <a:gd name="connsiteY14" fmla="*/ 1273969 h 1352550"/>
                    <a:gd name="connsiteX15" fmla="*/ 1157288 w 1428749"/>
                    <a:gd name="connsiteY15" fmla="*/ 1173957 h 1352550"/>
                    <a:gd name="connsiteX16" fmla="*/ 1388269 w 1428749"/>
                    <a:gd name="connsiteY16" fmla="*/ 483394 h 1352550"/>
                    <a:gd name="connsiteX17" fmla="*/ 1428749 w 1428749"/>
                    <a:gd name="connsiteY17" fmla="*/ 361950 h 1352550"/>
                    <a:gd name="connsiteX18" fmla="*/ 945356 w 1428749"/>
                    <a:gd name="connsiteY18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19101 w 1428749"/>
                    <a:gd name="connsiteY7" fmla="*/ 554831 h 1352550"/>
                    <a:gd name="connsiteX8" fmla="*/ 283368 w 1428749"/>
                    <a:gd name="connsiteY8" fmla="*/ 709613 h 1352550"/>
                    <a:gd name="connsiteX9" fmla="*/ 33337 w 1428749"/>
                    <a:gd name="connsiteY9" fmla="*/ 1012032 h 1352550"/>
                    <a:gd name="connsiteX10" fmla="*/ 0 w 1428749"/>
                    <a:gd name="connsiteY10" fmla="*/ 1188244 h 1352550"/>
                    <a:gd name="connsiteX11" fmla="*/ 95250 w 1428749"/>
                    <a:gd name="connsiteY11" fmla="*/ 1314450 h 1352550"/>
                    <a:gd name="connsiteX12" fmla="*/ 435769 w 1428749"/>
                    <a:gd name="connsiteY12" fmla="*/ 1352550 h 1352550"/>
                    <a:gd name="connsiteX13" fmla="*/ 947737 w 1428749"/>
                    <a:gd name="connsiteY13" fmla="*/ 1352550 h 1352550"/>
                    <a:gd name="connsiteX14" fmla="*/ 1273969 w 1428749"/>
                    <a:gd name="connsiteY14" fmla="*/ 1273969 h 1352550"/>
                    <a:gd name="connsiteX15" fmla="*/ 1157288 w 1428749"/>
                    <a:gd name="connsiteY15" fmla="*/ 1173957 h 1352550"/>
                    <a:gd name="connsiteX16" fmla="*/ 1388269 w 1428749"/>
                    <a:gd name="connsiteY16" fmla="*/ 483394 h 1352550"/>
                    <a:gd name="connsiteX17" fmla="*/ 1428749 w 1428749"/>
                    <a:gd name="connsiteY17" fmla="*/ 361950 h 1352550"/>
                    <a:gd name="connsiteX18" fmla="*/ 945356 w 1428749"/>
                    <a:gd name="connsiteY18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19101 w 1428749"/>
                    <a:gd name="connsiteY7" fmla="*/ 554831 h 1352550"/>
                    <a:gd name="connsiteX8" fmla="*/ 283368 w 1428749"/>
                    <a:gd name="connsiteY8" fmla="*/ 709613 h 1352550"/>
                    <a:gd name="connsiteX9" fmla="*/ 228601 w 1428749"/>
                    <a:gd name="connsiteY9" fmla="*/ 776287 h 1352550"/>
                    <a:gd name="connsiteX10" fmla="*/ 33337 w 1428749"/>
                    <a:gd name="connsiteY10" fmla="*/ 1012032 h 1352550"/>
                    <a:gd name="connsiteX11" fmla="*/ 0 w 1428749"/>
                    <a:gd name="connsiteY11" fmla="*/ 1188244 h 1352550"/>
                    <a:gd name="connsiteX12" fmla="*/ 95250 w 1428749"/>
                    <a:gd name="connsiteY12" fmla="*/ 1314450 h 1352550"/>
                    <a:gd name="connsiteX13" fmla="*/ 435769 w 1428749"/>
                    <a:gd name="connsiteY13" fmla="*/ 1352550 h 1352550"/>
                    <a:gd name="connsiteX14" fmla="*/ 947737 w 1428749"/>
                    <a:gd name="connsiteY14" fmla="*/ 1352550 h 1352550"/>
                    <a:gd name="connsiteX15" fmla="*/ 1273969 w 1428749"/>
                    <a:gd name="connsiteY15" fmla="*/ 1273969 h 1352550"/>
                    <a:gd name="connsiteX16" fmla="*/ 1157288 w 1428749"/>
                    <a:gd name="connsiteY16" fmla="*/ 1173957 h 1352550"/>
                    <a:gd name="connsiteX17" fmla="*/ 1388269 w 1428749"/>
                    <a:gd name="connsiteY17" fmla="*/ 483394 h 1352550"/>
                    <a:gd name="connsiteX18" fmla="*/ 1428749 w 1428749"/>
                    <a:gd name="connsiteY18" fmla="*/ 361950 h 1352550"/>
                    <a:gd name="connsiteX19" fmla="*/ 945356 w 1428749"/>
                    <a:gd name="connsiteY19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19101 w 1428749"/>
                    <a:gd name="connsiteY7" fmla="*/ 554831 h 1352550"/>
                    <a:gd name="connsiteX8" fmla="*/ 283368 w 1428749"/>
                    <a:gd name="connsiteY8" fmla="*/ 709613 h 1352550"/>
                    <a:gd name="connsiteX9" fmla="*/ 309564 w 1428749"/>
                    <a:gd name="connsiteY9" fmla="*/ 738187 h 1352550"/>
                    <a:gd name="connsiteX10" fmla="*/ 33337 w 1428749"/>
                    <a:gd name="connsiteY10" fmla="*/ 1012032 h 1352550"/>
                    <a:gd name="connsiteX11" fmla="*/ 0 w 1428749"/>
                    <a:gd name="connsiteY11" fmla="*/ 1188244 h 1352550"/>
                    <a:gd name="connsiteX12" fmla="*/ 95250 w 1428749"/>
                    <a:gd name="connsiteY12" fmla="*/ 1314450 h 1352550"/>
                    <a:gd name="connsiteX13" fmla="*/ 435769 w 1428749"/>
                    <a:gd name="connsiteY13" fmla="*/ 1352550 h 1352550"/>
                    <a:gd name="connsiteX14" fmla="*/ 947737 w 1428749"/>
                    <a:gd name="connsiteY14" fmla="*/ 1352550 h 1352550"/>
                    <a:gd name="connsiteX15" fmla="*/ 1273969 w 1428749"/>
                    <a:gd name="connsiteY15" fmla="*/ 1273969 h 1352550"/>
                    <a:gd name="connsiteX16" fmla="*/ 1157288 w 1428749"/>
                    <a:gd name="connsiteY16" fmla="*/ 1173957 h 1352550"/>
                    <a:gd name="connsiteX17" fmla="*/ 1388269 w 1428749"/>
                    <a:gd name="connsiteY17" fmla="*/ 483394 h 1352550"/>
                    <a:gd name="connsiteX18" fmla="*/ 1428749 w 1428749"/>
                    <a:gd name="connsiteY18" fmla="*/ 361950 h 1352550"/>
                    <a:gd name="connsiteX19" fmla="*/ 945356 w 1428749"/>
                    <a:gd name="connsiteY19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19101 w 1428749"/>
                    <a:gd name="connsiteY7" fmla="*/ 554831 h 1352550"/>
                    <a:gd name="connsiteX8" fmla="*/ 283368 w 1428749"/>
                    <a:gd name="connsiteY8" fmla="*/ 709613 h 1352550"/>
                    <a:gd name="connsiteX9" fmla="*/ 309564 w 1428749"/>
                    <a:gd name="connsiteY9" fmla="*/ 738187 h 1352550"/>
                    <a:gd name="connsiteX10" fmla="*/ 192882 w 1428749"/>
                    <a:gd name="connsiteY10" fmla="*/ 850106 h 1352550"/>
                    <a:gd name="connsiteX11" fmla="*/ 33337 w 1428749"/>
                    <a:gd name="connsiteY11" fmla="*/ 1012032 h 1352550"/>
                    <a:gd name="connsiteX12" fmla="*/ 0 w 1428749"/>
                    <a:gd name="connsiteY12" fmla="*/ 1188244 h 1352550"/>
                    <a:gd name="connsiteX13" fmla="*/ 95250 w 1428749"/>
                    <a:gd name="connsiteY13" fmla="*/ 1314450 h 1352550"/>
                    <a:gd name="connsiteX14" fmla="*/ 435769 w 1428749"/>
                    <a:gd name="connsiteY14" fmla="*/ 1352550 h 1352550"/>
                    <a:gd name="connsiteX15" fmla="*/ 947737 w 1428749"/>
                    <a:gd name="connsiteY15" fmla="*/ 1352550 h 1352550"/>
                    <a:gd name="connsiteX16" fmla="*/ 1273969 w 1428749"/>
                    <a:gd name="connsiteY16" fmla="*/ 1273969 h 1352550"/>
                    <a:gd name="connsiteX17" fmla="*/ 1157288 w 1428749"/>
                    <a:gd name="connsiteY17" fmla="*/ 1173957 h 1352550"/>
                    <a:gd name="connsiteX18" fmla="*/ 1388269 w 1428749"/>
                    <a:gd name="connsiteY18" fmla="*/ 483394 h 1352550"/>
                    <a:gd name="connsiteX19" fmla="*/ 1428749 w 1428749"/>
                    <a:gd name="connsiteY19" fmla="*/ 361950 h 1352550"/>
                    <a:gd name="connsiteX20" fmla="*/ 945356 w 1428749"/>
                    <a:gd name="connsiteY20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19101 w 1428749"/>
                    <a:gd name="connsiteY7" fmla="*/ 554831 h 1352550"/>
                    <a:gd name="connsiteX8" fmla="*/ 283368 w 1428749"/>
                    <a:gd name="connsiteY8" fmla="*/ 709613 h 1352550"/>
                    <a:gd name="connsiteX9" fmla="*/ 309564 w 1428749"/>
                    <a:gd name="connsiteY9" fmla="*/ 738187 h 1352550"/>
                    <a:gd name="connsiteX10" fmla="*/ 261938 w 1428749"/>
                    <a:gd name="connsiteY10" fmla="*/ 857250 h 1352550"/>
                    <a:gd name="connsiteX11" fmla="*/ 33337 w 1428749"/>
                    <a:gd name="connsiteY11" fmla="*/ 1012032 h 1352550"/>
                    <a:gd name="connsiteX12" fmla="*/ 0 w 1428749"/>
                    <a:gd name="connsiteY12" fmla="*/ 1188244 h 1352550"/>
                    <a:gd name="connsiteX13" fmla="*/ 95250 w 1428749"/>
                    <a:gd name="connsiteY13" fmla="*/ 1314450 h 1352550"/>
                    <a:gd name="connsiteX14" fmla="*/ 435769 w 1428749"/>
                    <a:gd name="connsiteY14" fmla="*/ 1352550 h 1352550"/>
                    <a:gd name="connsiteX15" fmla="*/ 947737 w 1428749"/>
                    <a:gd name="connsiteY15" fmla="*/ 1352550 h 1352550"/>
                    <a:gd name="connsiteX16" fmla="*/ 1273969 w 1428749"/>
                    <a:gd name="connsiteY16" fmla="*/ 1273969 h 1352550"/>
                    <a:gd name="connsiteX17" fmla="*/ 1157288 w 1428749"/>
                    <a:gd name="connsiteY17" fmla="*/ 1173957 h 1352550"/>
                    <a:gd name="connsiteX18" fmla="*/ 1388269 w 1428749"/>
                    <a:gd name="connsiteY18" fmla="*/ 483394 h 1352550"/>
                    <a:gd name="connsiteX19" fmla="*/ 1428749 w 1428749"/>
                    <a:gd name="connsiteY19" fmla="*/ 361950 h 1352550"/>
                    <a:gd name="connsiteX20" fmla="*/ 945356 w 1428749"/>
                    <a:gd name="connsiteY20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19101 w 1428749"/>
                    <a:gd name="connsiteY7" fmla="*/ 554831 h 1352550"/>
                    <a:gd name="connsiteX8" fmla="*/ 283368 w 1428749"/>
                    <a:gd name="connsiteY8" fmla="*/ 709613 h 1352550"/>
                    <a:gd name="connsiteX9" fmla="*/ 309564 w 1428749"/>
                    <a:gd name="connsiteY9" fmla="*/ 738187 h 1352550"/>
                    <a:gd name="connsiteX10" fmla="*/ 261938 w 1428749"/>
                    <a:gd name="connsiteY10" fmla="*/ 857250 h 1352550"/>
                    <a:gd name="connsiteX11" fmla="*/ 142876 w 1428749"/>
                    <a:gd name="connsiteY11" fmla="*/ 933449 h 1352550"/>
                    <a:gd name="connsiteX12" fmla="*/ 33337 w 1428749"/>
                    <a:gd name="connsiteY12" fmla="*/ 1012032 h 1352550"/>
                    <a:gd name="connsiteX13" fmla="*/ 0 w 1428749"/>
                    <a:gd name="connsiteY13" fmla="*/ 1188244 h 1352550"/>
                    <a:gd name="connsiteX14" fmla="*/ 95250 w 1428749"/>
                    <a:gd name="connsiteY14" fmla="*/ 1314450 h 1352550"/>
                    <a:gd name="connsiteX15" fmla="*/ 435769 w 1428749"/>
                    <a:gd name="connsiteY15" fmla="*/ 1352550 h 1352550"/>
                    <a:gd name="connsiteX16" fmla="*/ 947737 w 1428749"/>
                    <a:gd name="connsiteY16" fmla="*/ 1352550 h 1352550"/>
                    <a:gd name="connsiteX17" fmla="*/ 1273969 w 1428749"/>
                    <a:gd name="connsiteY17" fmla="*/ 1273969 h 1352550"/>
                    <a:gd name="connsiteX18" fmla="*/ 1157288 w 1428749"/>
                    <a:gd name="connsiteY18" fmla="*/ 1173957 h 1352550"/>
                    <a:gd name="connsiteX19" fmla="*/ 1388269 w 1428749"/>
                    <a:gd name="connsiteY19" fmla="*/ 483394 h 1352550"/>
                    <a:gd name="connsiteX20" fmla="*/ 1428749 w 1428749"/>
                    <a:gd name="connsiteY20" fmla="*/ 361950 h 1352550"/>
                    <a:gd name="connsiteX21" fmla="*/ 945356 w 1428749"/>
                    <a:gd name="connsiteY21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19101 w 1428749"/>
                    <a:gd name="connsiteY7" fmla="*/ 554831 h 1352550"/>
                    <a:gd name="connsiteX8" fmla="*/ 283368 w 1428749"/>
                    <a:gd name="connsiteY8" fmla="*/ 709613 h 1352550"/>
                    <a:gd name="connsiteX9" fmla="*/ 309564 w 1428749"/>
                    <a:gd name="connsiteY9" fmla="*/ 738187 h 1352550"/>
                    <a:gd name="connsiteX10" fmla="*/ 261938 w 1428749"/>
                    <a:gd name="connsiteY10" fmla="*/ 857250 h 1352550"/>
                    <a:gd name="connsiteX11" fmla="*/ 211932 w 1428749"/>
                    <a:gd name="connsiteY11" fmla="*/ 919161 h 1352550"/>
                    <a:gd name="connsiteX12" fmla="*/ 33337 w 1428749"/>
                    <a:gd name="connsiteY12" fmla="*/ 1012032 h 1352550"/>
                    <a:gd name="connsiteX13" fmla="*/ 0 w 1428749"/>
                    <a:gd name="connsiteY13" fmla="*/ 1188244 h 1352550"/>
                    <a:gd name="connsiteX14" fmla="*/ 95250 w 1428749"/>
                    <a:gd name="connsiteY14" fmla="*/ 1314450 h 1352550"/>
                    <a:gd name="connsiteX15" fmla="*/ 435769 w 1428749"/>
                    <a:gd name="connsiteY15" fmla="*/ 1352550 h 1352550"/>
                    <a:gd name="connsiteX16" fmla="*/ 947737 w 1428749"/>
                    <a:gd name="connsiteY16" fmla="*/ 1352550 h 1352550"/>
                    <a:gd name="connsiteX17" fmla="*/ 1273969 w 1428749"/>
                    <a:gd name="connsiteY17" fmla="*/ 1273969 h 1352550"/>
                    <a:gd name="connsiteX18" fmla="*/ 1157288 w 1428749"/>
                    <a:gd name="connsiteY18" fmla="*/ 1173957 h 1352550"/>
                    <a:gd name="connsiteX19" fmla="*/ 1388269 w 1428749"/>
                    <a:gd name="connsiteY19" fmla="*/ 483394 h 1352550"/>
                    <a:gd name="connsiteX20" fmla="*/ 1428749 w 1428749"/>
                    <a:gd name="connsiteY20" fmla="*/ 361950 h 1352550"/>
                    <a:gd name="connsiteX21" fmla="*/ 945356 w 1428749"/>
                    <a:gd name="connsiteY21" fmla="*/ 28575 h 1352550"/>
                    <a:gd name="connsiteX0" fmla="*/ 945356 w 1428749"/>
                    <a:gd name="connsiteY0" fmla="*/ 28575 h 1352550"/>
                    <a:gd name="connsiteX1" fmla="*/ 802481 w 1428749"/>
                    <a:gd name="connsiteY1" fmla="*/ 0 h 1352550"/>
                    <a:gd name="connsiteX2" fmla="*/ 683418 w 1428749"/>
                    <a:gd name="connsiteY2" fmla="*/ 354807 h 1352550"/>
                    <a:gd name="connsiteX3" fmla="*/ 647700 w 1428749"/>
                    <a:gd name="connsiteY3" fmla="*/ 478632 h 1352550"/>
                    <a:gd name="connsiteX4" fmla="*/ 711994 w 1428749"/>
                    <a:gd name="connsiteY4" fmla="*/ 566737 h 1352550"/>
                    <a:gd name="connsiteX5" fmla="*/ 621507 w 1428749"/>
                    <a:gd name="connsiteY5" fmla="*/ 545305 h 1352550"/>
                    <a:gd name="connsiteX6" fmla="*/ 490539 w 1428749"/>
                    <a:gd name="connsiteY6" fmla="*/ 581024 h 1352550"/>
                    <a:gd name="connsiteX7" fmla="*/ 419101 w 1428749"/>
                    <a:gd name="connsiteY7" fmla="*/ 554831 h 1352550"/>
                    <a:gd name="connsiteX8" fmla="*/ 283368 w 1428749"/>
                    <a:gd name="connsiteY8" fmla="*/ 709613 h 1352550"/>
                    <a:gd name="connsiteX9" fmla="*/ 309564 w 1428749"/>
                    <a:gd name="connsiteY9" fmla="*/ 738187 h 1352550"/>
                    <a:gd name="connsiteX10" fmla="*/ 261938 w 1428749"/>
                    <a:gd name="connsiteY10" fmla="*/ 857250 h 1352550"/>
                    <a:gd name="connsiteX11" fmla="*/ 211932 w 1428749"/>
                    <a:gd name="connsiteY11" fmla="*/ 919161 h 1352550"/>
                    <a:gd name="connsiteX12" fmla="*/ 173831 w 1428749"/>
                    <a:gd name="connsiteY12" fmla="*/ 1052514 h 1352550"/>
                    <a:gd name="connsiteX13" fmla="*/ 0 w 1428749"/>
                    <a:gd name="connsiteY13" fmla="*/ 1188244 h 1352550"/>
                    <a:gd name="connsiteX14" fmla="*/ 95250 w 1428749"/>
                    <a:gd name="connsiteY14" fmla="*/ 1314450 h 1352550"/>
                    <a:gd name="connsiteX15" fmla="*/ 435769 w 1428749"/>
                    <a:gd name="connsiteY15" fmla="*/ 1352550 h 1352550"/>
                    <a:gd name="connsiteX16" fmla="*/ 947737 w 1428749"/>
                    <a:gd name="connsiteY16" fmla="*/ 1352550 h 1352550"/>
                    <a:gd name="connsiteX17" fmla="*/ 1273969 w 1428749"/>
                    <a:gd name="connsiteY17" fmla="*/ 1273969 h 1352550"/>
                    <a:gd name="connsiteX18" fmla="*/ 1157288 w 1428749"/>
                    <a:gd name="connsiteY18" fmla="*/ 1173957 h 1352550"/>
                    <a:gd name="connsiteX19" fmla="*/ 1388269 w 1428749"/>
                    <a:gd name="connsiteY19" fmla="*/ 483394 h 1352550"/>
                    <a:gd name="connsiteX20" fmla="*/ 1428749 w 1428749"/>
                    <a:gd name="connsiteY20" fmla="*/ 361950 h 1352550"/>
                    <a:gd name="connsiteX21" fmla="*/ 945356 w 1428749"/>
                    <a:gd name="connsiteY21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4763 w 1338262"/>
                    <a:gd name="connsiteY14" fmla="*/ 1314450 h 1352550"/>
                    <a:gd name="connsiteX15" fmla="*/ 345282 w 1338262"/>
                    <a:gd name="connsiteY15" fmla="*/ 1352550 h 1352550"/>
                    <a:gd name="connsiteX16" fmla="*/ 857250 w 1338262"/>
                    <a:gd name="connsiteY16" fmla="*/ 1352550 h 1352550"/>
                    <a:gd name="connsiteX17" fmla="*/ 1183482 w 1338262"/>
                    <a:gd name="connsiteY17" fmla="*/ 1273969 h 1352550"/>
                    <a:gd name="connsiteX18" fmla="*/ 1066801 w 1338262"/>
                    <a:gd name="connsiteY18" fmla="*/ 1173957 h 1352550"/>
                    <a:gd name="connsiteX19" fmla="*/ 1297782 w 1338262"/>
                    <a:gd name="connsiteY19" fmla="*/ 483394 h 1352550"/>
                    <a:gd name="connsiteX20" fmla="*/ 1338262 w 1338262"/>
                    <a:gd name="connsiteY20" fmla="*/ 361950 h 1352550"/>
                    <a:gd name="connsiteX21" fmla="*/ 854869 w 1338262"/>
                    <a:gd name="connsiteY21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59532 w 1338262"/>
                    <a:gd name="connsiteY14" fmla="*/ 1216819 h 1352550"/>
                    <a:gd name="connsiteX15" fmla="*/ 345282 w 1338262"/>
                    <a:gd name="connsiteY15" fmla="*/ 1352550 h 1352550"/>
                    <a:gd name="connsiteX16" fmla="*/ 857250 w 1338262"/>
                    <a:gd name="connsiteY16" fmla="*/ 1352550 h 1352550"/>
                    <a:gd name="connsiteX17" fmla="*/ 1183482 w 1338262"/>
                    <a:gd name="connsiteY17" fmla="*/ 1273969 h 1352550"/>
                    <a:gd name="connsiteX18" fmla="*/ 1066801 w 1338262"/>
                    <a:gd name="connsiteY18" fmla="*/ 1173957 h 1352550"/>
                    <a:gd name="connsiteX19" fmla="*/ 1297782 w 1338262"/>
                    <a:gd name="connsiteY19" fmla="*/ 483394 h 1352550"/>
                    <a:gd name="connsiteX20" fmla="*/ 1338262 w 1338262"/>
                    <a:gd name="connsiteY20" fmla="*/ 361950 h 1352550"/>
                    <a:gd name="connsiteX21" fmla="*/ 854869 w 1338262"/>
                    <a:gd name="connsiteY21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6194 w 1338262"/>
                    <a:gd name="connsiteY14" fmla="*/ 1154906 h 1352550"/>
                    <a:gd name="connsiteX15" fmla="*/ 59532 w 1338262"/>
                    <a:gd name="connsiteY15" fmla="*/ 1216819 h 1352550"/>
                    <a:gd name="connsiteX16" fmla="*/ 345282 w 1338262"/>
                    <a:gd name="connsiteY16" fmla="*/ 1352550 h 1352550"/>
                    <a:gd name="connsiteX17" fmla="*/ 857250 w 1338262"/>
                    <a:gd name="connsiteY17" fmla="*/ 1352550 h 1352550"/>
                    <a:gd name="connsiteX18" fmla="*/ 1183482 w 1338262"/>
                    <a:gd name="connsiteY18" fmla="*/ 1273969 h 1352550"/>
                    <a:gd name="connsiteX19" fmla="*/ 1066801 w 1338262"/>
                    <a:gd name="connsiteY19" fmla="*/ 1173957 h 1352550"/>
                    <a:gd name="connsiteX20" fmla="*/ 1297782 w 1338262"/>
                    <a:gd name="connsiteY20" fmla="*/ 483394 h 1352550"/>
                    <a:gd name="connsiteX21" fmla="*/ 1338262 w 1338262"/>
                    <a:gd name="connsiteY21" fmla="*/ 361950 h 1352550"/>
                    <a:gd name="connsiteX22" fmla="*/ 854869 w 1338262"/>
                    <a:gd name="connsiteY22" fmla="*/ 28575 h 1352550"/>
                    <a:gd name="connsiteX0" fmla="*/ 859631 w 1343024"/>
                    <a:gd name="connsiteY0" fmla="*/ 28575 h 1352550"/>
                    <a:gd name="connsiteX1" fmla="*/ 716756 w 1343024"/>
                    <a:gd name="connsiteY1" fmla="*/ 0 h 1352550"/>
                    <a:gd name="connsiteX2" fmla="*/ 597693 w 1343024"/>
                    <a:gd name="connsiteY2" fmla="*/ 354807 h 1352550"/>
                    <a:gd name="connsiteX3" fmla="*/ 561975 w 1343024"/>
                    <a:gd name="connsiteY3" fmla="*/ 478632 h 1352550"/>
                    <a:gd name="connsiteX4" fmla="*/ 626269 w 1343024"/>
                    <a:gd name="connsiteY4" fmla="*/ 566737 h 1352550"/>
                    <a:gd name="connsiteX5" fmla="*/ 535782 w 1343024"/>
                    <a:gd name="connsiteY5" fmla="*/ 545305 h 1352550"/>
                    <a:gd name="connsiteX6" fmla="*/ 404814 w 1343024"/>
                    <a:gd name="connsiteY6" fmla="*/ 581024 h 1352550"/>
                    <a:gd name="connsiteX7" fmla="*/ 333376 w 1343024"/>
                    <a:gd name="connsiteY7" fmla="*/ 554831 h 1352550"/>
                    <a:gd name="connsiteX8" fmla="*/ 197643 w 1343024"/>
                    <a:gd name="connsiteY8" fmla="*/ 709613 h 1352550"/>
                    <a:gd name="connsiteX9" fmla="*/ 223839 w 1343024"/>
                    <a:gd name="connsiteY9" fmla="*/ 738187 h 1352550"/>
                    <a:gd name="connsiteX10" fmla="*/ 176213 w 1343024"/>
                    <a:gd name="connsiteY10" fmla="*/ 857250 h 1352550"/>
                    <a:gd name="connsiteX11" fmla="*/ 126207 w 1343024"/>
                    <a:gd name="connsiteY11" fmla="*/ 919161 h 1352550"/>
                    <a:gd name="connsiteX12" fmla="*/ 88106 w 1343024"/>
                    <a:gd name="connsiteY12" fmla="*/ 1052514 h 1352550"/>
                    <a:gd name="connsiteX13" fmla="*/ 4762 w 1343024"/>
                    <a:gd name="connsiteY13" fmla="*/ 1104900 h 1352550"/>
                    <a:gd name="connsiteX14" fmla="*/ 0 w 1343024"/>
                    <a:gd name="connsiteY14" fmla="*/ 1183481 h 1352550"/>
                    <a:gd name="connsiteX15" fmla="*/ 64294 w 1343024"/>
                    <a:gd name="connsiteY15" fmla="*/ 1216819 h 1352550"/>
                    <a:gd name="connsiteX16" fmla="*/ 350044 w 1343024"/>
                    <a:gd name="connsiteY16" fmla="*/ 1352550 h 1352550"/>
                    <a:gd name="connsiteX17" fmla="*/ 862012 w 1343024"/>
                    <a:gd name="connsiteY17" fmla="*/ 1352550 h 1352550"/>
                    <a:gd name="connsiteX18" fmla="*/ 1188244 w 1343024"/>
                    <a:gd name="connsiteY18" fmla="*/ 1273969 h 1352550"/>
                    <a:gd name="connsiteX19" fmla="*/ 1071563 w 1343024"/>
                    <a:gd name="connsiteY19" fmla="*/ 1173957 h 1352550"/>
                    <a:gd name="connsiteX20" fmla="*/ 1302544 w 1343024"/>
                    <a:gd name="connsiteY20" fmla="*/ 483394 h 1352550"/>
                    <a:gd name="connsiteX21" fmla="*/ 1343024 w 1343024"/>
                    <a:gd name="connsiteY21" fmla="*/ 361950 h 1352550"/>
                    <a:gd name="connsiteX22" fmla="*/ 859631 w 1343024"/>
                    <a:gd name="connsiteY22" fmla="*/ 28575 h 1352550"/>
                    <a:gd name="connsiteX0" fmla="*/ 859631 w 1343024"/>
                    <a:gd name="connsiteY0" fmla="*/ 28575 h 1352550"/>
                    <a:gd name="connsiteX1" fmla="*/ 716756 w 1343024"/>
                    <a:gd name="connsiteY1" fmla="*/ 0 h 1352550"/>
                    <a:gd name="connsiteX2" fmla="*/ 597693 w 1343024"/>
                    <a:gd name="connsiteY2" fmla="*/ 354807 h 1352550"/>
                    <a:gd name="connsiteX3" fmla="*/ 561975 w 1343024"/>
                    <a:gd name="connsiteY3" fmla="*/ 478632 h 1352550"/>
                    <a:gd name="connsiteX4" fmla="*/ 626269 w 1343024"/>
                    <a:gd name="connsiteY4" fmla="*/ 566737 h 1352550"/>
                    <a:gd name="connsiteX5" fmla="*/ 535782 w 1343024"/>
                    <a:gd name="connsiteY5" fmla="*/ 545305 h 1352550"/>
                    <a:gd name="connsiteX6" fmla="*/ 404814 w 1343024"/>
                    <a:gd name="connsiteY6" fmla="*/ 581024 h 1352550"/>
                    <a:gd name="connsiteX7" fmla="*/ 333376 w 1343024"/>
                    <a:gd name="connsiteY7" fmla="*/ 554831 h 1352550"/>
                    <a:gd name="connsiteX8" fmla="*/ 197643 w 1343024"/>
                    <a:gd name="connsiteY8" fmla="*/ 709613 h 1352550"/>
                    <a:gd name="connsiteX9" fmla="*/ 223839 w 1343024"/>
                    <a:gd name="connsiteY9" fmla="*/ 738187 h 1352550"/>
                    <a:gd name="connsiteX10" fmla="*/ 176213 w 1343024"/>
                    <a:gd name="connsiteY10" fmla="*/ 857250 h 1352550"/>
                    <a:gd name="connsiteX11" fmla="*/ 126207 w 1343024"/>
                    <a:gd name="connsiteY11" fmla="*/ 919161 h 1352550"/>
                    <a:gd name="connsiteX12" fmla="*/ 88106 w 1343024"/>
                    <a:gd name="connsiteY12" fmla="*/ 1052514 h 1352550"/>
                    <a:gd name="connsiteX13" fmla="*/ 4762 w 1343024"/>
                    <a:gd name="connsiteY13" fmla="*/ 1104900 h 1352550"/>
                    <a:gd name="connsiteX14" fmla="*/ 0 w 1343024"/>
                    <a:gd name="connsiteY14" fmla="*/ 1183481 h 1352550"/>
                    <a:gd name="connsiteX15" fmla="*/ 61913 w 1343024"/>
                    <a:gd name="connsiteY15" fmla="*/ 1178719 h 1352550"/>
                    <a:gd name="connsiteX16" fmla="*/ 350044 w 1343024"/>
                    <a:gd name="connsiteY16" fmla="*/ 1352550 h 1352550"/>
                    <a:gd name="connsiteX17" fmla="*/ 862012 w 1343024"/>
                    <a:gd name="connsiteY17" fmla="*/ 1352550 h 1352550"/>
                    <a:gd name="connsiteX18" fmla="*/ 1188244 w 1343024"/>
                    <a:gd name="connsiteY18" fmla="*/ 1273969 h 1352550"/>
                    <a:gd name="connsiteX19" fmla="*/ 1071563 w 1343024"/>
                    <a:gd name="connsiteY19" fmla="*/ 1173957 h 1352550"/>
                    <a:gd name="connsiteX20" fmla="*/ 1302544 w 1343024"/>
                    <a:gd name="connsiteY20" fmla="*/ 483394 h 1352550"/>
                    <a:gd name="connsiteX21" fmla="*/ 1343024 w 1343024"/>
                    <a:gd name="connsiteY21" fmla="*/ 361950 h 1352550"/>
                    <a:gd name="connsiteX22" fmla="*/ 859631 w 1343024"/>
                    <a:gd name="connsiteY22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345282 w 1338262"/>
                    <a:gd name="connsiteY16" fmla="*/ 1352550 h 1352550"/>
                    <a:gd name="connsiteX17" fmla="*/ 857250 w 1338262"/>
                    <a:gd name="connsiteY17" fmla="*/ 1352550 h 1352550"/>
                    <a:gd name="connsiteX18" fmla="*/ 1183482 w 1338262"/>
                    <a:gd name="connsiteY18" fmla="*/ 1273969 h 1352550"/>
                    <a:gd name="connsiteX19" fmla="*/ 1066801 w 1338262"/>
                    <a:gd name="connsiteY19" fmla="*/ 1173957 h 1352550"/>
                    <a:gd name="connsiteX20" fmla="*/ 1297782 w 1338262"/>
                    <a:gd name="connsiteY20" fmla="*/ 483394 h 1352550"/>
                    <a:gd name="connsiteX21" fmla="*/ 1338262 w 1338262"/>
                    <a:gd name="connsiteY21" fmla="*/ 361950 h 1352550"/>
                    <a:gd name="connsiteX22" fmla="*/ 854869 w 1338262"/>
                    <a:gd name="connsiteY22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345282 w 1338262"/>
                    <a:gd name="connsiteY16" fmla="*/ 1352550 h 1352550"/>
                    <a:gd name="connsiteX17" fmla="*/ 857250 w 1338262"/>
                    <a:gd name="connsiteY17" fmla="*/ 1352550 h 1352550"/>
                    <a:gd name="connsiteX18" fmla="*/ 1183482 w 1338262"/>
                    <a:gd name="connsiteY18" fmla="*/ 1273969 h 1352550"/>
                    <a:gd name="connsiteX19" fmla="*/ 1066801 w 1338262"/>
                    <a:gd name="connsiteY19" fmla="*/ 1173957 h 1352550"/>
                    <a:gd name="connsiteX20" fmla="*/ 1297782 w 1338262"/>
                    <a:gd name="connsiteY20" fmla="*/ 483394 h 1352550"/>
                    <a:gd name="connsiteX21" fmla="*/ 1338262 w 1338262"/>
                    <a:gd name="connsiteY21" fmla="*/ 361950 h 1352550"/>
                    <a:gd name="connsiteX22" fmla="*/ 854869 w 1338262"/>
                    <a:gd name="connsiteY22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121444 w 1338262"/>
                    <a:gd name="connsiteY16" fmla="*/ 1219199 h 1352550"/>
                    <a:gd name="connsiteX17" fmla="*/ 345282 w 1338262"/>
                    <a:gd name="connsiteY17" fmla="*/ 1352550 h 1352550"/>
                    <a:gd name="connsiteX18" fmla="*/ 857250 w 1338262"/>
                    <a:gd name="connsiteY18" fmla="*/ 1352550 h 1352550"/>
                    <a:gd name="connsiteX19" fmla="*/ 1183482 w 1338262"/>
                    <a:gd name="connsiteY19" fmla="*/ 1273969 h 1352550"/>
                    <a:gd name="connsiteX20" fmla="*/ 1066801 w 1338262"/>
                    <a:gd name="connsiteY20" fmla="*/ 1173957 h 1352550"/>
                    <a:gd name="connsiteX21" fmla="*/ 1297782 w 1338262"/>
                    <a:gd name="connsiteY21" fmla="*/ 483394 h 1352550"/>
                    <a:gd name="connsiteX22" fmla="*/ 1338262 w 1338262"/>
                    <a:gd name="connsiteY22" fmla="*/ 361950 h 1352550"/>
                    <a:gd name="connsiteX23" fmla="*/ 854869 w 1338262"/>
                    <a:gd name="connsiteY23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26194 w 1338262"/>
                    <a:gd name="connsiteY16" fmla="*/ 1219199 h 1352550"/>
                    <a:gd name="connsiteX17" fmla="*/ 345282 w 1338262"/>
                    <a:gd name="connsiteY17" fmla="*/ 1352550 h 1352550"/>
                    <a:gd name="connsiteX18" fmla="*/ 857250 w 1338262"/>
                    <a:gd name="connsiteY18" fmla="*/ 1352550 h 1352550"/>
                    <a:gd name="connsiteX19" fmla="*/ 1183482 w 1338262"/>
                    <a:gd name="connsiteY19" fmla="*/ 1273969 h 1352550"/>
                    <a:gd name="connsiteX20" fmla="*/ 1066801 w 1338262"/>
                    <a:gd name="connsiteY20" fmla="*/ 1173957 h 1352550"/>
                    <a:gd name="connsiteX21" fmla="*/ 1297782 w 1338262"/>
                    <a:gd name="connsiteY21" fmla="*/ 483394 h 1352550"/>
                    <a:gd name="connsiteX22" fmla="*/ 1338262 w 1338262"/>
                    <a:gd name="connsiteY22" fmla="*/ 361950 h 1352550"/>
                    <a:gd name="connsiteX23" fmla="*/ 854869 w 1338262"/>
                    <a:gd name="connsiteY23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26194 w 1338262"/>
                    <a:gd name="connsiteY16" fmla="*/ 1219199 h 1352550"/>
                    <a:gd name="connsiteX17" fmla="*/ 195263 w 1338262"/>
                    <a:gd name="connsiteY17" fmla="*/ 1293018 h 1352550"/>
                    <a:gd name="connsiteX18" fmla="*/ 345282 w 1338262"/>
                    <a:gd name="connsiteY18" fmla="*/ 1352550 h 1352550"/>
                    <a:gd name="connsiteX19" fmla="*/ 857250 w 1338262"/>
                    <a:gd name="connsiteY19" fmla="*/ 1352550 h 1352550"/>
                    <a:gd name="connsiteX20" fmla="*/ 1183482 w 1338262"/>
                    <a:gd name="connsiteY20" fmla="*/ 1273969 h 1352550"/>
                    <a:gd name="connsiteX21" fmla="*/ 1066801 w 1338262"/>
                    <a:gd name="connsiteY21" fmla="*/ 1173957 h 1352550"/>
                    <a:gd name="connsiteX22" fmla="*/ 1297782 w 1338262"/>
                    <a:gd name="connsiteY22" fmla="*/ 483394 h 1352550"/>
                    <a:gd name="connsiteX23" fmla="*/ 1338262 w 1338262"/>
                    <a:gd name="connsiteY23" fmla="*/ 361950 h 1352550"/>
                    <a:gd name="connsiteX24" fmla="*/ 854869 w 1338262"/>
                    <a:gd name="connsiteY24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26194 w 1338262"/>
                    <a:gd name="connsiteY16" fmla="*/ 1219199 h 1352550"/>
                    <a:gd name="connsiteX17" fmla="*/ 78582 w 1338262"/>
                    <a:gd name="connsiteY17" fmla="*/ 1269205 h 1352550"/>
                    <a:gd name="connsiteX18" fmla="*/ 345282 w 1338262"/>
                    <a:gd name="connsiteY18" fmla="*/ 1352550 h 1352550"/>
                    <a:gd name="connsiteX19" fmla="*/ 857250 w 1338262"/>
                    <a:gd name="connsiteY19" fmla="*/ 1352550 h 1352550"/>
                    <a:gd name="connsiteX20" fmla="*/ 1183482 w 1338262"/>
                    <a:gd name="connsiteY20" fmla="*/ 1273969 h 1352550"/>
                    <a:gd name="connsiteX21" fmla="*/ 1066801 w 1338262"/>
                    <a:gd name="connsiteY21" fmla="*/ 1173957 h 1352550"/>
                    <a:gd name="connsiteX22" fmla="*/ 1297782 w 1338262"/>
                    <a:gd name="connsiteY22" fmla="*/ 483394 h 1352550"/>
                    <a:gd name="connsiteX23" fmla="*/ 1338262 w 1338262"/>
                    <a:gd name="connsiteY23" fmla="*/ 361950 h 1352550"/>
                    <a:gd name="connsiteX24" fmla="*/ 854869 w 1338262"/>
                    <a:gd name="connsiteY24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26194 w 1338262"/>
                    <a:gd name="connsiteY16" fmla="*/ 1219199 h 1352550"/>
                    <a:gd name="connsiteX17" fmla="*/ 78582 w 1338262"/>
                    <a:gd name="connsiteY17" fmla="*/ 1269205 h 1352550"/>
                    <a:gd name="connsiteX18" fmla="*/ 288132 w 1338262"/>
                    <a:gd name="connsiteY18" fmla="*/ 1331118 h 1352550"/>
                    <a:gd name="connsiteX19" fmla="*/ 345282 w 1338262"/>
                    <a:gd name="connsiteY19" fmla="*/ 1352550 h 1352550"/>
                    <a:gd name="connsiteX20" fmla="*/ 857250 w 1338262"/>
                    <a:gd name="connsiteY20" fmla="*/ 1352550 h 1352550"/>
                    <a:gd name="connsiteX21" fmla="*/ 1183482 w 1338262"/>
                    <a:gd name="connsiteY21" fmla="*/ 1273969 h 1352550"/>
                    <a:gd name="connsiteX22" fmla="*/ 1066801 w 1338262"/>
                    <a:gd name="connsiteY22" fmla="*/ 1173957 h 1352550"/>
                    <a:gd name="connsiteX23" fmla="*/ 1297782 w 1338262"/>
                    <a:gd name="connsiteY23" fmla="*/ 483394 h 1352550"/>
                    <a:gd name="connsiteX24" fmla="*/ 1338262 w 1338262"/>
                    <a:gd name="connsiteY24" fmla="*/ 361950 h 1352550"/>
                    <a:gd name="connsiteX25" fmla="*/ 854869 w 1338262"/>
                    <a:gd name="connsiteY25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26194 w 1338262"/>
                    <a:gd name="connsiteY16" fmla="*/ 1219199 h 1352550"/>
                    <a:gd name="connsiteX17" fmla="*/ 78582 w 1338262"/>
                    <a:gd name="connsiteY17" fmla="*/ 1269205 h 1352550"/>
                    <a:gd name="connsiteX18" fmla="*/ 76201 w 1338262"/>
                    <a:gd name="connsiteY18" fmla="*/ 1233487 h 1352550"/>
                    <a:gd name="connsiteX19" fmla="*/ 345282 w 1338262"/>
                    <a:gd name="connsiteY19" fmla="*/ 1352550 h 1352550"/>
                    <a:gd name="connsiteX20" fmla="*/ 857250 w 1338262"/>
                    <a:gd name="connsiteY20" fmla="*/ 1352550 h 1352550"/>
                    <a:gd name="connsiteX21" fmla="*/ 1183482 w 1338262"/>
                    <a:gd name="connsiteY21" fmla="*/ 1273969 h 1352550"/>
                    <a:gd name="connsiteX22" fmla="*/ 1066801 w 1338262"/>
                    <a:gd name="connsiteY22" fmla="*/ 1173957 h 1352550"/>
                    <a:gd name="connsiteX23" fmla="*/ 1297782 w 1338262"/>
                    <a:gd name="connsiteY23" fmla="*/ 483394 h 1352550"/>
                    <a:gd name="connsiteX24" fmla="*/ 1338262 w 1338262"/>
                    <a:gd name="connsiteY24" fmla="*/ 361950 h 1352550"/>
                    <a:gd name="connsiteX25" fmla="*/ 854869 w 1338262"/>
                    <a:gd name="connsiteY25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26194 w 1338262"/>
                    <a:gd name="connsiteY16" fmla="*/ 1219199 h 1352550"/>
                    <a:gd name="connsiteX17" fmla="*/ 78582 w 1338262"/>
                    <a:gd name="connsiteY17" fmla="*/ 1269205 h 1352550"/>
                    <a:gd name="connsiteX18" fmla="*/ 76201 w 1338262"/>
                    <a:gd name="connsiteY18" fmla="*/ 1233487 h 1352550"/>
                    <a:gd name="connsiteX19" fmla="*/ 183357 w 1338262"/>
                    <a:gd name="connsiteY19" fmla="*/ 1283493 h 1352550"/>
                    <a:gd name="connsiteX20" fmla="*/ 345282 w 1338262"/>
                    <a:gd name="connsiteY20" fmla="*/ 1352550 h 1352550"/>
                    <a:gd name="connsiteX21" fmla="*/ 857250 w 1338262"/>
                    <a:gd name="connsiteY21" fmla="*/ 1352550 h 1352550"/>
                    <a:gd name="connsiteX22" fmla="*/ 1183482 w 1338262"/>
                    <a:gd name="connsiteY22" fmla="*/ 1273969 h 1352550"/>
                    <a:gd name="connsiteX23" fmla="*/ 1066801 w 1338262"/>
                    <a:gd name="connsiteY23" fmla="*/ 1173957 h 1352550"/>
                    <a:gd name="connsiteX24" fmla="*/ 1297782 w 1338262"/>
                    <a:gd name="connsiteY24" fmla="*/ 483394 h 1352550"/>
                    <a:gd name="connsiteX25" fmla="*/ 1338262 w 1338262"/>
                    <a:gd name="connsiteY25" fmla="*/ 361950 h 1352550"/>
                    <a:gd name="connsiteX26" fmla="*/ 854869 w 1338262"/>
                    <a:gd name="connsiteY26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26194 w 1338262"/>
                    <a:gd name="connsiteY16" fmla="*/ 1219199 h 1352550"/>
                    <a:gd name="connsiteX17" fmla="*/ 78582 w 1338262"/>
                    <a:gd name="connsiteY17" fmla="*/ 1269205 h 1352550"/>
                    <a:gd name="connsiteX18" fmla="*/ 76201 w 1338262"/>
                    <a:gd name="connsiteY18" fmla="*/ 1233487 h 1352550"/>
                    <a:gd name="connsiteX19" fmla="*/ 138113 w 1338262"/>
                    <a:gd name="connsiteY19" fmla="*/ 1171574 h 1352550"/>
                    <a:gd name="connsiteX20" fmla="*/ 345282 w 1338262"/>
                    <a:gd name="connsiteY20" fmla="*/ 1352550 h 1352550"/>
                    <a:gd name="connsiteX21" fmla="*/ 857250 w 1338262"/>
                    <a:gd name="connsiteY21" fmla="*/ 1352550 h 1352550"/>
                    <a:gd name="connsiteX22" fmla="*/ 1183482 w 1338262"/>
                    <a:gd name="connsiteY22" fmla="*/ 1273969 h 1352550"/>
                    <a:gd name="connsiteX23" fmla="*/ 1066801 w 1338262"/>
                    <a:gd name="connsiteY23" fmla="*/ 1173957 h 1352550"/>
                    <a:gd name="connsiteX24" fmla="*/ 1297782 w 1338262"/>
                    <a:gd name="connsiteY24" fmla="*/ 483394 h 1352550"/>
                    <a:gd name="connsiteX25" fmla="*/ 1338262 w 1338262"/>
                    <a:gd name="connsiteY25" fmla="*/ 361950 h 1352550"/>
                    <a:gd name="connsiteX26" fmla="*/ 854869 w 1338262"/>
                    <a:gd name="connsiteY26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26194 w 1338262"/>
                    <a:gd name="connsiteY16" fmla="*/ 1219199 h 1352550"/>
                    <a:gd name="connsiteX17" fmla="*/ 78582 w 1338262"/>
                    <a:gd name="connsiteY17" fmla="*/ 1269205 h 1352550"/>
                    <a:gd name="connsiteX18" fmla="*/ 76201 w 1338262"/>
                    <a:gd name="connsiteY18" fmla="*/ 1233487 h 1352550"/>
                    <a:gd name="connsiteX19" fmla="*/ 138113 w 1338262"/>
                    <a:gd name="connsiteY19" fmla="*/ 1171574 h 1352550"/>
                    <a:gd name="connsiteX20" fmla="*/ 345282 w 1338262"/>
                    <a:gd name="connsiteY20" fmla="*/ 1352550 h 1352550"/>
                    <a:gd name="connsiteX21" fmla="*/ 857250 w 1338262"/>
                    <a:gd name="connsiteY21" fmla="*/ 1352550 h 1352550"/>
                    <a:gd name="connsiteX22" fmla="*/ 976313 w 1338262"/>
                    <a:gd name="connsiteY22" fmla="*/ 1169194 h 1352550"/>
                    <a:gd name="connsiteX23" fmla="*/ 1066801 w 1338262"/>
                    <a:gd name="connsiteY23" fmla="*/ 1173957 h 1352550"/>
                    <a:gd name="connsiteX24" fmla="*/ 1297782 w 1338262"/>
                    <a:gd name="connsiteY24" fmla="*/ 483394 h 1352550"/>
                    <a:gd name="connsiteX25" fmla="*/ 1338262 w 1338262"/>
                    <a:gd name="connsiteY25" fmla="*/ 361950 h 1352550"/>
                    <a:gd name="connsiteX26" fmla="*/ 854869 w 1338262"/>
                    <a:gd name="connsiteY26" fmla="*/ 28575 h 1352550"/>
                    <a:gd name="connsiteX0" fmla="*/ 854869 w 1338262"/>
                    <a:gd name="connsiteY0" fmla="*/ 28575 h 1352550"/>
                    <a:gd name="connsiteX1" fmla="*/ 711994 w 1338262"/>
                    <a:gd name="connsiteY1" fmla="*/ 0 h 1352550"/>
                    <a:gd name="connsiteX2" fmla="*/ 592931 w 1338262"/>
                    <a:gd name="connsiteY2" fmla="*/ 354807 h 1352550"/>
                    <a:gd name="connsiteX3" fmla="*/ 557213 w 1338262"/>
                    <a:gd name="connsiteY3" fmla="*/ 478632 h 1352550"/>
                    <a:gd name="connsiteX4" fmla="*/ 621507 w 1338262"/>
                    <a:gd name="connsiteY4" fmla="*/ 566737 h 1352550"/>
                    <a:gd name="connsiteX5" fmla="*/ 531020 w 1338262"/>
                    <a:gd name="connsiteY5" fmla="*/ 545305 h 1352550"/>
                    <a:gd name="connsiteX6" fmla="*/ 400052 w 1338262"/>
                    <a:gd name="connsiteY6" fmla="*/ 581024 h 1352550"/>
                    <a:gd name="connsiteX7" fmla="*/ 328614 w 1338262"/>
                    <a:gd name="connsiteY7" fmla="*/ 554831 h 1352550"/>
                    <a:gd name="connsiteX8" fmla="*/ 192881 w 1338262"/>
                    <a:gd name="connsiteY8" fmla="*/ 709613 h 1352550"/>
                    <a:gd name="connsiteX9" fmla="*/ 219077 w 1338262"/>
                    <a:gd name="connsiteY9" fmla="*/ 738187 h 1352550"/>
                    <a:gd name="connsiteX10" fmla="*/ 171451 w 1338262"/>
                    <a:gd name="connsiteY10" fmla="*/ 857250 h 1352550"/>
                    <a:gd name="connsiteX11" fmla="*/ 121445 w 1338262"/>
                    <a:gd name="connsiteY11" fmla="*/ 919161 h 1352550"/>
                    <a:gd name="connsiteX12" fmla="*/ 83344 w 1338262"/>
                    <a:gd name="connsiteY12" fmla="*/ 1052514 h 1352550"/>
                    <a:gd name="connsiteX13" fmla="*/ 0 w 1338262"/>
                    <a:gd name="connsiteY13" fmla="*/ 1104900 h 1352550"/>
                    <a:gd name="connsiteX14" fmla="*/ 2382 w 1338262"/>
                    <a:gd name="connsiteY14" fmla="*/ 1185863 h 1352550"/>
                    <a:gd name="connsiteX15" fmla="*/ 57151 w 1338262"/>
                    <a:gd name="connsiteY15" fmla="*/ 1178719 h 1352550"/>
                    <a:gd name="connsiteX16" fmla="*/ 26194 w 1338262"/>
                    <a:gd name="connsiteY16" fmla="*/ 1219199 h 1352550"/>
                    <a:gd name="connsiteX17" fmla="*/ 78582 w 1338262"/>
                    <a:gd name="connsiteY17" fmla="*/ 1269205 h 1352550"/>
                    <a:gd name="connsiteX18" fmla="*/ 76201 w 1338262"/>
                    <a:gd name="connsiteY18" fmla="*/ 1233487 h 1352550"/>
                    <a:gd name="connsiteX19" fmla="*/ 138113 w 1338262"/>
                    <a:gd name="connsiteY19" fmla="*/ 1171574 h 1352550"/>
                    <a:gd name="connsiteX20" fmla="*/ 345282 w 1338262"/>
                    <a:gd name="connsiteY20" fmla="*/ 1352550 h 1352550"/>
                    <a:gd name="connsiteX21" fmla="*/ 859631 w 1338262"/>
                    <a:gd name="connsiteY21" fmla="*/ 1209675 h 1352550"/>
                    <a:gd name="connsiteX22" fmla="*/ 976313 w 1338262"/>
                    <a:gd name="connsiteY22" fmla="*/ 1169194 h 1352550"/>
                    <a:gd name="connsiteX23" fmla="*/ 1066801 w 1338262"/>
                    <a:gd name="connsiteY23" fmla="*/ 1173957 h 1352550"/>
                    <a:gd name="connsiteX24" fmla="*/ 1297782 w 1338262"/>
                    <a:gd name="connsiteY24" fmla="*/ 483394 h 1352550"/>
                    <a:gd name="connsiteX25" fmla="*/ 1338262 w 1338262"/>
                    <a:gd name="connsiteY25" fmla="*/ 361950 h 1352550"/>
                    <a:gd name="connsiteX26" fmla="*/ 854869 w 1338262"/>
                    <a:gd name="connsiteY26" fmla="*/ 28575 h 1352550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545307 w 1338262"/>
                    <a:gd name="connsiteY20" fmla="*/ 1092993 h 1269205"/>
                    <a:gd name="connsiteX21" fmla="*/ 859631 w 1338262"/>
                    <a:gd name="connsiteY21" fmla="*/ 1209675 h 1269205"/>
                    <a:gd name="connsiteX22" fmla="*/ 976313 w 1338262"/>
                    <a:gd name="connsiteY22" fmla="*/ 1169194 h 1269205"/>
                    <a:gd name="connsiteX23" fmla="*/ 1066801 w 1338262"/>
                    <a:gd name="connsiteY23" fmla="*/ 1173957 h 1269205"/>
                    <a:gd name="connsiteX24" fmla="*/ 1297782 w 1338262"/>
                    <a:gd name="connsiteY24" fmla="*/ 483394 h 1269205"/>
                    <a:gd name="connsiteX25" fmla="*/ 1338262 w 1338262"/>
                    <a:gd name="connsiteY25" fmla="*/ 361950 h 1269205"/>
                    <a:gd name="connsiteX26" fmla="*/ 854869 w 1338262"/>
                    <a:gd name="connsiteY26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309563 w 1338262"/>
                    <a:gd name="connsiteY20" fmla="*/ 1140619 h 1269205"/>
                    <a:gd name="connsiteX21" fmla="*/ 545307 w 1338262"/>
                    <a:gd name="connsiteY21" fmla="*/ 1092993 h 1269205"/>
                    <a:gd name="connsiteX22" fmla="*/ 859631 w 1338262"/>
                    <a:gd name="connsiteY22" fmla="*/ 1209675 h 1269205"/>
                    <a:gd name="connsiteX23" fmla="*/ 976313 w 1338262"/>
                    <a:gd name="connsiteY23" fmla="*/ 1169194 h 1269205"/>
                    <a:gd name="connsiteX24" fmla="*/ 1066801 w 1338262"/>
                    <a:gd name="connsiteY24" fmla="*/ 1173957 h 1269205"/>
                    <a:gd name="connsiteX25" fmla="*/ 1297782 w 1338262"/>
                    <a:gd name="connsiteY25" fmla="*/ 483394 h 1269205"/>
                    <a:gd name="connsiteX26" fmla="*/ 1338262 w 1338262"/>
                    <a:gd name="connsiteY26" fmla="*/ 361950 h 1269205"/>
                    <a:gd name="connsiteX27" fmla="*/ 854869 w 1338262"/>
                    <a:gd name="connsiteY27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545307 w 1338262"/>
                    <a:gd name="connsiteY21" fmla="*/ 1092993 h 1269205"/>
                    <a:gd name="connsiteX22" fmla="*/ 859631 w 1338262"/>
                    <a:gd name="connsiteY22" fmla="*/ 1209675 h 1269205"/>
                    <a:gd name="connsiteX23" fmla="*/ 976313 w 1338262"/>
                    <a:gd name="connsiteY23" fmla="*/ 1169194 h 1269205"/>
                    <a:gd name="connsiteX24" fmla="*/ 1066801 w 1338262"/>
                    <a:gd name="connsiteY24" fmla="*/ 1173957 h 1269205"/>
                    <a:gd name="connsiteX25" fmla="*/ 1297782 w 1338262"/>
                    <a:gd name="connsiteY25" fmla="*/ 483394 h 1269205"/>
                    <a:gd name="connsiteX26" fmla="*/ 1338262 w 1338262"/>
                    <a:gd name="connsiteY26" fmla="*/ 361950 h 1269205"/>
                    <a:gd name="connsiteX27" fmla="*/ 854869 w 1338262"/>
                    <a:gd name="connsiteY27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381000 w 1338262"/>
                    <a:gd name="connsiteY21" fmla="*/ 1121569 h 1269205"/>
                    <a:gd name="connsiteX22" fmla="*/ 545307 w 1338262"/>
                    <a:gd name="connsiteY22" fmla="*/ 1092993 h 1269205"/>
                    <a:gd name="connsiteX23" fmla="*/ 859631 w 1338262"/>
                    <a:gd name="connsiteY23" fmla="*/ 1209675 h 1269205"/>
                    <a:gd name="connsiteX24" fmla="*/ 976313 w 1338262"/>
                    <a:gd name="connsiteY24" fmla="*/ 1169194 h 1269205"/>
                    <a:gd name="connsiteX25" fmla="*/ 1066801 w 1338262"/>
                    <a:gd name="connsiteY25" fmla="*/ 1173957 h 1269205"/>
                    <a:gd name="connsiteX26" fmla="*/ 1297782 w 1338262"/>
                    <a:gd name="connsiteY26" fmla="*/ 483394 h 1269205"/>
                    <a:gd name="connsiteX27" fmla="*/ 1338262 w 1338262"/>
                    <a:gd name="connsiteY27" fmla="*/ 361950 h 1269205"/>
                    <a:gd name="connsiteX28" fmla="*/ 854869 w 1338262"/>
                    <a:gd name="connsiteY28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545307 w 1338262"/>
                    <a:gd name="connsiteY22" fmla="*/ 1092993 h 1269205"/>
                    <a:gd name="connsiteX23" fmla="*/ 859631 w 1338262"/>
                    <a:gd name="connsiteY23" fmla="*/ 1209675 h 1269205"/>
                    <a:gd name="connsiteX24" fmla="*/ 976313 w 1338262"/>
                    <a:gd name="connsiteY24" fmla="*/ 1169194 h 1269205"/>
                    <a:gd name="connsiteX25" fmla="*/ 1066801 w 1338262"/>
                    <a:gd name="connsiteY25" fmla="*/ 1173957 h 1269205"/>
                    <a:gd name="connsiteX26" fmla="*/ 1297782 w 1338262"/>
                    <a:gd name="connsiteY26" fmla="*/ 483394 h 1269205"/>
                    <a:gd name="connsiteX27" fmla="*/ 1338262 w 1338262"/>
                    <a:gd name="connsiteY27" fmla="*/ 361950 h 1269205"/>
                    <a:gd name="connsiteX28" fmla="*/ 854869 w 1338262"/>
                    <a:gd name="connsiteY28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440532 w 1338262"/>
                    <a:gd name="connsiteY22" fmla="*/ 1081088 h 1269205"/>
                    <a:gd name="connsiteX23" fmla="*/ 545307 w 1338262"/>
                    <a:gd name="connsiteY23" fmla="*/ 1092993 h 1269205"/>
                    <a:gd name="connsiteX24" fmla="*/ 859631 w 1338262"/>
                    <a:gd name="connsiteY24" fmla="*/ 1209675 h 1269205"/>
                    <a:gd name="connsiteX25" fmla="*/ 976313 w 1338262"/>
                    <a:gd name="connsiteY25" fmla="*/ 1169194 h 1269205"/>
                    <a:gd name="connsiteX26" fmla="*/ 1066801 w 1338262"/>
                    <a:gd name="connsiteY26" fmla="*/ 1173957 h 1269205"/>
                    <a:gd name="connsiteX27" fmla="*/ 1297782 w 1338262"/>
                    <a:gd name="connsiteY27" fmla="*/ 483394 h 1269205"/>
                    <a:gd name="connsiteX28" fmla="*/ 1338262 w 1338262"/>
                    <a:gd name="connsiteY28" fmla="*/ 361950 h 1269205"/>
                    <a:gd name="connsiteX29" fmla="*/ 854869 w 1338262"/>
                    <a:gd name="connsiteY29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545307 w 1338262"/>
                    <a:gd name="connsiteY23" fmla="*/ 1092993 h 1269205"/>
                    <a:gd name="connsiteX24" fmla="*/ 859631 w 1338262"/>
                    <a:gd name="connsiteY24" fmla="*/ 1209675 h 1269205"/>
                    <a:gd name="connsiteX25" fmla="*/ 976313 w 1338262"/>
                    <a:gd name="connsiteY25" fmla="*/ 1169194 h 1269205"/>
                    <a:gd name="connsiteX26" fmla="*/ 1066801 w 1338262"/>
                    <a:gd name="connsiteY26" fmla="*/ 1173957 h 1269205"/>
                    <a:gd name="connsiteX27" fmla="*/ 1297782 w 1338262"/>
                    <a:gd name="connsiteY27" fmla="*/ 483394 h 1269205"/>
                    <a:gd name="connsiteX28" fmla="*/ 1338262 w 1338262"/>
                    <a:gd name="connsiteY28" fmla="*/ 361950 h 1269205"/>
                    <a:gd name="connsiteX29" fmla="*/ 854869 w 1338262"/>
                    <a:gd name="connsiteY29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440532 w 1338262"/>
                    <a:gd name="connsiteY23" fmla="*/ 1085850 h 1269205"/>
                    <a:gd name="connsiteX24" fmla="*/ 545307 w 1338262"/>
                    <a:gd name="connsiteY24" fmla="*/ 1092993 h 1269205"/>
                    <a:gd name="connsiteX25" fmla="*/ 859631 w 1338262"/>
                    <a:gd name="connsiteY25" fmla="*/ 1209675 h 1269205"/>
                    <a:gd name="connsiteX26" fmla="*/ 976313 w 1338262"/>
                    <a:gd name="connsiteY26" fmla="*/ 1169194 h 1269205"/>
                    <a:gd name="connsiteX27" fmla="*/ 1066801 w 1338262"/>
                    <a:gd name="connsiteY27" fmla="*/ 1173957 h 1269205"/>
                    <a:gd name="connsiteX28" fmla="*/ 1297782 w 1338262"/>
                    <a:gd name="connsiteY28" fmla="*/ 483394 h 1269205"/>
                    <a:gd name="connsiteX29" fmla="*/ 1338262 w 1338262"/>
                    <a:gd name="connsiteY29" fmla="*/ 361950 h 1269205"/>
                    <a:gd name="connsiteX30" fmla="*/ 854869 w 1338262"/>
                    <a:gd name="connsiteY30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545307 w 1338262"/>
                    <a:gd name="connsiteY24" fmla="*/ 1092993 h 1269205"/>
                    <a:gd name="connsiteX25" fmla="*/ 859631 w 1338262"/>
                    <a:gd name="connsiteY25" fmla="*/ 1209675 h 1269205"/>
                    <a:gd name="connsiteX26" fmla="*/ 976313 w 1338262"/>
                    <a:gd name="connsiteY26" fmla="*/ 1169194 h 1269205"/>
                    <a:gd name="connsiteX27" fmla="*/ 1066801 w 1338262"/>
                    <a:gd name="connsiteY27" fmla="*/ 1173957 h 1269205"/>
                    <a:gd name="connsiteX28" fmla="*/ 1297782 w 1338262"/>
                    <a:gd name="connsiteY28" fmla="*/ 483394 h 1269205"/>
                    <a:gd name="connsiteX29" fmla="*/ 1338262 w 1338262"/>
                    <a:gd name="connsiteY29" fmla="*/ 361950 h 1269205"/>
                    <a:gd name="connsiteX30" fmla="*/ 854869 w 1338262"/>
                    <a:gd name="connsiteY30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50057 w 1338262"/>
                    <a:gd name="connsiteY24" fmla="*/ 1140619 h 1269205"/>
                    <a:gd name="connsiteX25" fmla="*/ 545307 w 1338262"/>
                    <a:gd name="connsiteY25" fmla="*/ 1092993 h 1269205"/>
                    <a:gd name="connsiteX26" fmla="*/ 859631 w 1338262"/>
                    <a:gd name="connsiteY26" fmla="*/ 1209675 h 1269205"/>
                    <a:gd name="connsiteX27" fmla="*/ 976313 w 1338262"/>
                    <a:gd name="connsiteY27" fmla="*/ 1169194 h 1269205"/>
                    <a:gd name="connsiteX28" fmla="*/ 1066801 w 1338262"/>
                    <a:gd name="connsiteY28" fmla="*/ 1173957 h 1269205"/>
                    <a:gd name="connsiteX29" fmla="*/ 1297782 w 1338262"/>
                    <a:gd name="connsiteY29" fmla="*/ 483394 h 1269205"/>
                    <a:gd name="connsiteX30" fmla="*/ 1338262 w 1338262"/>
                    <a:gd name="connsiteY30" fmla="*/ 361950 h 1269205"/>
                    <a:gd name="connsiteX31" fmla="*/ 854869 w 1338262"/>
                    <a:gd name="connsiteY31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545307 w 1338262"/>
                    <a:gd name="connsiteY25" fmla="*/ 1092993 h 1269205"/>
                    <a:gd name="connsiteX26" fmla="*/ 859631 w 1338262"/>
                    <a:gd name="connsiteY26" fmla="*/ 1209675 h 1269205"/>
                    <a:gd name="connsiteX27" fmla="*/ 976313 w 1338262"/>
                    <a:gd name="connsiteY27" fmla="*/ 1169194 h 1269205"/>
                    <a:gd name="connsiteX28" fmla="*/ 1066801 w 1338262"/>
                    <a:gd name="connsiteY28" fmla="*/ 1173957 h 1269205"/>
                    <a:gd name="connsiteX29" fmla="*/ 1297782 w 1338262"/>
                    <a:gd name="connsiteY29" fmla="*/ 483394 h 1269205"/>
                    <a:gd name="connsiteX30" fmla="*/ 1338262 w 1338262"/>
                    <a:gd name="connsiteY30" fmla="*/ 361950 h 1269205"/>
                    <a:gd name="connsiteX31" fmla="*/ 854869 w 1338262"/>
                    <a:gd name="connsiteY31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500063 w 1338262"/>
                    <a:gd name="connsiteY25" fmla="*/ 1114425 h 1269205"/>
                    <a:gd name="connsiteX26" fmla="*/ 545307 w 1338262"/>
                    <a:gd name="connsiteY26" fmla="*/ 1092993 h 1269205"/>
                    <a:gd name="connsiteX27" fmla="*/ 859631 w 1338262"/>
                    <a:gd name="connsiteY27" fmla="*/ 1209675 h 1269205"/>
                    <a:gd name="connsiteX28" fmla="*/ 976313 w 1338262"/>
                    <a:gd name="connsiteY28" fmla="*/ 1169194 h 1269205"/>
                    <a:gd name="connsiteX29" fmla="*/ 1066801 w 1338262"/>
                    <a:gd name="connsiteY29" fmla="*/ 1173957 h 1269205"/>
                    <a:gd name="connsiteX30" fmla="*/ 1297782 w 1338262"/>
                    <a:gd name="connsiteY30" fmla="*/ 483394 h 1269205"/>
                    <a:gd name="connsiteX31" fmla="*/ 1338262 w 1338262"/>
                    <a:gd name="connsiteY31" fmla="*/ 361950 h 1269205"/>
                    <a:gd name="connsiteX32" fmla="*/ 854869 w 1338262"/>
                    <a:gd name="connsiteY32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545307 w 1338262"/>
                    <a:gd name="connsiteY26" fmla="*/ 1092993 h 1269205"/>
                    <a:gd name="connsiteX27" fmla="*/ 859631 w 1338262"/>
                    <a:gd name="connsiteY27" fmla="*/ 1209675 h 1269205"/>
                    <a:gd name="connsiteX28" fmla="*/ 976313 w 1338262"/>
                    <a:gd name="connsiteY28" fmla="*/ 1169194 h 1269205"/>
                    <a:gd name="connsiteX29" fmla="*/ 1066801 w 1338262"/>
                    <a:gd name="connsiteY29" fmla="*/ 1173957 h 1269205"/>
                    <a:gd name="connsiteX30" fmla="*/ 1297782 w 1338262"/>
                    <a:gd name="connsiteY30" fmla="*/ 483394 h 1269205"/>
                    <a:gd name="connsiteX31" fmla="*/ 1338262 w 1338262"/>
                    <a:gd name="connsiteY31" fmla="*/ 361950 h 1269205"/>
                    <a:gd name="connsiteX32" fmla="*/ 854869 w 1338262"/>
                    <a:gd name="connsiteY32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502444 w 1338262"/>
                    <a:gd name="connsiteY26" fmla="*/ 1107282 h 1269205"/>
                    <a:gd name="connsiteX27" fmla="*/ 545307 w 1338262"/>
                    <a:gd name="connsiteY27" fmla="*/ 1092993 h 1269205"/>
                    <a:gd name="connsiteX28" fmla="*/ 859631 w 1338262"/>
                    <a:gd name="connsiteY28" fmla="*/ 1209675 h 1269205"/>
                    <a:gd name="connsiteX29" fmla="*/ 976313 w 1338262"/>
                    <a:gd name="connsiteY29" fmla="*/ 1169194 h 1269205"/>
                    <a:gd name="connsiteX30" fmla="*/ 1066801 w 1338262"/>
                    <a:gd name="connsiteY30" fmla="*/ 1173957 h 1269205"/>
                    <a:gd name="connsiteX31" fmla="*/ 1297782 w 1338262"/>
                    <a:gd name="connsiteY31" fmla="*/ 483394 h 1269205"/>
                    <a:gd name="connsiteX32" fmla="*/ 1338262 w 1338262"/>
                    <a:gd name="connsiteY32" fmla="*/ 361950 h 1269205"/>
                    <a:gd name="connsiteX33" fmla="*/ 854869 w 1338262"/>
                    <a:gd name="connsiteY33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859631 w 1338262"/>
                    <a:gd name="connsiteY28" fmla="*/ 1209675 h 1269205"/>
                    <a:gd name="connsiteX29" fmla="*/ 976313 w 1338262"/>
                    <a:gd name="connsiteY29" fmla="*/ 1169194 h 1269205"/>
                    <a:gd name="connsiteX30" fmla="*/ 1066801 w 1338262"/>
                    <a:gd name="connsiteY30" fmla="*/ 1173957 h 1269205"/>
                    <a:gd name="connsiteX31" fmla="*/ 1297782 w 1338262"/>
                    <a:gd name="connsiteY31" fmla="*/ 483394 h 1269205"/>
                    <a:gd name="connsiteX32" fmla="*/ 1338262 w 1338262"/>
                    <a:gd name="connsiteY32" fmla="*/ 361950 h 1269205"/>
                    <a:gd name="connsiteX33" fmla="*/ 854869 w 1338262"/>
                    <a:gd name="connsiteY33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628650 w 1338262"/>
                    <a:gd name="connsiteY28" fmla="*/ 1128713 h 1269205"/>
                    <a:gd name="connsiteX29" fmla="*/ 859631 w 1338262"/>
                    <a:gd name="connsiteY29" fmla="*/ 1209675 h 1269205"/>
                    <a:gd name="connsiteX30" fmla="*/ 976313 w 1338262"/>
                    <a:gd name="connsiteY30" fmla="*/ 1169194 h 1269205"/>
                    <a:gd name="connsiteX31" fmla="*/ 1066801 w 1338262"/>
                    <a:gd name="connsiteY31" fmla="*/ 1173957 h 1269205"/>
                    <a:gd name="connsiteX32" fmla="*/ 1297782 w 1338262"/>
                    <a:gd name="connsiteY32" fmla="*/ 483394 h 1269205"/>
                    <a:gd name="connsiteX33" fmla="*/ 1338262 w 1338262"/>
                    <a:gd name="connsiteY33" fmla="*/ 361950 h 1269205"/>
                    <a:gd name="connsiteX34" fmla="*/ 854869 w 1338262"/>
                    <a:gd name="connsiteY34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581025 w 1338262"/>
                    <a:gd name="connsiteY28" fmla="*/ 1123950 h 1269205"/>
                    <a:gd name="connsiteX29" fmla="*/ 859631 w 1338262"/>
                    <a:gd name="connsiteY29" fmla="*/ 1209675 h 1269205"/>
                    <a:gd name="connsiteX30" fmla="*/ 976313 w 1338262"/>
                    <a:gd name="connsiteY30" fmla="*/ 1169194 h 1269205"/>
                    <a:gd name="connsiteX31" fmla="*/ 1066801 w 1338262"/>
                    <a:gd name="connsiteY31" fmla="*/ 1173957 h 1269205"/>
                    <a:gd name="connsiteX32" fmla="*/ 1297782 w 1338262"/>
                    <a:gd name="connsiteY32" fmla="*/ 483394 h 1269205"/>
                    <a:gd name="connsiteX33" fmla="*/ 1338262 w 1338262"/>
                    <a:gd name="connsiteY33" fmla="*/ 361950 h 1269205"/>
                    <a:gd name="connsiteX34" fmla="*/ 854869 w 1338262"/>
                    <a:gd name="connsiteY34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581025 w 1338262"/>
                    <a:gd name="connsiteY28" fmla="*/ 1123950 h 1269205"/>
                    <a:gd name="connsiteX29" fmla="*/ 692944 w 1338262"/>
                    <a:gd name="connsiteY29" fmla="*/ 1154907 h 1269205"/>
                    <a:gd name="connsiteX30" fmla="*/ 859631 w 1338262"/>
                    <a:gd name="connsiteY30" fmla="*/ 1209675 h 1269205"/>
                    <a:gd name="connsiteX31" fmla="*/ 976313 w 1338262"/>
                    <a:gd name="connsiteY31" fmla="*/ 1169194 h 1269205"/>
                    <a:gd name="connsiteX32" fmla="*/ 1066801 w 1338262"/>
                    <a:gd name="connsiteY32" fmla="*/ 1173957 h 1269205"/>
                    <a:gd name="connsiteX33" fmla="*/ 1297782 w 1338262"/>
                    <a:gd name="connsiteY33" fmla="*/ 483394 h 1269205"/>
                    <a:gd name="connsiteX34" fmla="*/ 1338262 w 1338262"/>
                    <a:gd name="connsiteY34" fmla="*/ 361950 h 1269205"/>
                    <a:gd name="connsiteX35" fmla="*/ 854869 w 1338262"/>
                    <a:gd name="connsiteY35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581025 w 1338262"/>
                    <a:gd name="connsiteY28" fmla="*/ 1123950 h 1269205"/>
                    <a:gd name="connsiteX29" fmla="*/ 678656 w 1338262"/>
                    <a:gd name="connsiteY29" fmla="*/ 1107282 h 1269205"/>
                    <a:gd name="connsiteX30" fmla="*/ 859631 w 1338262"/>
                    <a:gd name="connsiteY30" fmla="*/ 1209675 h 1269205"/>
                    <a:gd name="connsiteX31" fmla="*/ 976313 w 1338262"/>
                    <a:gd name="connsiteY31" fmla="*/ 1169194 h 1269205"/>
                    <a:gd name="connsiteX32" fmla="*/ 1066801 w 1338262"/>
                    <a:gd name="connsiteY32" fmla="*/ 1173957 h 1269205"/>
                    <a:gd name="connsiteX33" fmla="*/ 1297782 w 1338262"/>
                    <a:gd name="connsiteY33" fmla="*/ 483394 h 1269205"/>
                    <a:gd name="connsiteX34" fmla="*/ 1338262 w 1338262"/>
                    <a:gd name="connsiteY34" fmla="*/ 361950 h 1269205"/>
                    <a:gd name="connsiteX35" fmla="*/ 854869 w 1338262"/>
                    <a:gd name="connsiteY35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581025 w 1338262"/>
                    <a:gd name="connsiteY28" fmla="*/ 1123950 h 1269205"/>
                    <a:gd name="connsiteX29" fmla="*/ 678656 w 1338262"/>
                    <a:gd name="connsiteY29" fmla="*/ 1107282 h 1269205"/>
                    <a:gd name="connsiteX30" fmla="*/ 790575 w 1338262"/>
                    <a:gd name="connsiteY30" fmla="*/ 1171575 h 1269205"/>
                    <a:gd name="connsiteX31" fmla="*/ 859631 w 1338262"/>
                    <a:gd name="connsiteY31" fmla="*/ 1209675 h 1269205"/>
                    <a:gd name="connsiteX32" fmla="*/ 976313 w 1338262"/>
                    <a:gd name="connsiteY32" fmla="*/ 1169194 h 1269205"/>
                    <a:gd name="connsiteX33" fmla="*/ 1066801 w 1338262"/>
                    <a:gd name="connsiteY33" fmla="*/ 1173957 h 1269205"/>
                    <a:gd name="connsiteX34" fmla="*/ 1297782 w 1338262"/>
                    <a:gd name="connsiteY34" fmla="*/ 483394 h 1269205"/>
                    <a:gd name="connsiteX35" fmla="*/ 1338262 w 1338262"/>
                    <a:gd name="connsiteY35" fmla="*/ 361950 h 1269205"/>
                    <a:gd name="connsiteX36" fmla="*/ 854869 w 1338262"/>
                    <a:gd name="connsiteY36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581025 w 1338262"/>
                    <a:gd name="connsiteY28" fmla="*/ 1123950 h 1269205"/>
                    <a:gd name="connsiteX29" fmla="*/ 678656 w 1338262"/>
                    <a:gd name="connsiteY29" fmla="*/ 1107282 h 1269205"/>
                    <a:gd name="connsiteX30" fmla="*/ 781050 w 1338262"/>
                    <a:gd name="connsiteY30" fmla="*/ 1152525 h 1269205"/>
                    <a:gd name="connsiteX31" fmla="*/ 859631 w 1338262"/>
                    <a:gd name="connsiteY31" fmla="*/ 1209675 h 1269205"/>
                    <a:gd name="connsiteX32" fmla="*/ 976313 w 1338262"/>
                    <a:gd name="connsiteY32" fmla="*/ 1169194 h 1269205"/>
                    <a:gd name="connsiteX33" fmla="*/ 1066801 w 1338262"/>
                    <a:gd name="connsiteY33" fmla="*/ 1173957 h 1269205"/>
                    <a:gd name="connsiteX34" fmla="*/ 1297782 w 1338262"/>
                    <a:gd name="connsiteY34" fmla="*/ 483394 h 1269205"/>
                    <a:gd name="connsiteX35" fmla="*/ 1338262 w 1338262"/>
                    <a:gd name="connsiteY35" fmla="*/ 361950 h 1269205"/>
                    <a:gd name="connsiteX36" fmla="*/ 854869 w 1338262"/>
                    <a:gd name="connsiteY36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581025 w 1338262"/>
                    <a:gd name="connsiteY28" fmla="*/ 1123950 h 1269205"/>
                    <a:gd name="connsiteX29" fmla="*/ 678656 w 1338262"/>
                    <a:gd name="connsiteY29" fmla="*/ 1107282 h 1269205"/>
                    <a:gd name="connsiteX30" fmla="*/ 781050 w 1338262"/>
                    <a:gd name="connsiteY30" fmla="*/ 1152525 h 1269205"/>
                    <a:gd name="connsiteX31" fmla="*/ 831057 w 1338262"/>
                    <a:gd name="connsiteY31" fmla="*/ 1190625 h 1269205"/>
                    <a:gd name="connsiteX32" fmla="*/ 859631 w 1338262"/>
                    <a:gd name="connsiteY32" fmla="*/ 1209675 h 1269205"/>
                    <a:gd name="connsiteX33" fmla="*/ 976313 w 1338262"/>
                    <a:gd name="connsiteY33" fmla="*/ 1169194 h 1269205"/>
                    <a:gd name="connsiteX34" fmla="*/ 1066801 w 1338262"/>
                    <a:gd name="connsiteY34" fmla="*/ 1173957 h 1269205"/>
                    <a:gd name="connsiteX35" fmla="*/ 1297782 w 1338262"/>
                    <a:gd name="connsiteY35" fmla="*/ 483394 h 1269205"/>
                    <a:gd name="connsiteX36" fmla="*/ 1338262 w 1338262"/>
                    <a:gd name="connsiteY36" fmla="*/ 361950 h 1269205"/>
                    <a:gd name="connsiteX37" fmla="*/ 854869 w 1338262"/>
                    <a:gd name="connsiteY37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581025 w 1338262"/>
                    <a:gd name="connsiteY28" fmla="*/ 1123950 h 1269205"/>
                    <a:gd name="connsiteX29" fmla="*/ 678656 w 1338262"/>
                    <a:gd name="connsiteY29" fmla="*/ 1107282 h 1269205"/>
                    <a:gd name="connsiteX30" fmla="*/ 781050 w 1338262"/>
                    <a:gd name="connsiteY30" fmla="*/ 1152525 h 1269205"/>
                    <a:gd name="connsiteX31" fmla="*/ 790576 w 1338262"/>
                    <a:gd name="connsiteY31" fmla="*/ 1188244 h 1269205"/>
                    <a:gd name="connsiteX32" fmla="*/ 859631 w 1338262"/>
                    <a:gd name="connsiteY32" fmla="*/ 1209675 h 1269205"/>
                    <a:gd name="connsiteX33" fmla="*/ 976313 w 1338262"/>
                    <a:gd name="connsiteY33" fmla="*/ 1169194 h 1269205"/>
                    <a:gd name="connsiteX34" fmla="*/ 1066801 w 1338262"/>
                    <a:gd name="connsiteY34" fmla="*/ 1173957 h 1269205"/>
                    <a:gd name="connsiteX35" fmla="*/ 1297782 w 1338262"/>
                    <a:gd name="connsiteY35" fmla="*/ 483394 h 1269205"/>
                    <a:gd name="connsiteX36" fmla="*/ 1338262 w 1338262"/>
                    <a:gd name="connsiteY36" fmla="*/ 361950 h 1269205"/>
                    <a:gd name="connsiteX37" fmla="*/ 854869 w 1338262"/>
                    <a:gd name="connsiteY37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581025 w 1338262"/>
                    <a:gd name="connsiteY28" fmla="*/ 1123950 h 1269205"/>
                    <a:gd name="connsiteX29" fmla="*/ 678656 w 1338262"/>
                    <a:gd name="connsiteY29" fmla="*/ 1107282 h 1269205"/>
                    <a:gd name="connsiteX30" fmla="*/ 781050 w 1338262"/>
                    <a:gd name="connsiteY30" fmla="*/ 1152525 h 1269205"/>
                    <a:gd name="connsiteX31" fmla="*/ 790576 w 1338262"/>
                    <a:gd name="connsiteY31" fmla="*/ 1188244 h 1269205"/>
                    <a:gd name="connsiteX32" fmla="*/ 859631 w 1338262"/>
                    <a:gd name="connsiteY32" fmla="*/ 1209675 h 1269205"/>
                    <a:gd name="connsiteX33" fmla="*/ 931069 w 1338262"/>
                    <a:gd name="connsiteY33" fmla="*/ 1185863 h 1269205"/>
                    <a:gd name="connsiteX34" fmla="*/ 976313 w 1338262"/>
                    <a:gd name="connsiteY34" fmla="*/ 1169194 h 1269205"/>
                    <a:gd name="connsiteX35" fmla="*/ 1066801 w 1338262"/>
                    <a:gd name="connsiteY35" fmla="*/ 1173957 h 1269205"/>
                    <a:gd name="connsiteX36" fmla="*/ 1297782 w 1338262"/>
                    <a:gd name="connsiteY36" fmla="*/ 483394 h 1269205"/>
                    <a:gd name="connsiteX37" fmla="*/ 1338262 w 1338262"/>
                    <a:gd name="connsiteY37" fmla="*/ 361950 h 1269205"/>
                    <a:gd name="connsiteX38" fmla="*/ 854869 w 1338262"/>
                    <a:gd name="connsiteY38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47663 w 1338262"/>
                    <a:gd name="connsiteY23" fmla="*/ 1183481 h 1269205"/>
                    <a:gd name="connsiteX24" fmla="*/ 409576 w 1338262"/>
                    <a:gd name="connsiteY24" fmla="*/ 1162050 h 1269205"/>
                    <a:gd name="connsiteX25" fmla="*/ 426245 w 1338262"/>
                    <a:gd name="connsiteY25" fmla="*/ 1123950 h 1269205"/>
                    <a:gd name="connsiteX26" fmla="*/ 476250 w 1338262"/>
                    <a:gd name="connsiteY26" fmla="*/ 1133476 h 1269205"/>
                    <a:gd name="connsiteX27" fmla="*/ 545307 w 1338262"/>
                    <a:gd name="connsiteY27" fmla="*/ 1092993 h 1269205"/>
                    <a:gd name="connsiteX28" fmla="*/ 581025 w 1338262"/>
                    <a:gd name="connsiteY28" fmla="*/ 1123950 h 1269205"/>
                    <a:gd name="connsiteX29" fmla="*/ 678656 w 1338262"/>
                    <a:gd name="connsiteY29" fmla="*/ 1107282 h 1269205"/>
                    <a:gd name="connsiteX30" fmla="*/ 781050 w 1338262"/>
                    <a:gd name="connsiteY30" fmla="*/ 1152525 h 1269205"/>
                    <a:gd name="connsiteX31" fmla="*/ 790576 w 1338262"/>
                    <a:gd name="connsiteY31" fmla="*/ 1188244 h 1269205"/>
                    <a:gd name="connsiteX32" fmla="*/ 859631 w 1338262"/>
                    <a:gd name="connsiteY32" fmla="*/ 1209675 h 1269205"/>
                    <a:gd name="connsiteX33" fmla="*/ 933451 w 1338262"/>
                    <a:gd name="connsiteY33" fmla="*/ 1207294 h 1269205"/>
                    <a:gd name="connsiteX34" fmla="*/ 976313 w 1338262"/>
                    <a:gd name="connsiteY34" fmla="*/ 1169194 h 1269205"/>
                    <a:gd name="connsiteX35" fmla="*/ 1066801 w 1338262"/>
                    <a:gd name="connsiteY35" fmla="*/ 1173957 h 1269205"/>
                    <a:gd name="connsiteX36" fmla="*/ 1297782 w 1338262"/>
                    <a:gd name="connsiteY36" fmla="*/ 483394 h 1269205"/>
                    <a:gd name="connsiteX37" fmla="*/ 1338262 w 1338262"/>
                    <a:gd name="connsiteY37" fmla="*/ 361950 h 1269205"/>
                    <a:gd name="connsiteX38" fmla="*/ 854869 w 1338262"/>
                    <a:gd name="connsiteY38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14325 w 1338262"/>
                    <a:gd name="connsiteY23" fmla="*/ 1147763 h 1269205"/>
                    <a:gd name="connsiteX24" fmla="*/ 347663 w 1338262"/>
                    <a:gd name="connsiteY24" fmla="*/ 1183481 h 1269205"/>
                    <a:gd name="connsiteX25" fmla="*/ 409576 w 1338262"/>
                    <a:gd name="connsiteY25" fmla="*/ 1162050 h 1269205"/>
                    <a:gd name="connsiteX26" fmla="*/ 426245 w 1338262"/>
                    <a:gd name="connsiteY26" fmla="*/ 1123950 h 1269205"/>
                    <a:gd name="connsiteX27" fmla="*/ 476250 w 1338262"/>
                    <a:gd name="connsiteY27" fmla="*/ 1133476 h 1269205"/>
                    <a:gd name="connsiteX28" fmla="*/ 545307 w 1338262"/>
                    <a:gd name="connsiteY28" fmla="*/ 1092993 h 1269205"/>
                    <a:gd name="connsiteX29" fmla="*/ 581025 w 1338262"/>
                    <a:gd name="connsiteY29" fmla="*/ 1123950 h 1269205"/>
                    <a:gd name="connsiteX30" fmla="*/ 678656 w 1338262"/>
                    <a:gd name="connsiteY30" fmla="*/ 1107282 h 1269205"/>
                    <a:gd name="connsiteX31" fmla="*/ 781050 w 1338262"/>
                    <a:gd name="connsiteY31" fmla="*/ 1152525 h 1269205"/>
                    <a:gd name="connsiteX32" fmla="*/ 790576 w 1338262"/>
                    <a:gd name="connsiteY32" fmla="*/ 1188244 h 1269205"/>
                    <a:gd name="connsiteX33" fmla="*/ 859631 w 1338262"/>
                    <a:gd name="connsiteY33" fmla="*/ 1209675 h 1269205"/>
                    <a:gd name="connsiteX34" fmla="*/ 933451 w 1338262"/>
                    <a:gd name="connsiteY34" fmla="*/ 1207294 h 1269205"/>
                    <a:gd name="connsiteX35" fmla="*/ 976313 w 1338262"/>
                    <a:gd name="connsiteY35" fmla="*/ 1169194 h 1269205"/>
                    <a:gd name="connsiteX36" fmla="*/ 1066801 w 1338262"/>
                    <a:gd name="connsiteY36" fmla="*/ 1173957 h 1269205"/>
                    <a:gd name="connsiteX37" fmla="*/ 1297782 w 1338262"/>
                    <a:gd name="connsiteY37" fmla="*/ 483394 h 1269205"/>
                    <a:gd name="connsiteX38" fmla="*/ 1338262 w 1338262"/>
                    <a:gd name="connsiteY38" fmla="*/ 361950 h 1269205"/>
                    <a:gd name="connsiteX39" fmla="*/ 854869 w 1338262"/>
                    <a:gd name="connsiteY39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00037 w 1338262"/>
                    <a:gd name="connsiteY23" fmla="*/ 1128713 h 1269205"/>
                    <a:gd name="connsiteX24" fmla="*/ 347663 w 1338262"/>
                    <a:gd name="connsiteY24" fmla="*/ 1183481 h 1269205"/>
                    <a:gd name="connsiteX25" fmla="*/ 409576 w 1338262"/>
                    <a:gd name="connsiteY25" fmla="*/ 1162050 h 1269205"/>
                    <a:gd name="connsiteX26" fmla="*/ 426245 w 1338262"/>
                    <a:gd name="connsiteY26" fmla="*/ 1123950 h 1269205"/>
                    <a:gd name="connsiteX27" fmla="*/ 476250 w 1338262"/>
                    <a:gd name="connsiteY27" fmla="*/ 1133476 h 1269205"/>
                    <a:gd name="connsiteX28" fmla="*/ 545307 w 1338262"/>
                    <a:gd name="connsiteY28" fmla="*/ 1092993 h 1269205"/>
                    <a:gd name="connsiteX29" fmla="*/ 581025 w 1338262"/>
                    <a:gd name="connsiteY29" fmla="*/ 1123950 h 1269205"/>
                    <a:gd name="connsiteX30" fmla="*/ 678656 w 1338262"/>
                    <a:gd name="connsiteY30" fmla="*/ 1107282 h 1269205"/>
                    <a:gd name="connsiteX31" fmla="*/ 781050 w 1338262"/>
                    <a:gd name="connsiteY31" fmla="*/ 1152525 h 1269205"/>
                    <a:gd name="connsiteX32" fmla="*/ 790576 w 1338262"/>
                    <a:gd name="connsiteY32" fmla="*/ 1188244 h 1269205"/>
                    <a:gd name="connsiteX33" fmla="*/ 859631 w 1338262"/>
                    <a:gd name="connsiteY33" fmla="*/ 1209675 h 1269205"/>
                    <a:gd name="connsiteX34" fmla="*/ 933451 w 1338262"/>
                    <a:gd name="connsiteY34" fmla="*/ 1207294 h 1269205"/>
                    <a:gd name="connsiteX35" fmla="*/ 976313 w 1338262"/>
                    <a:gd name="connsiteY35" fmla="*/ 1169194 h 1269205"/>
                    <a:gd name="connsiteX36" fmla="*/ 1066801 w 1338262"/>
                    <a:gd name="connsiteY36" fmla="*/ 1173957 h 1269205"/>
                    <a:gd name="connsiteX37" fmla="*/ 1297782 w 1338262"/>
                    <a:gd name="connsiteY37" fmla="*/ 483394 h 1269205"/>
                    <a:gd name="connsiteX38" fmla="*/ 1338262 w 1338262"/>
                    <a:gd name="connsiteY38" fmla="*/ 361950 h 1269205"/>
                    <a:gd name="connsiteX39" fmla="*/ 854869 w 1338262"/>
                    <a:gd name="connsiteY39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300037 w 1338262"/>
                    <a:gd name="connsiteY23" fmla="*/ 1128713 h 1269205"/>
                    <a:gd name="connsiteX24" fmla="*/ 347663 w 1338262"/>
                    <a:gd name="connsiteY24" fmla="*/ 1183481 h 1269205"/>
                    <a:gd name="connsiteX25" fmla="*/ 409576 w 1338262"/>
                    <a:gd name="connsiteY25" fmla="*/ 1162050 h 1269205"/>
                    <a:gd name="connsiteX26" fmla="*/ 426245 w 1338262"/>
                    <a:gd name="connsiteY26" fmla="*/ 1123950 h 1269205"/>
                    <a:gd name="connsiteX27" fmla="*/ 476250 w 1338262"/>
                    <a:gd name="connsiteY27" fmla="*/ 1133476 h 1269205"/>
                    <a:gd name="connsiteX28" fmla="*/ 545307 w 1338262"/>
                    <a:gd name="connsiteY28" fmla="*/ 1092993 h 1269205"/>
                    <a:gd name="connsiteX29" fmla="*/ 581025 w 1338262"/>
                    <a:gd name="connsiteY29" fmla="*/ 1123950 h 1269205"/>
                    <a:gd name="connsiteX30" fmla="*/ 678656 w 1338262"/>
                    <a:gd name="connsiteY30" fmla="*/ 1107282 h 1269205"/>
                    <a:gd name="connsiteX31" fmla="*/ 781050 w 1338262"/>
                    <a:gd name="connsiteY31" fmla="*/ 1152525 h 1269205"/>
                    <a:gd name="connsiteX32" fmla="*/ 790576 w 1338262"/>
                    <a:gd name="connsiteY32" fmla="*/ 1188244 h 1269205"/>
                    <a:gd name="connsiteX33" fmla="*/ 859631 w 1338262"/>
                    <a:gd name="connsiteY33" fmla="*/ 1209675 h 1269205"/>
                    <a:gd name="connsiteX34" fmla="*/ 933451 w 1338262"/>
                    <a:gd name="connsiteY34" fmla="*/ 1207294 h 1269205"/>
                    <a:gd name="connsiteX35" fmla="*/ 976313 w 1338262"/>
                    <a:gd name="connsiteY35" fmla="*/ 1169194 h 1269205"/>
                    <a:gd name="connsiteX36" fmla="*/ 1066801 w 1338262"/>
                    <a:gd name="connsiteY36" fmla="*/ 1173957 h 1269205"/>
                    <a:gd name="connsiteX37" fmla="*/ 1297782 w 1338262"/>
                    <a:gd name="connsiteY37" fmla="*/ 483394 h 1269205"/>
                    <a:gd name="connsiteX38" fmla="*/ 1338262 w 1338262"/>
                    <a:gd name="connsiteY38" fmla="*/ 361950 h 1269205"/>
                    <a:gd name="connsiteX39" fmla="*/ 854869 w 1338262"/>
                    <a:gd name="connsiteY39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47663 w 1338262"/>
                    <a:gd name="connsiteY24" fmla="*/ 1183481 h 1269205"/>
                    <a:gd name="connsiteX25" fmla="*/ 409576 w 1338262"/>
                    <a:gd name="connsiteY25" fmla="*/ 1162050 h 1269205"/>
                    <a:gd name="connsiteX26" fmla="*/ 426245 w 1338262"/>
                    <a:gd name="connsiteY26" fmla="*/ 1123950 h 1269205"/>
                    <a:gd name="connsiteX27" fmla="*/ 476250 w 1338262"/>
                    <a:gd name="connsiteY27" fmla="*/ 1133476 h 1269205"/>
                    <a:gd name="connsiteX28" fmla="*/ 545307 w 1338262"/>
                    <a:gd name="connsiteY28" fmla="*/ 1092993 h 1269205"/>
                    <a:gd name="connsiteX29" fmla="*/ 581025 w 1338262"/>
                    <a:gd name="connsiteY29" fmla="*/ 1123950 h 1269205"/>
                    <a:gd name="connsiteX30" fmla="*/ 678656 w 1338262"/>
                    <a:gd name="connsiteY30" fmla="*/ 1107282 h 1269205"/>
                    <a:gd name="connsiteX31" fmla="*/ 781050 w 1338262"/>
                    <a:gd name="connsiteY31" fmla="*/ 1152525 h 1269205"/>
                    <a:gd name="connsiteX32" fmla="*/ 790576 w 1338262"/>
                    <a:gd name="connsiteY32" fmla="*/ 1188244 h 1269205"/>
                    <a:gd name="connsiteX33" fmla="*/ 859631 w 1338262"/>
                    <a:gd name="connsiteY33" fmla="*/ 1209675 h 1269205"/>
                    <a:gd name="connsiteX34" fmla="*/ 933451 w 1338262"/>
                    <a:gd name="connsiteY34" fmla="*/ 1207294 h 1269205"/>
                    <a:gd name="connsiteX35" fmla="*/ 976313 w 1338262"/>
                    <a:gd name="connsiteY35" fmla="*/ 1169194 h 1269205"/>
                    <a:gd name="connsiteX36" fmla="*/ 1066801 w 1338262"/>
                    <a:gd name="connsiteY36" fmla="*/ 1173957 h 1269205"/>
                    <a:gd name="connsiteX37" fmla="*/ 1297782 w 1338262"/>
                    <a:gd name="connsiteY37" fmla="*/ 483394 h 1269205"/>
                    <a:gd name="connsiteX38" fmla="*/ 1338262 w 1338262"/>
                    <a:gd name="connsiteY38" fmla="*/ 361950 h 1269205"/>
                    <a:gd name="connsiteX39" fmla="*/ 854869 w 1338262"/>
                    <a:gd name="connsiteY39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16707 w 1338262"/>
                    <a:gd name="connsiteY24" fmla="*/ 1123950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297782 w 1338262"/>
                    <a:gd name="connsiteY38" fmla="*/ 483394 h 1269205"/>
                    <a:gd name="connsiteX39" fmla="*/ 1338262 w 1338262"/>
                    <a:gd name="connsiteY39" fmla="*/ 361950 h 1269205"/>
                    <a:gd name="connsiteX40" fmla="*/ 854869 w 1338262"/>
                    <a:gd name="connsiteY40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297782 w 1338262"/>
                    <a:gd name="connsiteY38" fmla="*/ 483394 h 1269205"/>
                    <a:gd name="connsiteX39" fmla="*/ 1338262 w 1338262"/>
                    <a:gd name="connsiteY39" fmla="*/ 361950 h 1269205"/>
                    <a:gd name="connsiteX40" fmla="*/ 854869 w 1338262"/>
                    <a:gd name="connsiteY40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45382 w 1338262"/>
                    <a:gd name="connsiteY38" fmla="*/ 945357 h 1269205"/>
                    <a:gd name="connsiteX39" fmla="*/ 1297782 w 1338262"/>
                    <a:gd name="connsiteY39" fmla="*/ 483394 h 1269205"/>
                    <a:gd name="connsiteX40" fmla="*/ 1338262 w 1338262"/>
                    <a:gd name="connsiteY40" fmla="*/ 361950 h 1269205"/>
                    <a:gd name="connsiteX41" fmla="*/ 854869 w 1338262"/>
                    <a:gd name="connsiteY41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297782 w 1338262"/>
                    <a:gd name="connsiteY39" fmla="*/ 483394 h 1269205"/>
                    <a:gd name="connsiteX40" fmla="*/ 1338262 w 1338262"/>
                    <a:gd name="connsiteY40" fmla="*/ 361950 h 1269205"/>
                    <a:gd name="connsiteX41" fmla="*/ 854869 w 1338262"/>
                    <a:gd name="connsiteY41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54907 w 1338262"/>
                    <a:gd name="connsiteY39" fmla="*/ 938213 h 1269205"/>
                    <a:gd name="connsiteX40" fmla="*/ 1297782 w 1338262"/>
                    <a:gd name="connsiteY40" fmla="*/ 483394 h 1269205"/>
                    <a:gd name="connsiteX41" fmla="*/ 1338262 w 1338262"/>
                    <a:gd name="connsiteY41" fmla="*/ 361950 h 1269205"/>
                    <a:gd name="connsiteX42" fmla="*/ 854869 w 1338262"/>
                    <a:gd name="connsiteY42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297782 w 1338262"/>
                    <a:gd name="connsiteY40" fmla="*/ 483394 h 1269205"/>
                    <a:gd name="connsiteX41" fmla="*/ 1338262 w 1338262"/>
                    <a:gd name="connsiteY41" fmla="*/ 361950 h 1269205"/>
                    <a:gd name="connsiteX42" fmla="*/ 854869 w 1338262"/>
                    <a:gd name="connsiteY42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47763 w 1338262"/>
                    <a:gd name="connsiteY40" fmla="*/ 897732 h 1269205"/>
                    <a:gd name="connsiteX41" fmla="*/ 1297782 w 1338262"/>
                    <a:gd name="connsiteY41" fmla="*/ 483394 h 1269205"/>
                    <a:gd name="connsiteX42" fmla="*/ 1338262 w 1338262"/>
                    <a:gd name="connsiteY42" fmla="*/ 361950 h 1269205"/>
                    <a:gd name="connsiteX43" fmla="*/ 854869 w 1338262"/>
                    <a:gd name="connsiteY43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297782 w 1338262"/>
                    <a:gd name="connsiteY41" fmla="*/ 483394 h 1269205"/>
                    <a:gd name="connsiteX42" fmla="*/ 1338262 w 1338262"/>
                    <a:gd name="connsiteY42" fmla="*/ 361950 h 1269205"/>
                    <a:gd name="connsiteX43" fmla="*/ 854869 w 1338262"/>
                    <a:gd name="connsiteY43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7769 w 1338262"/>
                    <a:gd name="connsiteY41" fmla="*/ 840582 h 1269205"/>
                    <a:gd name="connsiteX42" fmla="*/ 1297782 w 1338262"/>
                    <a:gd name="connsiteY42" fmla="*/ 483394 h 1269205"/>
                    <a:gd name="connsiteX43" fmla="*/ 1338262 w 1338262"/>
                    <a:gd name="connsiteY43" fmla="*/ 361950 h 1269205"/>
                    <a:gd name="connsiteX44" fmla="*/ 854869 w 1338262"/>
                    <a:gd name="connsiteY44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5388 w 1338262"/>
                    <a:gd name="connsiteY41" fmla="*/ 835820 h 1269205"/>
                    <a:gd name="connsiteX42" fmla="*/ 1297782 w 1338262"/>
                    <a:gd name="connsiteY42" fmla="*/ 483394 h 1269205"/>
                    <a:gd name="connsiteX43" fmla="*/ 1338262 w 1338262"/>
                    <a:gd name="connsiteY43" fmla="*/ 361950 h 1269205"/>
                    <a:gd name="connsiteX44" fmla="*/ 854869 w 1338262"/>
                    <a:gd name="connsiteY44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5388 w 1338262"/>
                    <a:gd name="connsiteY41" fmla="*/ 835820 h 1269205"/>
                    <a:gd name="connsiteX42" fmla="*/ 1219200 w 1338262"/>
                    <a:gd name="connsiteY42" fmla="*/ 752475 h 1269205"/>
                    <a:gd name="connsiteX43" fmla="*/ 1297782 w 1338262"/>
                    <a:gd name="connsiteY43" fmla="*/ 483394 h 1269205"/>
                    <a:gd name="connsiteX44" fmla="*/ 1338262 w 1338262"/>
                    <a:gd name="connsiteY44" fmla="*/ 361950 h 1269205"/>
                    <a:gd name="connsiteX45" fmla="*/ 854869 w 1338262"/>
                    <a:gd name="connsiteY45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5388 w 1338262"/>
                    <a:gd name="connsiteY41" fmla="*/ 835820 h 1269205"/>
                    <a:gd name="connsiteX42" fmla="*/ 1235869 w 1338262"/>
                    <a:gd name="connsiteY42" fmla="*/ 769144 h 1269205"/>
                    <a:gd name="connsiteX43" fmla="*/ 1297782 w 1338262"/>
                    <a:gd name="connsiteY43" fmla="*/ 483394 h 1269205"/>
                    <a:gd name="connsiteX44" fmla="*/ 1338262 w 1338262"/>
                    <a:gd name="connsiteY44" fmla="*/ 361950 h 1269205"/>
                    <a:gd name="connsiteX45" fmla="*/ 854869 w 1338262"/>
                    <a:gd name="connsiteY45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5388 w 1338262"/>
                    <a:gd name="connsiteY41" fmla="*/ 835820 h 1269205"/>
                    <a:gd name="connsiteX42" fmla="*/ 1235869 w 1338262"/>
                    <a:gd name="connsiteY42" fmla="*/ 769144 h 1269205"/>
                    <a:gd name="connsiteX43" fmla="*/ 1276350 w 1338262"/>
                    <a:gd name="connsiteY43" fmla="*/ 581025 h 1269205"/>
                    <a:gd name="connsiteX44" fmla="*/ 1297782 w 1338262"/>
                    <a:gd name="connsiteY44" fmla="*/ 483394 h 1269205"/>
                    <a:gd name="connsiteX45" fmla="*/ 1338262 w 1338262"/>
                    <a:gd name="connsiteY45" fmla="*/ 361950 h 1269205"/>
                    <a:gd name="connsiteX46" fmla="*/ 854869 w 1338262"/>
                    <a:gd name="connsiteY46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5388 w 1338262"/>
                    <a:gd name="connsiteY41" fmla="*/ 835820 h 1269205"/>
                    <a:gd name="connsiteX42" fmla="*/ 1235869 w 1338262"/>
                    <a:gd name="connsiteY42" fmla="*/ 769144 h 1269205"/>
                    <a:gd name="connsiteX43" fmla="*/ 1257300 w 1338262"/>
                    <a:gd name="connsiteY43" fmla="*/ 581025 h 1269205"/>
                    <a:gd name="connsiteX44" fmla="*/ 1297782 w 1338262"/>
                    <a:gd name="connsiteY44" fmla="*/ 483394 h 1269205"/>
                    <a:gd name="connsiteX45" fmla="*/ 1338262 w 1338262"/>
                    <a:gd name="connsiteY45" fmla="*/ 361950 h 1269205"/>
                    <a:gd name="connsiteX46" fmla="*/ 854869 w 1338262"/>
                    <a:gd name="connsiteY46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5388 w 1338262"/>
                    <a:gd name="connsiteY41" fmla="*/ 835820 h 1269205"/>
                    <a:gd name="connsiteX42" fmla="*/ 1235869 w 1338262"/>
                    <a:gd name="connsiteY42" fmla="*/ 769144 h 1269205"/>
                    <a:gd name="connsiteX43" fmla="*/ 1252538 w 1338262"/>
                    <a:gd name="connsiteY43" fmla="*/ 623888 h 1269205"/>
                    <a:gd name="connsiteX44" fmla="*/ 1257300 w 1338262"/>
                    <a:gd name="connsiteY44" fmla="*/ 581025 h 1269205"/>
                    <a:gd name="connsiteX45" fmla="*/ 1297782 w 1338262"/>
                    <a:gd name="connsiteY45" fmla="*/ 483394 h 1269205"/>
                    <a:gd name="connsiteX46" fmla="*/ 1338262 w 1338262"/>
                    <a:gd name="connsiteY46" fmla="*/ 361950 h 1269205"/>
                    <a:gd name="connsiteX47" fmla="*/ 854869 w 1338262"/>
                    <a:gd name="connsiteY47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5388 w 1338262"/>
                    <a:gd name="connsiteY41" fmla="*/ 835820 h 1269205"/>
                    <a:gd name="connsiteX42" fmla="*/ 1235869 w 1338262"/>
                    <a:gd name="connsiteY42" fmla="*/ 769144 h 1269205"/>
                    <a:gd name="connsiteX43" fmla="*/ 1285875 w 1338262"/>
                    <a:gd name="connsiteY43" fmla="*/ 628650 h 1269205"/>
                    <a:gd name="connsiteX44" fmla="*/ 1257300 w 1338262"/>
                    <a:gd name="connsiteY44" fmla="*/ 581025 h 1269205"/>
                    <a:gd name="connsiteX45" fmla="*/ 1297782 w 1338262"/>
                    <a:gd name="connsiteY45" fmla="*/ 483394 h 1269205"/>
                    <a:gd name="connsiteX46" fmla="*/ 1338262 w 1338262"/>
                    <a:gd name="connsiteY46" fmla="*/ 361950 h 1269205"/>
                    <a:gd name="connsiteX47" fmla="*/ 854869 w 1338262"/>
                    <a:gd name="connsiteY47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5388 w 1338262"/>
                    <a:gd name="connsiteY41" fmla="*/ 835820 h 1269205"/>
                    <a:gd name="connsiteX42" fmla="*/ 1235869 w 1338262"/>
                    <a:gd name="connsiteY42" fmla="*/ 769144 h 1269205"/>
                    <a:gd name="connsiteX43" fmla="*/ 1285875 w 1338262"/>
                    <a:gd name="connsiteY43" fmla="*/ 628650 h 1269205"/>
                    <a:gd name="connsiteX44" fmla="*/ 1257300 w 1338262"/>
                    <a:gd name="connsiteY44" fmla="*/ 581025 h 1269205"/>
                    <a:gd name="connsiteX45" fmla="*/ 1281113 w 1338262"/>
                    <a:gd name="connsiteY45" fmla="*/ 523875 h 1269205"/>
                    <a:gd name="connsiteX46" fmla="*/ 1297782 w 1338262"/>
                    <a:gd name="connsiteY46" fmla="*/ 483394 h 1269205"/>
                    <a:gd name="connsiteX47" fmla="*/ 1338262 w 1338262"/>
                    <a:gd name="connsiteY47" fmla="*/ 361950 h 1269205"/>
                    <a:gd name="connsiteX48" fmla="*/ 854869 w 1338262"/>
                    <a:gd name="connsiteY48" fmla="*/ 28575 h 1269205"/>
                    <a:gd name="connsiteX0" fmla="*/ 854869 w 1338262"/>
                    <a:gd name="connsiteY0" fmla="*/ 28575 h 1269205"/>
                    <a:gd name="connsiteX1" fmla="*/ 711994 w 1338262"/>
                    <a:gd name="connsiteY1" fmla="*/ 0 h 1269205"/>
                    <a:gd name="connsiteX2" fmla="*/ 592931 w 1338262"/>
                    <a:gd name="connsiteY2" fmla="*/ 354807 h 1269205"/>
                    <a:gd name="connsiteX3" fmla="*/ 557213 w 1338262"/>
                    <a:gd name="connsiteY3" fmla="*/ 478632 h 1269205"/>
                    <a:gd name="connsiteX4" fmla="*/ 621507 w 1338262"/>
                    <a:gd name="connsiteY4" fmla="*/ 566737 h 1269205"/>
                    <a:gd name="connsiteX5" fmla="*/ 531020 w 1338262"/>
                    <a:gd name="connsiteY5" fmla="*/ 545305 h 1269205"/>
                    <a:gd name="connsiteX6" fmla="*/ 400052 w 1338262"/>
                    <a:gd name="connsiteY6" fmla="*/ 581024 h 1269205"/>
                    <a:gd name="connsiteX7" fmla="*/ 328614 w 1338262"/>
                    <a:gd name="connsiteY7" fmla="*/ 554831 h 1269205"/>
                    <a:gd name="connsiteX8" fmla="*/ 192881 w 1338262"/>
                    <a:gd name="connsiteY8" fmla="*/ 709613 h 1269205"/>
                    <a:gd name="connsiteX9" fmla="*/ 219077 w 1338262"/>
                    <a:gd name="connsiteY9" fmla="*/ 738187 h 1269205"/>
                    <a:gd name="connsiteX10" fmla="*/ 171451 w 1338262"/>
                    <a:gd name="connsiteY10" fmla="*/ 857250 h 1269205"/>
                    <a:gd name="connsiteX11" fmla="*/ 121445 w 1338262"/>
                    <a:gd name="connsiteY11" fmla="*/ 919161 h 1269205"/>
                    <a:gd name="connsiteX12" fmla="*/ 83344 w 1338262"/>
                    <a:gd name="connsiteY12" fmla="*/ 1052514 h 1269205"/>
                    <a:gd name="connsiteX13" fmla="*/ 0 w 1338262"/>
                    <a:gd name="connsiteY13" fmla="*/ 1104900 h 1269205"/>
                    <a:gd name="connsiteX14" fmla="*/ 2382 w 1338262"/>
                    <a:gd name="connsiteY14" fmla="*/ 1185863 h 1269205"/>
                    <a:gd name="connsiteX15" fmla="*/ 57151 w 1338262"/>
                    <a:gd name="connsiteY15" fmla="*/ 1178719 h 1269205"/>
                    <a:gd name="connsiteX16" fmla="*/ 26194 w 1338262"/>
                    <a:gd name="connsiteY16" fmla="*/ 1219199 h 1269205"/>
                    <a:gd name="connsiteX17" fmla="*/ 78582 w 1338262"/>
                    <a:gd name="connsiteY17" fmla="*/ 1269205 h 1269205"/>
                    <a:gd name="connsiteX18" fmla="*/ 76201 w 1338262"/>
                    <a:gd name="connsiteY18" fmla="*/ 1233487 h 1269205"/>
                    <a:gd name="connsiteX19" fmla="*/ 138113 w 1338262"/>
                    <a:gd name="connsiteY19" fmla="*/ 1171574 h 1269205"/>
                    <a:gd name="connsiteX20" fmla="*/ 178594 w 1338262"/>
                    <a:gd name="connsiteY20" fmla="*/ 1164431 h 1269205"/>
                    <a:gd name="connsiteX21" fmla="*/ 197644 w 1338262"/>
                    <a:gd name="connsiteY21" fmla="*/ 1057275 h 1269205"/>
                    <a:gd name="connsiteX22" fmla="*/ 259557 w 1338262"/>
                    <a:gd name="connsiteY22" fmla="*/ 1083469 h 1269205"/>
                    <a:gd name="connsiteX23" fmla="*/ 292893 w 1338262"/>
                    <a:gd name="connsiteY23" fmla="*/ 1078707 h 1269205"/>
                    <a:gd name="connsiteX24" fmla="*/ 300038 w 1338262"/>
                    <a:gd name="connsiteY24" fmla="*/ 1135856 h 1269205"/>
                    <a:gd name="connsiteX25" fmla="*/ 347663 w 1338262"/>
                    <a:gd name="connsiteY25" fmla="*/ 1183481 h 1269205"/>
                    <a:gd name="connsiteX26" fmla="*/ 409576 w 1338262"/>
                    <a:gd name="connsiteY26" fmla="*/ 1162050 h 1269205"/>
                    <a:gd name="connsiteX27" fmla="*/ 426245 w 1338262"/>
                    <a:gd name="connsiteY27" fmla="*/ 1123950 h 1269205"/>
                    <a:gd name="connsiteX28" fmla="*/ 476250 w 1338262"/>
                    <a:gd name="connsiteY28" fmla="*/ 1133476 h 1269205"/>
                    <a:gd name="connsiteX29" fmla="*/ 545307 w 1338262"/>
                    <a:gd name="connsiteY29" fmla="*/ 1092993 h 1269205"/>
                    <a:gd name="connsiteX30" fmla="*/ 581025 w 1338262"/>
                    <a:gd name="connsiteY30" fmla="*/ 1123950 h 1269205"/>
                    <a:gd name="connsiteX31" fmla="*/ 678656 w 1338262"/>
                    <a:gd name="connsiteY31" fmla="*/ 1107282 h 1269205"/>
                    <a:gd name="connsiteX32" fmla="*/ 781050 w 1338262"/>
                    <a:gd name="connsiteY32" fmla="*/ 1152525 h 1269205"/>
                    <a:gd name="connsiteX33" fmla="*/ 790576 w 1338262"/>
                    <a:gd name="connsiteY33" fmla="*/ 1188244 h 1269205"/>
                    <a:gd name="connsiteX34" fmla="*/ 859631 w 1338262"/>
                    <a:gd name="connsiteY34" fmla="*/ 1209675 h 1269205"/>
                    <a:gd name="connsiteX35" fmla="*/ 933451 w 1338262"/>
                    <a:gd name="connsiteY35" fmla="*/ 1207294 h 1269205"/>
                    <a:gd name="connsiteX36" fmla="*/ 976313 w 1338262"/>
                    <a:gd name="connsiteY36" fmla="*/ 1169194 h 1269205"/>
                    <a:gd name="connsiteX37" fmla="*/ 1066801 w 1338262"/>
                    <a:gd name="connsiteY37" fmla="*/ 1173957 h 1269205"/>
                    <a:gd name="connsiteX38" fmla="*/ 1135857 w 1338262"/>
                    <a:gd name="connsiteY38" fmla="*/ 1007269 h 1269205"/>
                    <a:gd name="connsiteX39" fmla="*/ 1114426 w 1338262"/>
                    <a:gd name="connsiteY39" fmla="*/ 985838 h 1269205"/>
                    <a:gd name="connsiteX40" fmla="*/ 1166813 w 1338262"/>
                    <a:gd name="connsiteY40" fmla="*/ 940595 h 1269205"/>
                    <a:gd name="connsiteX41" fmla="*/ 1195388 w 1338262"/>
                    <a:gd name="connsiteY41" fmla="*/ 835820 h 1269205"/>
                    <a:gd name="connsiteX42" fmla="*/ 1235869 w 1338262"/>
                    <a:gd name="connsiteY42" fmla="*/ 769144 h 1269205"/>
                    <a:gd name="connsiteX43" fmla="*/ 1285875 w 1338262"/>
                    <a:gd name="connsiteY43" fmla="*/ 628650 h 1269205"/>
                    <a:gd name="connsiteX44" fmla="*/ 1257300 w 1338262"/>
                    <a:gd name="connsiteY44" fmla="*/ 581025 h 1269205"/>
                    <a:gd name="connsiteX45" fmla="*/ 1266825 w 1338262"/>
                    <a:gd name="connsiteY45" fmla="*/ 521494 h 1269205"/>
                    <a:gd name="connsiteX46" fmla="*/ 1297782 w 1338262"/>
                    <a:gd name="connsiteY46" fmla="*/ 483394 h 1269205"/>
                    <a:gd name="connsiteX47" fmla="*/ 1338262 w 1338262"/>
                    <a:gd name="connsiteY47" fmla="*/ 361950 h 1269205"/>
                    <a:gd name="connsiteX48" fmla="*/ 854869 w 1338262"/>
                    <a:gd name="connsiteY48" fmla="*/ 28575 h 1269205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</a:cxnLst>
                  <a:rect l="l" t="t" r="r" b="b"/>
                  <a:pathLst>
                    <a:path w="1338262" h="1269205">
                      <a:moveTo>
                        <a:pt x="854869" y="28575"/>
                      </a:moveTo>
                      <a:lnTo>
                        <a:pt x="711994" y="0"/>
                      </a:lnTo>
                      <a:lnTo>
                        <a:pt x="592931" y="354807"/>
                      </a:lnTo>
                      <a:lnTo>
                        <a:pt x="557213" y="478632"/>
                      </a:lnTo>
                      <a:lnTo>
                        <a:pt x="621507" y="566737"/>
                      </a:lnTo>
                      <a:lnTo>
                        <a:pt x="531020" y="545305"/>
                      </a:lnTo>
                      <a:lnTo>
                        <a:pt x="400052" y="581024"/>
                      </a:lnTo>
                      <a:lnTo>
                        <a:pt x="328614" y="554831"/>
                      </a:lnTo>
                      <a:lnTo>
                        <a:pt x="192881" y="709613"/>
                      </a:lnTo>
                      <a:lnTo>
                        <a:pt x="219077" y="738187"/>
                      </a:lnTo>
                      <a:lnTo>
                        <a:pt x="171451" y="857250"/>
                      </a:lnTo>
                      <a:lnTo>
                        <a:pt x="121445" y="919161"/>
                      </a:lnTo>
                      <a:lnTo>
                        <a:pt x="83344" y="1052514"/>
                      </a:lnTo>
                      <a:lnTo>
                        <a:pt x="0" y="1104900"/>
                      </a:lnTo>
                      <a:lnTo>
                        <a:pt x="2382" y="1185863"/>
                      </a:lnTo>
                      <a:lnTo>
                        <a:pt x="57151" y="1178719"/>
                      </a:lnTo>
                      <a:lnTo>
                        <a:pt x="26194" y="1219199"/>
                      </a:lnTo>
                      <a:lnTo>
                        <a:pt x="78582" y="1269205"/>
                      </a:lnTo>
                      <a:lnTo>
                        <a:pt x="76201" y="1233487"/>
                      </a:lnTo>
                      <a:lnTo>
                        <a:pt x="138113" y="1171574"/>
                      </a:lnTo>
                      <a:lnTo>
                        <a:pt x="178594" y="1164431"/>
                      </a:lnTo>
                      <a:lnTo>
                        <a:pt x="197644" y="1057275"/>
                      </a:lnTo>
                      <a:lnTo>
                        <a:pt x="259557" y="1083469"/>
                      </a:lnTo>
                      <a:cubicBezTo>
                        <a:pt x="270669" y="1081882"/>
                        <a:pt x="286146" y="1069976"/>
                        <a:pt x="292893" y="1078707"/>
                      </a:cubicBezTo>
                      <a:cubicBezTo>
                        <a:pt x="299640" y="1087438"/>
                        <a:pt x="290910" y="1118394"/>
                        <a:pt x="300038" y="1135856"/>
                      </a:cubicBezTo>
                      <a:cubicBezTo>
                        <a:pt x="309166" y="1153318"/>
                        <a:pt x="332185" y="1177131"/>
                        <a:pt x="347663" y="1183481"/>
                      </a:cubicBezTo>
                      <a:lnTo>
                        <a:pt x="409576" y="1162050"/>
                      </a:lnTo>
                      <a:lnTo>
                        <a:pt x="426245" y="1123950"/>
                      </a:lnTo>
                      <a:lnTo>
                        <a:pt x="476250" y="1133476"/>
                      </a:lnTo>
                      <a:lnTo>
                        <a:pt x="545307" y="1092993"/>
                      </a:lnTo>
                      <a:lnTo>
                        <a:pt x="581025" y="1123950"/>
                      </a:lnTo>
                      <a:lnTo>
                        <a:pt x="678656" y="1107282"/>
                      </a:lnTo>
                      <a:lnTo>
                        <a:pt x="781050" y="1152525"/>
                      </a:lnTo>
                      <a:lnTo>
                        <a:pt x="790576" y="1188244"/>
                      </a:lnTo>
                      <a:lnTo>
                        <a:pt x="859631" y="1209675"/>
                      </a:lnTo>
                      <a:lnTo>
                        <a:pt x="933451" y="1207294"/>
                      </a:lnTo>
                      <a:lnTo>
                        <a:pt x="976313" y="1169194"/>
                      </a:lnTo>
                      <a:lnTo>
                        <a:pt x="1066801" y="1173957"/>
                      </a:lnTo>
                      <a:lnTo>
                        <a:pt x="1135857" y="1007269"/>
                      </a:lnTo>
                      <a:lnTo>
                        <a:pt x="1114426" y="985838"/>
                      </a:lnTo>
                      <a:lnTo>
                        <a:pt x="1166813" y="940595"/>
                      </a:lnTo>
                      <a:lnTo>
                        <a:pt x="1195388" y="835820"/>
                      </a:lnTo>
                      <a:lnTo>
                        <a:pt x="1235869" y="769144"/>
                      </a:lnTo>
                      <a:lnTo>
                        <a:pt x="1285875" y="628650"/>
                      </a:lnTo>
                      <a:lnTo>
                        <a:pt x="1257300" y="581025"/>
                      </a:lnTo>
                      <a:lnTo>
                        <a:pt x="1266825" y="521494"/>
                      </a:lnTo>
                      <a:lnTo>
                        <a:pt x="1297782" y="483394"/>
                      </a:lnTo>
                      <a:lnTo>
                        <a:pt x="1338262" y="361950"/>
                      </a:lnTo>
                      <a:lnTo>
                        <a:pt x="854869" y="28575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106" name="Freeform 105"/>
                <p:cNvSpPr/>
                <p:nvPr/>
              </p:nvSpPr>
              <p:spPr>
                <a:xfrm>
                  <a:off x="7503319" y="4236244"/>
                  <a:ext cx="183356" cy="221456"/>
                </a:xfrm>
                <a:custGeom>
                  <a:avLst/>
                  <a:gdLst>
                    <a:gd name="connsiteX0" fmla="*/ 235743 w 366712"/>
                    <a:gd name="connsiteY0" fmla="*/ 0 h 416718"/>
                    <a:gd name="connsiteX1" fmla="*/ 0 w 366712"/>
                    <a:gd name="connsiteY1" fmla="*/ 185737 h 416718"/>
                    <a:gd name="connsiteX2" fmla="*/ 21431 w 366712"/>
                    <a:gd name="connsiteY2" fmla="*/ 338137 h 416718"/>
                    <a:gd name="connsiteX3" fmla="*/ 147637 w 366712"/>
                    <a:gd name="connsiteY3" fmla="*/ 416718 h 416718"/>
                    <a:gd name="connsiteX4" fmla="*/ 183356 w 366712"/>
                    <a:gd name="connsiteY4" fmla="*/ 411956 h 416718"/>
                    <a:gd name="connsiteX5" fmla="*/ 300037 w 366712"/>
                    <a:gd name="connsiteY5" fmla="*/ 373856 h 416718"/>
                    <a:gd name="connsiteX6" fmla="*/ 335756 w 366712"/>
                    <a:gd name="connsiteY6" fmla="*/ 335756 h 416718"/>
                    <a:gd name="connsiteX7" fmla="*/ 357187 w 366712"/>
                    <a:gd name="connsiteY7" fmla="*/ 290512 h 416718"/>
                    <a:gd name="connsiteX8" fmla="*/ 366712 w 366712"/>
                    <a:gd name="connsiteY8" fmla="*/ 207168 h 416718"/>
                    <a:gd name="connsiteX9" fmla="*/ 354806 w 366712"/>
                    <a:gd name="connsiteY9" fmla="*/ 85725 h 416718"/>
                    <a:gd name="connsiteX10" fmla="*/ 338137 w 366712"/>
                    <a:gd name="connsiteY10" fmla="*/ 38100 h 416718"/>
                    <a:gd name="connsiteX11" fmla="*/ 235743 w 366712"/>
                    <a:gd name="connsiteY11" fmla="*/ 0 h 416718"/>
                    <a:gd name="connsiteX0" fmla="*/ 238124 w 366712"/>
                    <a:gd name="connsiteY0" fmla="*/ 30956 h 378618"/>
                    <a:gd name="connsiteX1" fmla="*/ 0 w 366712"/>
                    <a:gd name="connsiteY1" fmla="*/ 147637 h 378618"/>
                    <a:gd name="connsiteX2" fmla="*/ 21431 w 366712"/>
                    <a:gd name="connsiteY2" fmla="*/ 300037 h 378618"/>
                    <a:gd name="connsiteX3" fmla="*/ 147637 w 366712"/>
                    <a:gd name="connsiteY3" fmla="*/ 378618 h 378618"/>
                    <a:gd name="connsiteX4" fmla="*/ 183356 w 366712"/>
                    <a:gd name="connsiteY4" fmla="*/ 373856 h 378618"/>
                    <a:gd name="connsiteX5" fmla="*/ 300037 w 366712"/>
                    <a:gd name="connsiteY5" fmla="*/ 335756 h 378618"/>
                    <a:gd name="connsiteX6" fmla="*/ 335756 w 366712"/>
                    <a:gd name="connsiteY6" fmla="*/ 297656 h 378618"/>
                    <a:gd name="connsiteX7" fmla="*/ 357187 w 366712"/>
                    <a:gd name="connsiteY7" fmla="*/ 252412 h 378618"/>
                    <a:gd name="connsiteX8" fmla="*/ 366712 w 366712"/>
                    <a:gd name="connsiteY8" fmla="*/ 169068 h 378618"/>
                    <a:gd name="connsiteX9" fmla="*/ 354806 w 366712"/>
                    <a:gd name="connsiteY9" fmla="*/ 47625 h 378618"/>
                    <a:gd name="connsiteX10" fmla="*/ 338137 w 366712"/>
                    <a:gd name="connsiteY10" fmla="*/ 0 h 378618"/>
                    <a:gd name="connsiteX11" fmla="*/ 238124 w 366712"/>
                    <a:gd name="connsiteY11" fmla="*/ 30956 h 378618"/>
                    <a:gd name="connsiteX0" fmla="*/ 238124 w 366712"/>
                    <a:gd name="connsiteY0" fmla="*/ 30956 h 378618"/>
                    <a:gd name="connsiteX1" fmla="*/ 0 w 366712"/>
                    <a:gd name="connsiteY1" fmla="*/ 147637 h 378618"/>
                    <a:gd name="connsiteX2" fmla="*/ 21431 w 366712"/>
                    <a:gd name="connsiteY2" fmla="*/ 300037 h 378618"/>
                    <a:gd name="connsiteX3" fmla="*/ 147637 w 366712"/>
                    <a:gd name="connsiteY3" fmla="*/ 378618 h 378618"/>
                    <a:gd name="connsiteX4" fmla="*/ 178593 w 366712"/>
                    <a:gd name="connsiteY4" fmla="*/ 185738 h 378618"/>
                    <a:gd name="connsiteX5" fmla="*/ 300037 w 366712"/>
                    <a:gd name="connsiteY5" fmla="*/ 335756 h 378618"/>
                    <a:gd name="connsiteX6" fmla="*/ 335756 w 366712"/>
                    <a:gd name="connsiteY6" fmla="*/ 297656 h 378618"/>
                    <a:gd name="connsiteX7" fmla="*/ 357187 w 366712"/>
                    <a:gd name="connsiteY7" fmla="*/ 252412 h 378618"/>
                    <a:gd name="connsiteX8" fmla="*/ 366712 w 366712"/>
                    <a:gd name="connsiteY8" fmla="*/ 169068 h 378618"/>
                    <a:gd name="connsiteX9" fmla="*/ 354806 w 366712"/>
                    <a:gd name="connsiteY9" fmla="*/ 47625 h 378618"/>
                    <a:gd name="connsiteX10" fmla="*/ 338137 w 366712"/>
                    <a:gd name="connsiteY10" fmla="*/ 0 h 378618"/>
                    <a:gd name="connsiteX11" fmla="*/ 238124 w 366712"/>
                    <a:gd name="connsiteY11" fmla="*/ 30956 h 378618"/>
                    <a:gd name="connsiteX0" fmla="*/ 238124 w 366712"/>
                    <a:gd name="connsiteY0" fmla="*/ 30956 h 378618"/>
                    <a:gd name="connsiteX1" fmla="*/ 0 w 366712"/>
                    <a:gd name="connsiteY1" fmla="*/ 147637 h 378618"/>
                    <a:gd name="connsiteX2" fmla="*/ 21431 w 366712"/>
                    <a:gd name="connsiteY2" fmla="*/ 300037 h 378618"/>
                    <a:gd name="connsiteX3" fmla="*/ 147637 w 366712"/>
                    <a:gd name="connsiteY3" fmla="*/ 378618 h 378618"/>
                    <a:gd name="connsiteX4" fmla="*/ 157162 w 366712"/>
                    <a:gd name="connsiteY4" fmla="*/ 330993 h 378618"/>
                    <a:gd name="connsiteX5" fmla="*/ 178593 w 366712"/>
                    <a:gd name="connsiteY5" fmla="*/ 185738 h 378618"/>
                    <a:gd name="connsiteX6" fmla="*/ 300037 w 366712"/>
                    <a:gd name="connsiteY6" fmla="*/ 335756 h 378618"/>
                    <a:gd name="connsiteX7" fmla="*/ 335756 w 366712"/>
                    <a:gd name="connsiteY7" fmla="*/ 297656 h 378618"/>
                    <a:gd name="connsiteX8" fmla="*/ 357187 w 366712"/>
                    <a:gd name="connsiteY8" fmla="*/ 252412 h 378618"/>
                    <a:gd name="connsiteX9" fmla="*/ 366712 w 366712"/>
                    <a:gd name="connsiteY9" fmla="*/ 169068 h 378618"/>
                    <a:gd name="connsiteX10" fmla="*/ 354806 w 366712"/>
                    <a:gd name="connsiteY10" fmla="*/ 47625 h 378618"/>
                    <a:gd name="connsiteX11" fmla="*/ 338137 w 366712"/>
                    <a:gd name="connsiteY11" fmla="*/ 0 h 378618"/>
                    <a:gd name="connsiteX12" fmla="*/ 238124 w 366712"/>
                    <a:gd name="connsiteY12" fmla="*/ 30956 h 378618"/>
                    <a:gd name="connsiteX0" fmla="*/ 238124 w 366712"/>
                    <a:gd name="connsiteY0" fmla="*/ 30956 h 378618"/>
                    <a:gd name="connsiteX1" fmla="*/ 0 w 366712"/>
                    <a:gd name="connsiteY1" fmla="*/ 147637 h 378618"/>
                    <a:gd name="connsiteX2" fmla="*/ 21431 w 366712"/>
                    <a:gd name="connsiteY2" fmla="*/ 300037 h 378618"/>
                    <a:gd name="connsiteX3" fmla="*/ 147637 w 366712"/>
                    <a:gd name="connsiteY3" fmla="*/ 378618 h 378618"/>
                    <a:gd name="connsiteX4" fmla="*/ 126205 w 366712"/>
                    <a:gd name="connsiteY4" fmla="*/ 192881 h 378618"/>
                    <a:gd name="connsiteX5" fmla="*/ 178593 w 366712"/>
                    <a:gd name="connsiteY5" fmla="*/ 185738 h 378618"/>
                    <a:gd name="connsiteX6" fmla="*/ 300037 w 366712"/>
                    <a:gd name="connsiteY6" fmla="*/ 335756 h 378618"/>
                    <a:gd name="connsiteX7" fmla="*/ 335756 w 366712"/>
                    <a:gd name="connsiteY7" fmla="*/ 297656 h 378618"/>
                    <a:gd name="connsiteX8" fmla="*/ 357187 w 366712"/>
                    <a:gd name="connsiteY8" fmla="*/ 252412 h 378618"/>
                    <a:gd name="connsiteX9" fmla="*/ 366712 w 366712"/>
                    <a:gd name="connsiteY9" fmla="*/ 169068 h 378618"/>
                    <a:gd name="connsiteX10" fmla="*/ 354806 w 366712"/>
                    <a:gd name="connsiteY10" fmla="*/ 47625 h 378618"/>
                    <a:gd name="connsiteX11" fmla="*/ 338137 w 366712"/>
                    <a:gd name="connsiteY11" fmla="*/ 0 h 378618"/>
                    <a:gd name="connsiteX12" fmla="*/ 238124 w 366712"/>
                    <a:gd name="connsiteY12" fmla="*/ 30956 h 378618"/>
                    <a:gd name="connsiteX0" fmla="*/ 238124 w 366712"/>
                    <a:gd name="connsiteY0" fmla="*/ 30956 h 335756"/>
                    <a:gd name="connsiteX1" fmla="*/ 0 w 366712"/>
                    <a:gd name="connsiteY1" fmla="*/ 147637 h 335756"/>
                    <a:gd name="connsiteX2" fmla="*/ 21431 w 366712"/>
                    <a:gd name="connsiteY2" fmla="*/ 300037 h 335756"/>
                    <a:gd name="connsiteX3" fmla="*/ 138112 w 366712"/>
                    <a:gd name="connsiteY3" fmla="*/ 240506 h 335756"/>
                    <a:gd name="connsiteX4" fmla="*/ 126205 w 366712"/>
                    <a:gd name="connsiteY4" fmla="*/ 192881 h 335756"/>
                    <a:gd name="connsiteX5" fmla="*/ 178593 w 366712"/>
                    <a:gd name="connsiteY5" fmla="*/ 185738 h 335756"/>
                    <a:gd name="connsiteX6" fmla="*/ 300037 w 366712"/>
                    <a:gd name="connsiteY6" fmla="*/ 335756 h 335756"/>
                    <a:gd name="connsiteX7" fmla="*/ 335756 w 366712"/>
                    <a:gd name="connsiteY7" fmla="*/ 297656 h 335756"/>
                    <a:gd name="connsiteX8" fmla="*/ 357187 w 366712"/>
                    <a:gd name="connsiteY8" fmla="*/ 252412 h 335756"/>
                    <a:gd name="connsiteX9" fmla="*/ 366712 w 366712"/>
                    <a:gd name="connsiteY9" fmla="*/ 169068 h 335756"/>
                    <a:gd name="connsiteX10" fmla="*/ 354806 w 366712"/>
                    <a:gd name="connsiteY10" fmla="*/ 47625 h 335756"/>
                    <a:gd name="connsiteX11" fmla="*/ 338137 w 366712"/>
                    <a:gd name="connsiteY11" fmla="*/ 0 h 335756"/>
                    <a:gd name="connsiteX12" fmla="*/ 238124 w 366712"/>
                    <a:gd name="connsiteY12" fmla="*/ 30956 h 335756"/>
                    <a:gd name="connsiteX0" fmla="*/ 238124 w 366712"/>
                    <a:gd name="connsiteY0" fmla="*/ 30956 h 335756"/>
                    <a:gd name="connsiteX1" fmla="*/ 0 w 366712"/>
                    <a:gd name="connsiteY1" fmla="*/ 147637 h 335756"/>
                    <a:gd name="connsiteX2" fmla="*/ 59531 w 366712"/>
                    <a:gd name="connsiteY2" fmla="*/ 235743 h 335756"/>
                    <a:gd name="connsiteX3" fmla="*/ 138112 w 366712"/>
                    <a:gd name="connsiteY3" fmla="*/ 240506 h 335756"/>
                    <a:gd name="connsiteX4" fmla="*/ 126205 w 366712"/>
                    <a:gd name="connsiteY4" fmla="*/ 192881 h 335756"/>
                    <a:gd name="connsiteX5" fmla="*/ 178593 w 366712"/>
                    <a:gd name="connsiteY5" fmla="*/ 185738 h 335756"/>
                    <a:gd name="connsiteX6" fmla="*/ 300037 w 366712"/>
                    <a:gd name="connsiteY6" fmla="*/ 335756 h 335756"/>
                    <a:gd name="connsiteX7" fmla="*/ 335756 w 366712"/>
                    <a:gd name="connsiteY7" fmla="*/ 297656 h 335756"/>
                    <a:gd name="connsiteX8" fmla="*/ 357187 w 366712"/>
                    <a:gd name="connsiteY8" fmla="*/ 252412 h 335756"/>
                    <a:gd name="connsiteX9" fmla="*/ 366712 w 366712"/>
                    <a:gd name="connsiteY9" fmla="*/ 169068 h 335756"/>
                    <a:gd name="connsiteX10" fmla="*/ 354806 w 366712"/>
                    <a:gd name="connsiteY10" fmla="*/ 47625 h 335756"/>
                    <a:gd name="connsiteX11" fmla="*/ 338137 w 366712"/>
                    <a:gd name="connsiteY11" fmla="*/ 0 h 335756"/>
                    <a:gd name="connsiteX12" fmla="*/ 238124 w 366712"/>
                    <a:gd name="connsiteY12" fmla="*/ 30956 h 335756"/>
                    <a:gd name="connsiteX0" fmla="*/ 238124 w 366712"/>
                    <a:gd name="connsiteY0" fmla="*/ 30956 h 335756"/>
                    <a:gd name="connsiteX1" fmla="*/ 0 w 366712"/>
                    <a:gd name="connsiteY1" fmla="*/ 147637 h 335756"/>
                    <a:gd name="connsiteX2" fmla="*/ 59531 w 366712"/>
                    <a:gd name="connsiteY2" fmla="*/ 235743 h 335756"/>
                    <a:gd name="connsiteX3" fmla="*/ 107156 w 366712"/>
                    <a:gd name="connsiteY3" fmla="*/ 240506 h 335756"/>
                    <a:gd name="connsiteX4" fmla="*/ 138112 w 366712"/>
                    <a:gd name="connsiteY4" fmla="*/ 240506 h 335756"/>
                    <a:gd name="connsiteX5" fmla="*/ 126205 w 366712"/>
                    <a:gd name="connsiteY5" fmla="*/ 192881 h 335756"/>
                    <a:gd name="connsiteX6" fmla="*/ 178593 w 366712"/>
                    <a:gd name="connsiteY6" fmla="*/ 185738 h 335756"/>
                    <a:gd name="connsiteX7" fmla="*/ 300037 w 366712"/>
                    <a:gd name="connsiteY7" fmla="*/ 335756 h 335756"/>
                    <a:gd name="connsiteX8" fmla="*/ 335756 w 366712"/>
                    <a:gd name="connsiteY8" fmla="*/ 297656 h 335756"/>
                    <a:gd name="connsiteX9" fmla="*/ 357187 w 366712"/>
                    <a:gd name="connsiteY9" fmla="*/ 252412 h 335756"/>
                    <a:gd name="connsiteX10" fmla="*/ 366712 w 366712"/>
                    <a:gd name="connsiteY10" fmla="*/ 169068 h 335756"/>
                    <a:gd name="connsiteX11" fmla="*/ 354806 w 366712"/>
                    <a:gd name="connsiteY11" fmla="*/ 47625 h 335756"/>
                    <a:gd name="connsiteX12" fmla="*/ 338137 w 366712"/>
                    <a:gd name="connsiteY12" fmla="*/ 0 h 335756"/>
                    <a:gd name="connsiteX13" fmla="*/ 238124 w 366712"/>
                    <a:gd name="connsiteY13" fmla="*/ 30956 h 335756"/>
                    <a:gd name="connsiteX0" fmla="*/ 238124 w 366712"/>
                    <a:gd name="connsiteY0" fmla="*/ 30956 h 335756"/>
                    <a:gd name="connsiteX1" fmla="*/ 0 w 366712"/>
                    <a:gd name="connsiteY1" fmla="*/ 147637 h 335756"/>
                    <a:gd name="connsiteX2" fmla="*/ 59531 w 366712"/>
                    <a:gd name="connsiteY2" fmla="*/ 235743 h 335756"/>
                    <a:gd name="connsiteX3" fmla="*/ 97631 w 366712"/>
                    <a:gd name="connsiteY3" fmla="*/ 252412 h 335756"/>
                    <a:gd name="connsiteX4" fmla="*/ 138112 w 366712"/>
                    <a:gd name="connsiteY4" fmla="*/ 240506 h 335756"/>
                    <a:gd name="connsiteX5" fmla="*/ 126205 w 366712"/>
                    <a:gd name="connsiteY5" fmla="*/ 192881 h 335756"/>
                    <a:gd name="connsiteX6" fmla="*/ 178593 w 366712"/>
                    <a:gd name="connsiteY6" fmla="*/ 185738 h 335756"/>
                    <a:gd name="connsiteX7" fmla="*/ 300037 w 366712"/>
                    <a:gd name="connsiteY7" fmla="*/ 335756 h 335756"/>
                    <a:gd name="connsiteX8" fmla="*/ 335756 w 366712"/>
                    <a:gd name="connsiteY8" fmla="*/ 297656 h 335756"/>
                    <a:gd name="connsiteX9" fmla="*/ 357187 w 366712"/>
                    <a:gd name="connsiteY9" fmla="*/ 252412 h 335756"/>
                    <a:gd name="connsiteX10" fmla="*/ 366712 w 366712"/>
                    <a:gd name="connsiteY10" fmla="*/ 169068 h 335756"/>
                    <a:gd name="connsiteX11" fmla="*/ 354806 w 366712"/>
                    <a:gd name="connsiteY11" fmla="*/ 47625 h 335756"/>
                    <a:gd name="connsiteX12" fmla="*/ 338137 w 366712"/>
                    <a:gd name="connsiteY12" fmla="*/ 0 h 335756"/>
                    <a:gd name="connsiteX13" fmla="*/ 238124 w 366712"/>
                    <a:gd name="connsiteY13" fmla="*/ 30956 h 335756"/>
                    <a:gd name="connsiteX0" fmla="*/ 238124 w 366712"/>
                    <a:gd name="connsiteY0" fmla="*/ 30956 h 297656"/>
                    <a:gd name="connsiteX1" fmla="*/ 0 w 366712"/>
                    <a:gd name="connsiteY1" fmla="*/ 147637 h 297656"/>
                    <a:gd name="connsiteX2" fmla="*/ 59531 w 366712"/>
                    <a:gd name="connsiteY2" fmla="*/ 235743 h 297656"/>
                    <a:gd name="connsiteX3" fmla="*/ 97631 w 366712"/>
                    <a:gd name="connsiteY3" fmla="*/ 252412 h 297656"/>
                    <a:gd name="connsiteX4" fmla="*/ 138112 w 366712"/>
                    <a:gd name="connsiteY4" fmla="*/ 240506 h 297656"/>
                    <a:gd name="connsiteX5" fmla="*/ 126205 w 366712"/>
                    <a:gd name="connsiteY5" fmla="*/ 192881 h 297656"/>
                    <a:gd name="connsiteX6" fmla="*/ 178593 w 366712"/>
                    <a:gd name="connsiteY6" fmla="*/ 185738 h 297656"/>
                    <a:gd name="connsiteX7" fmla="*/ 219075 w 366712"/>
                    <a:gd name="connsiteY7" fmla="*/ 152400 h 297656"/>
                    <a:gd name="connsiteX8" fmla="*/ 335756 w 366712"/>
                    <a:gd name="connsiteY8" fmla="*/ 297656 h 297656"/>
                    <a:gd name="connsiteX9" fmla="*/ 357187 w 366712"/>
                    <a:gd name="connsiteY9" fmla="*/ 252412 h 297656"/>
                    <a:gd name="connsiteX10" fmla="*/ 366712 w 366712"/>
                    <a:gd name="connsiteY10" fmla="*/ 169068 h 297656"/>
                    <a:gd name="connsiteX11" fmla="*/ 354806 w 366712"/>
                    <a:gd name="connsiteY11" fmla="*/ 47625 h 297656"/>
                    <a:gd name="connsiteX12" fmla="*/ 338137 w 366712"/>
                    <a:gd name="connsiteY12" fmla="*/ 0 h 297656"/>
                    <a:gd name="connsiteX13" fmla="*/ 238124 w 366712"/>
                    <a:gd name="connsiteY13" fmla="*/ 30956 h 297656"/>
                    <a:gd name="connsiteX0" fmla="*/ 238124 w 366712"/>
                    <a:gd name="connsiteY0" fmla="*/ 30956 h 252412"/>
                    <a:gd name="connsiteX1" fmla="*/ 0 w 366712"/>
                    <a:gd name="connsiteY1" fmla="*/ 147637 h 252412"/>
                    <a:gd name="connsiteX2" fmla="*/ 59531 w 366712"/>
                    <a:gd name="connsiteY2" fmla="*/ 235743 h 252412"/>
                    <a:gd name="connsiteX3" fmla="*/ 97631 w 366712"/>
                    <a:gd name="connsiteY3" fmla="*/ 252412 h 252412"/>
                    <a:gd name="connsiteX4" fmla="*/ 138112 w 366712"/>
                    <a:gd name="connsiteY4" fmla="*/ 240506 h 252412"/>
                    <a:gd name="connsiteX5" fmla="*/ 126205 w 366712"/>
                    <a:gd name="connsiteY5" fmla="*/ 192881 h 252412"/>
                    <a:gd name="connsiteX6" fmla="*/ 178593 w 366712"/>
                    <a:gd name="connsiteY6" fmla="*/ 185738 h 252412"/>
                    <a:gd name="connsiteX7" fmla="*/ 219075 w 366712"/>
                    <a:gd name="connsiteY7" fmla="*/ 152400 h 252412"/>
                    <a:gd name="connsiteX8" fmla="*/ 230981 w 366712"/>
                    <a:gd name="connsiteY8" fmla="*/ 107156 h 252412"/>
                    <a:gd name="connsiteX9" fmla="*/ 357187 w 366712"/>
                    <a:gd name="connsiteY9" fmla="*/ 252412 h 252412"/>
                    <a:gd name="connsiteX10" fmla="*/ 366712 w 366712"/>
                    <a:gd name="connsiteY10" fmla="*/ 169068 h 252412"/>
                    <a:gd name="connsiteX11" fmla="*/ 354806 w 366712"/>
                    <a:gd name="connsiteY11" fmla="*/ 47625 h 252412"/>
                    <a:gd name="connsiteX12" fmla="*/ 338137 w 366712"/>
                    <a:gd name="connsiteY12" fmla="*/ 0 h 252412"/>
                    <a:gd name="connsiteX13" fmla="*/ 238124 w 366712"/>
                    <a:gd name="connsiteY13" fmla="*/ 30956 h 252412"/>
                    <a:gd name="connsiteX0" fmla="*/ 238124 w 366712"/>
                    <a:gd name="connsiteY0" fmla="*/ 30956 h 252412"/>
                    <a:gd name="connsiteX1" fmla="*/ 0 w 366712"/>
                    <a:gd name="connsiteY1" fmla="*/ 147637 h 252412"/>
                    <a:gd name="connsiteX2" fmla="*/ 59531 w 366712"/>
                    <a:gd name="connsiteY2" fmla="*/ 235743 h 252412"/>
                    <a:gd name="connsiteX3" fmla="*/ 97631 w 366712"/>
                    <a:gd name="connsiteY3" fmla="*/ 252412 h 252412"/>
                    <a:gd name="connsiteX4" fmla="*/ 138112 w 366712"/>
                    <a:gd name="connsiteY4" fmla="*/ 240506 h 252412"/>
                    <a:gd name="connsiteX5" fmla="*/ 126205 w 366712"/>
                    <a:gd name="connsiteY5" fmla="*/ 192881 h 252412"/>
                    <a:gd name="connsiteX6" fmla="*/ 178593 w 366712"/>
                    <a:gd name="connsiteY6" fmla="*/ 185738 h 252412"/>
                    <a:gd name="connsiteX7" fmla="*/ 219075 w 366712"/>
                    <a:gd name="connsiteY7" fmla="*/ 152400 h 252412"/>
                    <a:gd name="connsiteX8" fmla="*/ 230981 w 366712"/>
                    <a:gd name="connsiteY8" fmla="*/ 107156 h 252412"/>
                    <a:gd name="connsiteX9" fmla="*/ 242887 w 366712"/>
                    <a:gd name="connsiteY9" fmla="*/ 80962 h 252412"/>
                    <a:gd name="connsiteX10" fmla="*/ 366712 w 366712"/>
                    <a:gd name="connsiteY10" fmla="*/ 169068 h 252412"/>
                    <a:gd name="connsiteX11" fmla="*/ 354806 w 366712"/>
                    <a:gd name="connsiteY11" fmla="*/ 47625 h 252412"/>
                    <a:gd name="connsiteX12" fmla="*/ 338137 w 366712"/>
                    <a:gd name="connsiteY12" fmla="*/ 0 h 252412"/>
                    <a:gd name="connsiteX13" fmla="*/ 238124 w 366712"/>
                    <a:gd name="connsiteY13" fmla="*/ 30956 h 252412"/>
                    <a:gd name="connsiteX0" fmla="*/ 238124 w 354806"/>
                    <a:gd name="connsiteY0" fmla="*/ 30956 h 252412"/>
                    <a:gd name="connsiteX1" fmla="*/ 0 w 354806"/>
                    <a:gd name="connsiteY1" fmla="*/ 147637 h 252412"/>
                    <a:gd name="connsiteX2" fmla="*/ 59531 w 354806"/>
                    <a:gd name="connsiteY2" fmla="*/ 235743 h 252412"/>
                    <a:gd name="connsiteX3" fmla="*/ 97631 w 354806"/>
                    <a:gd name="connsiteY3" fmla="*/ 252412 h 252412"/>
                    <a:gd name="connsiteX4" fmla="*/ 138112 w 354806"/>
                    <a:gd name="connsiteY4" fmla="*/ 240506 h 252412"/>
                    <a:gd name="connsiteX5" fmla="*/ 126205 w 354806"/>
                    <a:gd name="connsiteY5" fmla="*/ 192881 h 252412"/>
                    <a:gd name="connsiteX6" fmla="*/ 178593 w 354806"/>
                    <a:gd name="connsiteY6" fmla="*/ 185738 h 252412"/>
                    <a:gd name="connsiteX7" fmla="*/ 219075 w 354806"/>
                    <a:gd name="connsiteY7" fmla="*/ 152400 h 252412"/>
                    <a:gd name="connsiteX8" fmla="*/ 230981 w 354806"/>
                    <a:gd name="connsiteY8" fmla="*/ 107156 h 252412"/>
                    <a:gd name="connsiteX9" fmla="*/ 242887 w 354806"/>
                    <a:gd name="connsiteY9" fmla="*/ 80962 h 252412"/>
                    <a:gd name="connsiteX10" fmla="*/ 233362 w 354806"/>
                    <a:gd name="connsiteY10" fmla="*/ 57149 h 252412"/>
                    <a:gd name="connsiteX11" fmla="*/ 354806 w 354806"/>
                    <a:gd name="connsiteY11" fmla="*/ 47625 h 252412"/>
                    <a:gd name="connsiteX12" fmla="*/ 338137 w 354806"/>
                    <a:gd name="connsiteY12" fmla="*/ 0 h 252412"/>
                    <a:gd name="connsiteX13" fmla="*/ 238124 w 354806"/>
                    <a:gd name="connsiteY13" fmla="*/ 30956 h 252412"/>
                    <a:gd name="connsiteX0" fmla="*/ 238124 w 338137"/>
                    <a:gd name="connsiteY0" fmla="*/ 30956 h 252412"/>
                    <a:gd name="connsiteX1" fmla="*/ 0 w 338137"/>
                    <a:gd name="connsiteY1" fmla="*/ 147637 h 252412"/>
                    <a:gd name="connsiteX2" fmla="*/ 59531 w 338137"/>
                    <a:gd name="connsiteY2" fmla="*/ 235743 h 252412"/>
                    <a:gd name="connsiteX3" fmla="*/ 97631 w 338137"/>
                    <a:gd name="connsiteY3" fmla="*/ 252412 h 252412"/>
                    <a:gd name="connsiteX4" fmla="*/ 138112 w 338137"/>
                    <a:gd name="connsiteY4" fmla="*/ 240506 h 252412"/>
                    <a:gd name="connsiteX5" fmla="*/ 126205 w 338137"/>
                    <a:gd name="connsiteY5" fmla="*/ 192881 h 252412"/>
                    <a:gd name="connsiteX6" fmla="*/ 178593 w 338137"/>
                    <a:gd name="connsiteY6" fmla="*/ 185738 h 252412"/>
                    <a:gd name="connsiteX7" fmla="*/ 219075 w 338137"/>
                    <a:gd name="connsiteY7" fmla="*/ 152400 h 252412"/>
                    <a:gd name="connsiteX8" fmla="*/ 230981 w 338137"/>
                    <a:gd name="connsiteY8" fmla="*/ 107156 h 252412"/>
                    <a:gd name="connsiteX9" fmla="*/ 242887 w 338137"/>
                    <a:gd name="connsiteY9" fmla="*/ 80962 h 252412"/>
                    <a:gd name="connsiteX10" fmla="*/ 233362 w 338137"/>
                    <a:gd name="connsiteY10" fmla="*/ 57149 h 252412"/>
                    <a:gd name="connsiteX11" fmla="*/ 338137 w 338137"/>
                    <a:gd name="connsiteY11" fmla="*/ 0 h 252412"/>
                    <a:gd name="connsiteX12" fmla="*/ 238124 w 338137"/>
                    <a:gd name="connsiteY12" fmla="*/ 30956 h 252412"/>
                    <a:gd name="connsiteX0" fmla="*/ 238124 w 242887"/>
                    <a:gd name="connsiteY0" fmla="*/ 0 h 221456"/>
                    <a:gd name="connsiteX1" fmla="*/ 0 w 242887"/>
                    <a:gd name="connsiteY1" fmla="*/ 116681 h 221456"/>
                    <a:gd name="connsiteX2" fmla="*/ 59531 w 242887"/>
                    <a:gd name="connsiteY2" fmla="*/ 204787 h 221456"/>
                    <a:gd name="connsiteX3" fmla="*/ 97631 w 242887"/>
                    <a:gd name="connsiteY3" fmla="*/ 221456 h 221456"/>
                    <a:gd name="connsiteX4" fmla="*/ 138112 w 242887"/>
                    <a:gd name="connsiteY4" fmla="*/ 209550 h 221456"/>
                    <a:gd name="connsiteX5" fmla="*/ 126205 w 242887"/>
                    <a:gd name="connsiteY5" fmla="*/ 161925 h 221456"/>
                    <a:gd name="connsiteX6" fmla="*/ 178593 w 242887"/>
                    <a:gd name="connsiteY6" fmla="*/ 154782 h 221456"/>
                    <a:gd name="connsiteX7" fmla="*/ 219075 w 242887"/>
                    <a:gd name="connsiteY7" fmla="*/ 121444 h 221456"/>
                    <a:gd name="connsiteX8" fmla="*/ 230981 w 242887"/>
                    <a:gd name="connsiteY8" fmla="*/ 76200 h 221456"/>
                    <a:gd name="connsiteX9" fmla="*/ 242887 w 242887"/>
                    <a:gd name="connsiteY9" fmla="*/ 50006 h 221456"/>
                    <a:gd name="connsiteX10" fmla="*/ 233362 w 242887"/>
                    <a:gd name="connsiteY10" fmla="*/ 26193 h 221456"/>
                    <a:gd name="connsiteX11" fmla="*/ 238124 w 242887"/>
                    <a:gd name="connsiteY11" fmla="*/ 0 h 221456"/>
                    <a:gd name="connsiteX0" fmla="*/ 238124 w 242887"/>
                    <a:gd name="connsiteY0" fmla="*/ 0 h 221456"/>
                    <a:gd name="connsiteX1" fmla="*/ 88107 w 242887"/>
                    <a:gd name="connsiteY1" fmla="*/ 76200 h 221456"/>
                    <a:gd name="connsiteX2" fmla="*/ 0 w 242887"/>
                    <a:gd name="connsiteY2" fmla="*/ 116681 h 221456"/>
                    <a:gd name="connsiteX3" fmla="*/ 59531 w 242887"/>
                    <a:gd name="connsiteY3" fmla="*/ 204787 h 221456"/>
                    <a:gd name="connsiteX4" fmla="*/ 97631 w 242887"/>
                    <a:gd name="connsiteY4" fmla="*/ 221456 h 221456"/>
                    <a:gd name="connsiteX5" fmla="*/ 138112 w 242887"/>
                    <a:gd name="connsiteY5" fmla="*/ 209550 h 221456"/>
                    <a:gd name="connsiteX6" fmla="*/ 126205 w 242887"/>
                    <a:gd name="connsiteY6" fmla="*/ 161925 h 221456"/>
                    <a:gd name="connsiteX7" fmla="*/ 178593 w 242887"/>
                    <a:gd name="connsiteY7" fmla="*/ 154782 h 221456"/>
                    <a:gd name="connsiteX8" fmla="*/ 219075 w 242887"/>
                    <a:gd name="connsiteY8" fmla="*/ 121444 h 221456"/>
                    <a:gd name="connsiteX9" fmla="*/ 230981 w 242887"/>
                    <a:gd name="connsiteY9" fmla="*/ 76200 h 221456"/>
                    <a:gd name="connsiteX10" fmla="*/ 242887 w 242887"/>
                    <a:gd name="connsiteY10" fmla="*/ 50006 h 221456"/>
                    <a:gd name="connsiteX11" fmla="*/ 233362 w 242887"/>
                    <a:gd name="connsiteY11" fmla="*/ 26193 h 221456"/>
                    <a:gd name="connsiteX12" fmla="*/ 238124 w 242887"/>
                    <a:gd name="connsiteY12" fmla="*/ 0 h 221456"/>
                    <a:gd name="connsiteX0" fmla="*/ 238124 w 242887"/>
                    <a:gd name="connsiteY0" fmla="*/ 0 h 221456"/>
                    <a:gd name="connsiteX1" fmla="*/ 211932 w 242887"/>
                    <a:gd name="connsiteY1" fmla="*/ 90488 h 221456"/>
                    <a:gd name="connsiteX2" fmla="*/ 0 w 242887"/>
                    <a:gd name="connsiteY2" fmla="*/ 116681 h 221456"/>
                    <a:gd name="connsiteX3" fmla="*/ 59531 w 242887"/>
                    <a:gd name="connsiteY3" fmla="*/ 204787 h 221456"/>
                    <a:gd name="connsiteX4" fmla="*/ 97631 w 242887"/>
                    <a:gd name="connsiteY4" fmla="*/ 221456 h 221456"/>
                    <a:gd name="connsiteX5" fmla="*/ 138112 w 242887"/>
                    <a:gd name="connsiteY5" fmla="*/ 209550 h 221456"/>
                    <a:gd name="connsiteX6" fmla="*/ 126205 w 242887"/>
                    <a:gd name="connsiteY6" fmla="*/ 161925 h 221456"/>
                    <a:gd name="connsiteX7" fmla="*/ 178593 w 242887"/>
                    <a:gd name="connsiteY7" fmla="*/ 154782 h 221456"/>
                    <a:gd name="connsiteX8" fmla="*/ 219075 w 242887"/>
                    <a:gd name="connsiteY8" fmla="*/ 121444 h 221456"/>
                    <a:gd name="connsiteX9" fmla="*/ 230981 w 242887"/>
                    <a:gd name="connsiteY9" fmla="*/ 76200 h 221456"/>
                    <a:gd name="connsiteX10" fmla="*/ 242887 w 242887"/>
                    <a:gd name="connsiteY10" fmla="*/ 50006 h 221456"/>
                    <a:gd name="connsiteX11" fmla="*/ 233362 w 242887"/>
                    <a:gd name="connsiteY11" fmla="*/ 26193 h 221456"/>
                    <a:gd name="connsiteX12" fmla="*/ 238124 w 242887"/>
                    <a:gd name="connsiteY12" fmla="*/ 0 h 221456"/>
                    <a:gd name="connsiteX0" fmla="*/ 238124 w 242887"/>
                    <a:gd name="connsiteY0" fmla="*/ 0 h 221456"/>
                    <a:gd name="connsiteX1" fmla="*/ 202407 w 242887"/>
                    <a:gd name="connsiteY1" fmla="*/ 85726 h 221456"/>
                    <a:gd name="connsiteX2" fmla="*/ 0 w 242887"/>
                    <a:gd name="connsiteY2" fmla="*/ 116681 h 221456"/>
                    <a:gd name="connsiteX3" fmla="*/ 59531 w 242887"/>
                    <a:gd name="connsiteY3" fmla="*/ 204787 h 221456"/>
                    <a:gd name="connsiteX4" fmla="*/ 97631 w 242887"/>
                    <a:gd name="connsiteY4" fmla="*/ 221456 h 221456"/>
                    <a:gd name="connsiteX5" fmla="*/ 138112 w 242887"/>
                    <a:gd name="connsiteY5" fmla="*/ 209550 h 221456"/>
                    <a:gd name="connsiteX6" fmla="*/ 126205 w 242887"/>
                    <a:gd name="connsiteY6" fmla="*/ 161925 h 221456"/>
                    <a:gd name="connsiteX7" fmla="*/ 178593 w 242887"/>
                    <a:gd name="connsiteY7" fmla="*/ 154782 h 221456"/>
                    <a:gd name="connsiteX8" fmla="*/ 219075 w 242887"/>
                    <a:gd name="connsiteY8" fmla="*/ 121444 h 221456"/>
                    <a:gd name="connsiteX9" fmla="*/ 230981 w 242887"/>
                    <a:gd name="connsiteY9" fmla="*/ 76200 h 221456"/>
                    <a:gd name="connsiteX10" fmla="*/ 242887 w 242887"/>
                    <a:gd name="connsiteY10" fmla="*/ 50006 h 221456"/>
                    <a:gd name="connsiteX11" fmla="*/ 233362 w 242887"/>
                    <a:gd name="connsiteY11" fmla="*/ 26193 h 221456"/>
                    <a:gd name="connsiteX12" fmla="*/ 238124 w 242887"/>
                    <a:gd name="connsiteY12" fmla="*/ 0 h 221456"/>
                    <a:gd name="connsiteX0" fmla="*/ 238124 w 242887"/>
                    <a:gd name="connsiteY0" fmla="*/ 0 h 221456"/>
                    <a:gd name="connsiteX1" fmla="*/ 202407 w 242887"/>
                    <a:gd name="connsiteY1" fmla="*/ 85726 h 221456"/>
                    <a:gd name="connsiteX2" fmla="*/ 104776 w 242887"/>
                    <a:gd name="connsiteY2" fmla="*/ 97631 h 221456"/>
                    <a:gd name="connsiteX3" fmla="*/ 0 w 242887"/>
                    <a:gd name="connsiteY3" fmla="*/ 116681 h 221456"/>
                    <a:gd name="connsiteX4" fmla="*/ 59531 w 242887"/>
                    <a:gd name="connsiteY4" fmla="*/ 204787 h 221456"/>
                    <a:gd name="connsiteX5" fmla="*/ 97631 w 242887"/>
                    <a:gd name="connsiteY5" fmla="*/ 221456 h 221456"/>
                    <a:gd name="connsiteX6" fmla="*/ 138112 w 242887"/>
                    <a:gd name="connsiteY6" fmla="*/ 209550 h 221456"/>
                    <a:gd name="connsiteX7" fmla="*/ 126205 w 242887"/>
                    <a:gd name="connsiteY7" fmla="*/ 161925 h 221456"/>
                    <a:gd name="connsiteX8" fmla="*/ 178593 w 242887"/>
                    <a:gd name="connsiteY8" fmla="*/ 154782 h 221456"/>
                    <a:gd name="connsiteX9" fmla="*/ 219075 w 242887"/>
                    <a:gd name="connsiteY9" fmla="*/ 121444 h 221456"/>
                    <a:gd name="connsiteX10" fmla="*/ 230981 w 242887"/>
                    <a:gd name="connsiteY10" fmla="*/ 76200 h 221456"/>
                    <a:gd name="connsiteX11" fmla="*/ 242887 w 242887"/>
                    <a:gd name="connsiteY11" fmla="*/ 50006 h 221456"/>
                    <a:gd name="connsiteX12" fmla="*/ 233362 w 242887"/>
                    <a:gd name="connsiteY12" fmla="*/ 26193 h 221456"/>
                    <a:gd name="connsiteX13" fmla="*/ 238124 w 242887"/>
                    <a:gd name="connsiteY13" fmla="*/ 0 h 221456"/>
                    <a:gd name="connsiteX0" fmla="*/ 238124 w 242887"/>
                    <a:gd name="connsiteY0" fmla="*/ 0 h 221456"/>
                    <a:gd name="connsiteX1" fmla="*/ 202407 w 242887"/>
                    <a:gd name="connsiteY1" fmla="*/ 85726 h 221456"/>
                    <a:gd name="connsiteX2" fmla="*/ 130969 w 242887"/>
                    <a:gd name="connsiteY2" fmla="*/ 133350 h 221456"/>
                    <a:gd name="connsiteX3" fmla="*/ 0 w 242887"/>
                    <a:gd name="connsiteY3" fmla="*/ 116681 h 221456"/>
                    <a:gd name="connsiteX4" fmla="*/ 59531 w 242887"/>
                    <a:gd name="connsiteY4" fmla="*/ 204787 h 221456"/>
                    <a:gd name="connsiteX5" fmla="*/ 97631 w 242887"/>
                    <a:gd name="connsiteY5" fmla="*/ 221456 h 221456"/>
                    <a:gd name="connsiteX6" fmla="*/ 138112 w 242887"/>
                    <a:gd name="connsiteY6" fmla="*/ 209550 h 221456"/>
                    <a:gd name="connsiteX7" fmla="*/ 126205 w 242887"/>
                    <a:gd name="connsiteY7" fmla="*/ 161925 h 221456"/>
                    <a:gd name="connsiteX8" fmla="*/ 178593 w 242887"/>
                    <a:gd name="connsiteY8" fmla="*/ 154782 h 221456"/>
                    <a:gd name="connsiteX9" fmla="*/ 219075 w 242887"/>
                    <a:gd name="connsiteY9" fmla="*/ 121444 h 221456"/>
                    <a:gd name="connsiteX10" fmla="*/ 230981 w 242887"/>
                    <a:gd name="connsiteY10" fmla="*/ 76200 h 221456"/>
                    <a:gd name="connsiteX11" fmla="*/ 242887 w 242887"/>
                    <a:gd name="connsiteY11" fmla="*/ 50006 h 221456"/>
                    <a:gd name="connsiteX12" fmla="*/ 233362 w 242887"/>
                    <a:gd name="connsiteY12" fmla="*/ 26193 h 221456"/>
                    <a:gd name="connsiteX13" fmla="*/ 238124 w 242887"/>
                    <a:gd name="connsiteY13" fmla="*/ 0 h 221456"/>
                    <a:gd name="connsiteX0" fmla="*/ 178593 w 183356"/>
                    <a:gd name="connsiteY0" fmla="*/ 0 h 221456"/>
                    <a:gd name="connsiteX1" fmla="*/ 142876 w 183356"/>
                    <a:gd name="connsiteY1" fmla="*/ 85726 h 221456"/>
                    <a:gd name="connsiteX2" fmla="*/ 71438 w 183356"/>
                    <a:gd name="connsiteY2" fmla="*/ 133350 h 221456"/>
                    <a:gd name="connsiteX3" fmla="*/ 19050 w 183356"/>
                    <a:gd name="connsiteY3" fmla="*/ 173831 h 221456"/>
                    <a:gd name="connsiteX4" fmla="*/ 0 w 183356"/>
                    <a:gd name="connsiteY4" fmla="*/ 204787 h 221456"/>
                    <a:gd name="connsiteX5" fmla="*/ 38100 w 183356"/>
                    <a:gd name="connsiteY5" fmla="*/ 221456 h 221456"/>
                    <a:gd name="connsiteX6" fmla="*/ 78581 w 183356"/>
                    <a:gd name="connsiteY6" fmla="*/ 209550 h 221456"/>
                    <a:gd name="connsiteX7" fmla="*/ 66674 w 183356"/>
                    <a:gd name="connsiteY7" fmla="*/ 161925 h 221456"/>
                    <a:gd name="connsiteX8" fmla="*/ 119062 w 183356"/>
                    <a:gd name="connsiteY8" fmla="*/ 154782 h 221456"/>
                    <a:gd name="connsiteX9" fmla="*/ 159544 w 183356"/>
                    <a:gd name="connsiteY9" fmla="*/ 121444 h 221456"/>
                    <a:gd name="connsiteX10" fmla="*/ 171450 w 183356"/>
                    <a:gd name="connsiteY10" fmla="*/ 76200 h 221456"/>
                    <a:gd name="connsiteX11" fmla="*/ 183356 w 183356"/>
                    <a:gd name="connsiteY11" fmla="*/ 50006 h 221456"/>
                    <a:gd name="connsiteX12" fmla="*/ 173831 w 183356"/>
                    <a:gd name="connsiteY12" fmla="*/ 26193 h 221456"/>
                    <a:gd name="connsiteX13" fmla="*/ 178593 w 183356"/>
                    <a:gd name="connsiteY13" fmla="*/ 0 h 221456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</a:cxnLst>
                  <a:rect l="l" t="t" r="r" b="b"/>
                  <a:pathLst>
                    <a:path w="183356" h="221456">
                      <a:moveTo>
                        <a:pt x="178593" y="0"/>
                      </a:moveTo>
                      <a:lnTo>
                        <a:pt x="142876" y="85726"/>
                      </a:lnTo>
                      <a:lnTo>
                        <a:pt x="71438" y="133350"/>
                      </a:lnTo>
                      <a:lnTo>
                        <a:pt x="19050" y="173831"/>
                      </a:lnTo>
                      <a:lnTo>
                        <a:pt x="0" y="204787"/>
                      </a:lnTo>
                      <a:lnTo>
                        <a:pt x="38100" y="221456"/>
                      </a:lnTo>
                      <a:lnTo>
                        <a:pt x="78581" y="209550"/>
                      </a:lnTo>
                      <a:lnTo>
                        <a:pt x="66674" y="161925"/>
                      </a:lnTo>
                      <a:lnTo>
                        <a:pt x="119062" y="154782"/>
                      </a:lnTo>
                      <a:lnTo>
                        <a:pt x="159544" y="121444"/>
                      </a:lnTo>
                      <a:lnTo>
                        <a:pt x="171450" y="76200"/>
                      </a:lnTo>
                      <a:lnTo>
                        <a:pt x="183356" y="50006"/>
                      </a:lnTo>
                      <a:lnTo>
                        <a:pt x="173831" y="26193"/>
                      </a:lnTo>
                      <a:lnTo>
                        <a:pt x="178593" y="0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107" name="Freeform 106"/>
                <p:cNvSpPr/>
                <p:nvPr/>
              </p:nvSpPr>
              <p:spPr>
                <a:xfrm>
                  <a:off x="7235087" y="3050378"/>
                  <a:ext cx="128587" cy="192883"/>
                </a:xfrm>
                <a:custGeom>
                  <a:avLst/>
                  <a:gdLst>
                    <a:gd name="connsiteX0" fmla="*/ 235743 w 366712"/>
                    <a:gd name="connsiteY0" fmla="*/ 0 h 416718"/>
                    <a:gd name="connsiteX1" fmla="*/ 0 w 366712"/>
                    <a:gd name="connsiteY1" fmla="*/ 185737 h 416718"/>
                    <a:gd name="connsiteX2" fmla="*/ 21431 w 366712"/>
                    <a:gd name="connsiteY2" fmla="*/ 338137 h 416718"/>
                    <a:gd name="connsiteX3" fmla="*/ 147637 w 366712"/>
                    <a:gd name="connsiteY3" fmla="*/ 416718 h 416718"/>
                    <a:gd name="connsiteX4" fmla="*/ 183356 w 366712"/>
                    <a:gd name="connsiteY4" fmla="*/ 411956 h 416718"/>
                    <a:gd name="connsiteX5" fmla="*/ 300037 w 366712"/>
                    <a:gd name="connsiteY5" fmla="*/ 373856 h 416718"/>
                    <a:gd name="connsiteX6" fmla="*/ 335756 w 366712"/>
                    <a:gd name="connsiteY6" fmla="*/ 335756 h 416718"/>
                    <a:gd name="connsiteX7" fmla="*/ 357187 w 366712"/>
                    <a:gd name="connsiteY7" fmla="*/ 290512 h 416718"/>
                    <a:gd name="connsiteX8" fmla="*/ 366712 w 366712"/>
                    <a:gd name="connsiteY8" fmla="*/ 207168 h 416718"/>
                    <a:gd name="connsiteX9" fmla="*/ 354806 w 366712"/>
                    <a:gd name="connsiteY9" fmla="*/ 85725 h 416718"/>
                    <a:gd name="connsiteX10" fmla="*/ 338137 w 366712"/>
                    <a:gd name="connsiteY10" fmla="*/ 38100 h 416718"/>
                    <a:gd name="connsiteX11" fmla="*/ 235743 w 366712"/>
                    <a:gd name="connsiteY11" fmla="*/ 0 h 416718"/>
                    <a:gd name="connsiteX0" fmla="*/ 238124 w 366712"/>
                    <a:gd name="connsiteY0" fmla="*/ 30956 h 378618"/>
                    <a:gd name="connsiteX1" fmla="*/ 0 w 366712"/>
                    <a:gd name="connsiteY1" fmla="*/ 147637 h 378618"/>
                    <a:gd name="connsiteX2" fmla="*/ 21431 w 366712"/>
                    <a:gd name="connsiteY2" fmla="*/ 300037 h 378618"/>
                    <a:gd name="connsiteX3" fmla="*/ 147637 w 366712"/>
                    <a:gd name="connsiteY3" fmla="*/ 378618 h 378618"/>
                    <a:gd name="connsiteX4" fmla="*/ 183356 w 366712"/>
                    <a:gd name="connsiteY4" fmla="*/ 373856 h 378618"/>
                    <a:gd name="connsiteX5" fmla="*/ 300037 w 366712"/>
                    <a:gd name="connsiteY5" fmla="*/ 335756 h 378618"/>
                    <a:gd name="connsiteX6" fmla="*/ 335756 w 366712"/>
                    <a:gd name="connsiteY6" fmla="*/ 297656 h 378618"/>
                    <a:gd name="connsiteX7" fmla="*/ 357187 w 366712"/>
                    <a:gd name="connsiteY7" fmla="*/ 252412 h 378618"/>
                    <a:gd name="connsiteX8" fmla="*/ 366712 w 366712"/>
                    <a:gd name="connsiteY8" fmla="*/ 169068 h 378618"/>
                    <a:gd name="connsiteX9" fmla="*/ 354806 w 366712"/>
                    <a:gd name="connsiteY9" fmla="*/ 47625 h 378618"/>
                    <a:gd name="connsiteX10" fmla="*/ 338137 w 366712"/>
                    <a:gd name="connsiteY10" fmla="*/ 0 h 378618"/>
                    <a:gd name="connsiteX11" fmla="*/ 238124 w 366712"/>
                    <a:gd name="connsiteY11" fmla="*/ 30956 h 378618"/>
                    <a:gd name="connsiteX0" fmla="*/ 238124 w 366712"/>
                    <a:gd name="connsiteY0" fmla="*/ 30956 h 378618"/>
                    <a:gd name="connsiteX1" fmla="*/ 0 w 366712"/>
                    <a:gd name="connsiteY1" fmla="*/ 147637 h 378618"/>
                    <a:gd name="connsiteX2" fmla="*/ 21431 w 366712"/>
                    <a:gd name="connsiteY2" fmla="*/ 300037 h 378618"/>
                    <a:gd name="connsiteX3" fmla="*/ 147637 w 366712"/>
                    <a:gd name="connsiteY3" fmla="*/ 378618 h 378618"/>
                    <a:gd name="connsiteX4" fmla="*/ 178593 w 366712"/>
                    <a:gd name="connsiteY4" fmla="*/ 185738 h 378618"/>
                    <a:gd name="connsiteX5" fmla="*/ 300037 w 366712"/>
                    <a:gd name="connsiteY5" fmla="*/ 335756 h 378618"/>
                    <a:gd name="connsiteX6" fmla="*/ 335756 w 366712"/>
                    <a:gd name="connsiteY6" fmla="*/ 297656 h 378618"/>
                    <a:gd name="connsiteX7" fmla="*/ 357187 w 366712"/>
                    <a:gd name="connsiteY7" fmla="*/ 252412 h 378618"/>
                    <a:gd name="connsiteX8" fmla="*/ 366712 w 366712"/>
                    <a:gd name="connsiteY8" fmla="*/ 169068 h 378618"/>
                    <a:gd name="connsiteX9" fmla="*/ 354806 w 366712"/>
                    <a:gd name="connsiteY9" fmla="*/ 47625 h 378618"/>
                    <a:gd name="connsiteX10" fmla="*/ 338137 w 366712"/>
                    <a:gd name="connsiteY10" fmla="*/ 0 h 378618"/>
                    <a:gd name="connsiteX11" fmla="*/ 238124 w 366712"/>
                    <a:gd name="connsiteY11" fmla="*/ 30956 h 378618"/>
                    <a:gd name="connsiteX0" fmla="*/ 238124 w 366712"/>
                    <a:gd name="connsiteY0" fmla="*/ 30956 h 378618"/>
                    <a:gd name="connsiteX1" fmla="*/ 0 w 366712"/>
                    <a:gd name="connsiteY1" fmla="*/ 147637 h 378618"/>
                    <a:gd name="connsiteX2" fmla="*/ 21431 w 366712"/>
                    <a:gd name="connsiteY2" fmla="*/ 300037 h 378618"/>
                    <a:gd name="connsiteX3" fmla="*/ 147637 w 366712"/>
                    <a:gd name="connsiteY3" fmla="*/ 378618 h 378618"/>
                    <a:gd name="connsiteX4" fmla="*/ 157162 w 366712"/>
                    <a:gd name="connsiteY4" fmla="*/ 330993 h 378618"/>
                    <a:gd name="connsiteX5" fmla="*/ 178593 w 366712"/>
                    <a:gd name="connsiteY5" fmla="*/ 185738 h 378618"/>
                    <a:gd name="connsiteX6" fmla="*/ 300037 w 366712"/>
                    <a:gd name="connsiteY6" fmla="*/ 335756 h 378618"/>
                    <a:gd name="connsiteX7" fmla="*/ 335756 w 366712"/>
                    <a:gd name="connsiteY7" fmla="*/ 297656 h 378618"/>
                    <a:gd name="connsiteX8" fmla="*/ 357187 w 366712"/>
                    <a:gd name="connsiteY8" fmla="*/ 252412 h 378618"/>
                    <a:gd name="connsiteX9" fmla="*/ 366712 w 366712"/>
                    <a:gd name="connsiteY9" fmla="*/ 169068 h 378618"/>
                    <a:gd name="connsiteX10" fmla="*/ 354806 w 366712"/>
                    <a:gd name="connsiteY10" fmla="*/ 47625 h 378618"/>
                    <a:gd name="connsiteX11" fmla="*/ 338137 w 366712"/>
                    <a:gd name="connsiteY11" fmla="*/ 0 h 378618"/>
                    <a:gd name="connsiteX12" fmla="*/ 238124 w 366712"/>
                    <a:gd name="connsiteY12" fmla="*/ 30956 h 378618"/>
                    <a:gd name="connsiteX0" fmla="*/ 238124 w 366712"/>
                    <a:gd name="connsiteY0" fmla="*/ 30956 h 378618"/>
                    <a:gd name="connsiteX1" fmla="*/ 0 w 366712"/>
                    <a:gd name="connsiteY1" fmla="*/ 147637 h 378618"/>
                    <a:gd name="connsiteX2" fmla="*/ 21431 w 366712"/>
                    <a:gd name="connsiteY2" fmla="*/ 300037 h 378618"/>
                    <a:gd name="connsiteX3" fmla="*/ 147637 w 366712"/>
                    <a:gd name="connsiteY3" fmla="*/ 378618 h 378618"/>
                    <a:gd name="connsiteX4" fmla="*/ 126205 w 366712"/>
                    <a:gd name="connsiteY4" fmla="*/ 192881 h 378618"/>
                    <a:gd name="connsiteX5" fmla="*/ 178593 w 366712"/>
                    <a:gd name="connsiteY5" fmla="*/ 185738 h 378618"/>
                    <a:gd name="connsiteX6" fmla="*/ 300037 w 366712"/>
                    <a:gd name="connsiteY6" fmla="*/ 335756 h 378618"/>
                    <a:gd name="connsiteX7" fmla="*/ 335756 w 366712"/>
                    <a:gd name="connsiteY7" fmla="*/ 297656 h 378618"/>
                    <a:gd name="connsiteX8" fmla="*/ 357187 w 366712"/>
                    <a:gd name="connsiteY8" fmla="*/ 252412 h 378618"/>
                    <a:gd name="connsiteX9" fmla="*/ 366712 w 366712"/>
                    <a:gd name="connsiteY9" fmla="*/ 169068 h 378618"/>
                    <a:gd name="connsiteX10" fmla="*/ 354806 w 366712"/>
                    <a:gd name="connsiteY10" fmla="*/ 47625 h 378618"/>
                    <a:gd name="connsiteX11" fmla="*/ 338137 w 366712"/>
                    <a:gd name="connsiteY11" fmla="*/ 0 h 378618"/>
                    <a:gd name="connsiteX12" fmla="*/ 238124 w 366712"/>
                    <a:gd name="connsiteY12" fmla="*/ 30956 h 378618"/>
                    <a:gd name="connsiteX0" fmla="*/ 238124 w 366712"/>
                    <a:gd name="connsiteY0" fmla="*/ 30956 h 335756"/>
                    <a:gd name="connsiteX1" fmla="*/ 0 w 366712"/>
                    <a:gd name="connsiteY1" fmla="*/ 147637 h 335756"/>
                    <a:gd name="connsiteX2" fmla="*/ 21431 w 366712"/>
                    <a:gd name="connsiteY2" fmla="*/ 300037 h 335756"/>
                    <a:gd name="connsiteX3" fmla="*/ 138112 w 366712"/>
                    <a:gd name="connsiteY3" fmla="*/ 240506 h 335756"/>
                    <a:gd name="connsiteX4" fmla="*/ 126205 w 366712"/>
                    <a:gd name="connsiteY4" fmla="*/ 192881 h 335756"/>
                    <a:gd name="connsiteX5" fmla="*/ 178593 w 366712"/>
                    <a:gd name="connsiteY5" fmla="*/ 185738 h 335756"/>
                    <a:gd name="connsiteX6" fmla="*/ 300037 w 366712"/>
                    <a:gd name="connsiteY6" fmla="*/ 335756 h 335756"/>
                    <a:gd name="connsiteX7" fmla="*/ 335756 w 366712"/>
                    <a:gd name="connsiteY7" fmla="*/ 297656 h 335756"/>
                    <a:gd name="connsiteX8" fmla="*/ 357187 w 366712"/>
                    <a:gd name="connsiteY8" fmla="*/ 252412 h 335756"/>
                    <a:gd name="connsiteX9" fmla="*/ 366712 w 366712"/>
                    <a:gd name="connsiteY9" fmla="*/ 169068 h 335756"/>
                    <a:gd name="connsiteX10" fmla="*/ 354806 w 366712"/>
                    <a:gd name="connsiteY10" fmla="*/ 47625 h 335756"/>
                    <a:gd name="connsiteX11" fmla="*/ 338137 w 366712"/>
                    <a:gd name="connsiteY11" fmla="*/ 0 h 335756"/>
                    <a:gd name="connsiteX12" fmla="*/ 238124 w 366712"/>
                    <a:gd name="connsiteY12" fmla="*/ 30956 h 335756"/>
                    <a:gd name="connsiteX0" fmla="*/ 238124 w 366712"/>
                    <a:gd name="connsiteY0" fmla="*/ 30956 h 335756"/>
                    <a:gd name="connsiteX1" fmla="*/ 0 w 366712"/>
                    <a:gd name="connsiteY1" fmla="*/ 147637 h 335756"/>
                    <a:gd name="connsiteX2" fmla="*/ 59531 w 366712"/>
                    <a:gd name="connsiteY2" fmla="*/ 235743 h 335756"/>
                    <a:gd name="connsiteX3" fmla="*/ 138112 w 366712"/>
                    <a:gd name="connsiteY3" fmla="*/ 240506 h 335756"/>
                    <a:gd name="connsiteX4" fmla="*/ 126205 w 366712"/>
                    <a:gd name="connsiteY4" fmla="*/ 192881 h 335756"/>
                    <a:gd name="connsiteX5" fmla="*/ 178593 w 366712"/>
                    <a:gd name="connsiteY5" fmla="*/ 185738 h 335756"/>
                    <a:gd name="connsiteX6" fmla="*/ 300037 w 366712"/>
                    <a:gd name="connsiteY6" fmla="*/ 335756 h 335756"/>
                    <a:gd name="connsiteX7" fmla="*/ 335756 w 366712"/>
                    <a:gd name="connsiteY7" fmla="*/ 297656 h 335756"/>
                    <a:gd name="connsiteX8" fmla="*/ 357187 w 366712"/>
                    <a:gd name="connsiteY8" fmla="*/ 252412 h 335756"/>
                    <a:gd name="connsiteX9" fmla="*/ 366712 w 366712"/>
                    <a:gd name="connsiteY9" fmla="*/ 169068 h 335756"/>
                    <a:gd name="connsiteX10" fmla="*/ 354806 w 366712"/>
                    <a:gd name="connsiteY10" fmla="*/ 47625 h 335756"/>
                    <a:gd name="connsiteX11" fmla="*/ 338137 w 366712"/>
                    <a:gd name="connsiteY11" fmla="*/ 0 h 335756"/>
                    <a:gd name="connsiteX12" fmla="*/ 238124 w 366712"/>
                    <a:gd name="connsiteY12" fmla="*/ 30956 h 335756"/>
                    <a:gd name="connsiteX0" fmla="*/ 238124 w 366712"/>
                    <a:gd name="connsiteY0" fmla="*/ 30956 h 335756"/>
                    <a:gd name="connsiteX1" fmla="*/ 0 w 366712"/>
                    <a:gd name="connsiteY1" fmla="*/ 147637 h 335756"/>
                    <a:gd name="connsiteX2" fmla="*/ 59531 w 366712"/>
                    <a:gd name="connsiteY2" fmla="*/ 235743 h 335756"/>
                    <a:gd name="connsiteX3" fmla="*/ 107156 w 366712"/>
                    <a:gd name="connsiteY3" fmla="*/ 240506 h 335756"/>
                    <a:gd name="connsiteX4" fmla="*/ 138112 w 366712"/>
                    <a:gd name="connsiteY4" fmla="*/ 240506 h 335756"/>
                    <a:gd name="connsiteX5" fmla="*/ 126205 w 366712"/>
                    <a:gd name="connsiteY5" fmla="*/ 192881 h 335756"/>
                    <a:gd name="connsiteX6" fmla="*/ 178593 w 366712"/>
                    <a:gd name="connsiteY6" fmla="*/ 185738 h 335756"/>
                    <a:gd name="connsiteX7" fmla="*/ 300037 w 366712"/>
                    <a:gd name="connsiteY7" fmla="*/ 335756 h 335756"/>
                    <a:gd name="connsiteX8" fmla="*/ 335756 w 366712"/>
                    <a:gd name="connsiteY8" fmla="*/ 297656 h 335756"/>
                    <a:gd name="connsiteX9" fmla="*/ 357187 w 366712"/>
                    <a:gd name="connsiteY9" fmla="*/ 252412 h 335756"/>
                    <a:gd name="connsiteX10" fmla="*/ 366712 w 366712"/>
                    <a:gd name="connsiteY10" fmla="*/ 169068 h 335756"/>
                    <a:gd name="connsiteX11" fmla="*/ 354806 w 366712"/>
                    <a:gd name="connsiteY11" fmla="*/ 47625 h 335756"/>
                    <a:gd name="connsiteX12" fmla="*/ 338137 w 366712"/>
                    <a:gd name="connsiteY12" fmla="*/ 0 h 335756"/>
                    <a:gd name="connsiteX13" fmla="*/ 238124 w 366712"/>
                    <a:gd name="connsiteY13" fmla="*/ 30956 h 335756"/>
                    <a:gd name="connsiteX0" fmla="*/ 238124 w 366712"/>
                    <a:gd name="connsiteY0" fmla="*/ 30956 h 335756"/>
                    <a:gd name="connsiteX1" fmla="*/ 0 w 366712"/>
                    <a:gd name="connsiteY1" fmla="*/ 147637 h 335756"/>
                    <a:gd name="connsiteX2" fmla="*/ 59531 w 366712"/>
                    <a:gd name="connsiteY2" fmla="*/ 235743 h 335756"/>
                    <a:gd name="connsiteX3" fmla="*/ 97631 w 366712"/>
                    <a:gd name="connsiteY3" fmla="*/ 252412 h 335756"/>
                    <a:gd name="connsiteX4" fmla="*/ 138112 w 366712"/>
                    <a:gd name="connsiteY4" fmla="*/ 240506 h 335756"/>
                    <a:gd name="connsiteX5" fmla="*/ 126205 w 366712"/>
                    <a:gd name="connsiteY5" fmla="*/ 192881 h 335756"/>
                    <a:gd name="connsiteX6" fmla="*/ 178593 w 366712"/>
                    <a:gd name="connsiteY6" fmla="*/ 185738 h 335756"/>
                    <a:gd name="connsiteX7" fmla="*/ 300037 w 366712"/>
                    <a:gd name="connsiteY7" fmla="*/ 335756 h 335756"/>
                    <a:gd name="connsiteX8" fmla="*/ 335756 w 366712"/>
                    <a:gd name="connsiteY8" fmla="*/ 297656 h 335756"/>
                    <a:gd name="connsiteX9" fmla="*/ 357187 w 366712"/>
                    <a:gd name="connsiteY9" fmla="*/ 252412 h 335756"/>
                    <a:gd name="connsiteX10" fmla="*/ 366712 w 366712"/>
                    <a:gd name="connsiteY10" fmla="*/ 169068 h 335756"/>
                    <a:gd name="connsiteX11" fmla="*/ 354806 w 366712"/>
                    <a:gd name="connsiteY11" fmla="*/ 47625 h 335756"/>
                    <a:gd name="connsiteX12" fmla="*/ 338137 w 366712"/>
                    <a:gd name="connsiteY12" fmla="*/ 0 h 335756"/>
                    <a:gd name="connsiteX13" fmla="*/ 238124 w 366712"/>
                    <a:gd name="connsiteY13" fmla="*/ 30956 h 335756"/>
                    <a:gd name="connsiteX0" fmla="*/ 238124 w 366712"/>
                    <a:gd name="connsiteY0" fmla="*/ 30956 h 297656"/>
                    <a:gd name="connsiteX1" fmla="*/ 0 w 366712"/>
                    <a:gd name="connsiteY1" fmla="*/ 147637 h 297656"/>
                    <a:gd name="connsiteX2" fmla="*/ 59531 w 366712"/>
                    <a:gd name="connsiteY2" fmla="*/ 235743 h 297656"/>
                    <a:gd name="connsiteX3" fmla="*/ 97631 w 366712"/>
                    <a:gd name="connsiteY3" fmla="*/ 252412 h 297656"/>
                    <a:gd name="connsiteX4" fmla="*/ 138112 w 366712"/>
                    <a:gd name="connsiteY4" fmla="*/ 240506 h 297656"/>
                    <a:gd name="connsiteX5" fmla="*/ 126205 w 366712"/>
                    <a:gd name="connsiteY5" fmla="*/ 192881 h 297656"/>
                    <a:gd name="connsiteX6" fmla="*/ 178593 w 366712"/>
                    <a:gd name="connsiteY6" fmla="*/ 185738 h 297656"/>
                    <a:gd name="connsiteX7" fmla="*/ 219075 w 366712"/>
                    <a:gd name="connsiteY7" fmla="*/ 152400 h 297656"/>
                    <a:gd name="connsiteX8" fmla="*/ 335756 w 366712"/>
                    <a:gd name="connsiteY8" fmla="*/ 297656 h 297656"/>
                    <a:gd name="connsiteX9" fmla="*/ 357187 w 366712"/>
                    <a:gd name="connsiteY9" fmla="*/ 252412 h 297656"/>
                    <a:gd name="connsiteX10" fmla="*/ 366712 w 366712"/>
                    <a:gd name="connsiteY10" fmla="*/ 169068 h 297656"/>
                    <a:gd name="connsiteX11" fmla="*/ 354806 w 366712"/>
                    <a:gd name="connsiteY11" fmla="*/ 47625 h 297656"/>
                    <a:gd name="connsiteX12" fmla="*/ 338137 w 366712"/>
                    <a:gd name="connsiteY12" fmla="*/ 0 h 297656"/>
                    <a:gd name="connsiteX13" fmla="*/ 238124 w 366712"/>
                    <a:gd name="connsiteY13" fmla="*/ 30956 h 297656"/>
                    <a:gd name="connsiteX0" fmla="*/ 238124 w 366712"/>
                    <a:gd name="connsiteY0" fmla="*/ 30956 h 252412"/>
                    <a:gd name="connsiteX1" fmla="*/ 0 w 366712"/>
                    <a:gd name="connsiteY1" fmla="*/ 147637 h 252412"/>
                    <a:gd name="connsiteX2" fmla="*/ 59531 w 366712"/>
                    <a:gd name="connsiteY2" fmla="*/ 235743 h 252412"/>
                    <a:gd name="connsiteX3" fmla="*/ 97631 w 366712"/>
                    <a:gd name="connsiteY3" fmla="*/ 252412 h 252412"/>
                    <a:gd name="connsiteX4" fmla="*/ 138112 w 366712"/>
                    <a:gd name="connsiteY4" fmla="*/ 240506 h 252412"/>
                    <a:gd name="connsiteX5" fmla="*/ 126205 w 366712"/>
                    <a:gd name="connsiteY5" fmla="*/ 192881 h 252412"/>
                    <a:gd name="connsiteX6" fmla="*/ 178593 w 366712"/>
                    <a:gd name="connsiteY6" fmla="*/ 185738 h 252412"/>
                    <a:gd name="connsiteX7" fmla="*/ 219075 w 366712"/>
                    <a:gd name="connsiteY7" fmla="*/ 152400 h 252412"/>
                    <a:gd name="connsiteX8" fmla="*/ 230981 w 366712"/>
                    <a:gd name="connsiteY8" fmla="*/ 107156 h 252412"/>
                    <a:gd name="connsiteX9" fmla="*/ 357187 w 366712"/>
                    <a:gd name="connsiteY9" fmla="*/ 252412 h 252412"/>
                    <a:gd name="connsiteX10" fmla="*/ 366712 w 366712"/>
                    <a:gd name="connsiteY10" fmla="*/ 169068 h 252412"/>
                    <a:gd name="connsiteX11" fmla="*/ 354806 w 366712"/>
                    <a:gd name="connsiteY11" fmla="*/ 47625 h 252412"/>
                    <a:gd name="connsiteX12" fmla="*/ 338137 w 366712"/>
                    <a:gd name="connsiteY12" fmla="*/ 0 h 252412"/>
                    <a:gd name="connsiteX13" fmla="*/ 238124 w 366712"/>
                    <a:gd name="connsiteY13" fmla="*/ 30956 h 252412"/>
                    <a:gd name="connsiteX0" fmla="*/ 238124 w 366712"/>
                    <a:gd name="connsiteY0" fmla="*/ 30956 h 252412"/>
                    <a:gd name="connsiteX1" fmla="*/ 0 w 366712"/>
                    <a:gd name="connsiteY1" fmla="*/ 147637 h 252412"/>
                    <a:gd name="connsiteX2" fmla="*/ 59531 w 366712"/>
                    <a:gd name="connsiteY2" fmla="*/ 235743 h 252412"/>
                    <a:gd name="connsiteX3" fmla="*/ 97631 w 366712"/>
                    <a:gd name="connsiteY3" fmla="*/ 252412 h 252412"/>
                    <a:gd name="connsiteX4" fmla="*/ 138112 w 366712"/>
                    <a:gd name="connsiteY4" fmla="*/ 240506 h 252412"/>
                    <a:gd name="connsiteX5" fmla="*/ 126205 w 366712"/>
                    <a:gd name="connsiteY5" fmla="*/ 192881 h 252412"/>
                    <a:gd name="connsiteX6" fmla="*/ 178593 w 366712"/>
                    <a:gd name="connsiteY6" fmla="*/ 185738 h 252412"/>
                    <a:gd name="connsiteX7" fmla="*/ 219075 w 366712"/>
                    <a:gd name="connsiteY7" fmla="*/ 152400 h 252412"/>
                    <a:gd name="connsiteX8" fmla="*/ 230981 w 366712"/>
                    <a:gd name="connsiteY8" fmla="*/ 107156 h 252412"/>
                    <a:gd name="connsiteX9" fmla="*/ 242887 w 366712"/>
                    <a:gd name="connsiteY9" fmla="*/ 80962 h 252412"/>
                    <a:gd name="connsiteX10" fmla="*/ 366712 w 366712"/>
                    <a:gd name="connsiteY10" fmla="*/ 169068 h 252412"/>
                    <a:gd name="connsiteX11" fmla="*/ 354806 w 366712"/>
                    <a:gd name="connsiteY11" fmla="*/ 47625 h 252412"/>
                    <a:gd name="connsiteX12" fmla="*/ 338137 w 366712"/>
                    <a:gd name="connsiteY12" fmla="*/ 0 h 252412"/>
                    <a:gd name="connsiteX13" fmla="*/ 238124 w 366712"/>
                    <a:gd name="connsiteY13" fmla="*/ 30956 h 252412"/>
                    <a:gd name="connsiteX0" fmla="*/ 238124 w 354806"/>
                    <a:gd name="connsiteY0" fmla="*/ 30956 h 252412"/>
                    <a:gd name="connsiteX1" fmla="*/ 0 w 354806"/>
                    <a:gd name="connsiteY1" fmla="*/ 147637 h 252412"/>
                    <a:gd name="connsiteX2" fmla="*/ 59531 w 354806"/>
                    <a:gd name="connsiteY2" fmla="*/ 235743 h 252412"/>
                    <a:gd name="connsiteX3" fmla="*/ 97631 w 354806"/>
                    <a:gd name="connsiteY3" fmla="*/ 252412 h 252412"/>
                    <a:gd name="connsiteX4" fmla="*/ 138112 w 354806"/>
                    <a:gd name="connsiteY4" fmla="*/ 240506 h 252412"/>
                    <a:gd name="connsiteX5" fmla="*/ 126205 w 354806"/>
                    <a:gd name="connsiteY5" fmla="*/ 192881 h 252412"/>
                    <a:gd name="connsiteX6" fmla="*/ 178593 w 354806"/>
                    <a:gd name="connsiteY6" fmla="*/ 185738 h 252412"/>
                    <a:gd name="connsiteX7" fmla="*/ 219075 w 354806"/>
                    <a:gd name="connsiteY7" fmla="*/ 152400 h 252412"/>
                    <a:gd name="connsiteX8" fmla="*/ 230981 w 354806"/>
                    <a:gd name="connsiteY8" fmla="*/ 107156 h 252412"/>
                    <a:gd name="connsiteX9" fmla="*/ 242887 w 354806"/>
                    <a:gd name="connsiteY9" fmla="*/ 80962 h 252412"/>
                    <a:gd name="connsiteX10" fmla="*/ 233362 w 354806"/>
                    <a:gd name="connsiteY10" fmla="*/ 57149 h 252412"/>
                    <a:gd name="connsiteX11" fmla="*/ 354806 w 354806"/>
                    <a:gd name="connsiteY11" fmla="*/ 47625 h 252412"/>
                    <a:gd name="connsiteX12" fmla="*/ 338137 w 354806"/>
                    <a:gd name="connsiteY12" fmla="*/ 0 h 252412"/>
                    <a:gd name="connsiteX13" fmla="*/ 238124 w 354806"/>
                    <a:gd name="connsiteY13" fmla="*/ 30956 h 252412"/>
                    <a:gd name="connsiteX0" fmla="*/ 238124 w 338137"/>
                    <a:gd name="connsiteY0" fmla="*/ 30956 h 252412"/>
                    <a:gd name="connsiteX1" fmla="*/ 0 w 338137"/>
                    <a:gd name="connsiteY1" fmla="*/ 147637 h 252412"/>
                    <a:gd name="connsiteX2" fmla="*/ 59531 w 338137"/>
                    <a:gd name="connsiteY2" fmla="*/ 235743 h 252412"/>
                    <a:gd name="connsiteX3" fmla="*/ 97631 w 338137"/>
                    <a:gd name="connsiteY3" fmla="*/ 252412 h 252412"/>
                    <a:gd name="connsiteX4" fmla="*/ 138112 w 338137"/>
                    <a:gd name="connsiteY4" fmla="*/ 240506 h 252412"/>
                    <a:gd name="connsiteX5" fmla="*/ 126205 w 338137"/>
                    <a:gd name="connsiteY5" fmla="*/ 192881 h 252412"/>
                    <a:gd name="connsiteX6" fmla="*/ 178593 w 338137"/>
                    <a:gd name="connsiteY6" fmla="*/ 185738 h 252412"/>
                    <a:gd name="connsiteX7" fmla="*/ 219075 w 338137"/>
                    <a:gd name="connsiteY7" fmla="*/ 152400 h 252412"/>
                    <a:gd name="connsiteX8" fmla="*/ 230981 w 338137"/>
                    <a:gd name="connsiteY8" fmla="*/ 107156 h 252412"/>
                    <a:gd name="connsiteX9" fmla="*/ 242887 w 338137"/>
                    <a:gd name="connsiteY9" fmla="*/ 80962 h 252412"/>
                    <a:gd name="connsiteX10" fmla="*/ 233362 w 338137"/>
                    <a:gd name="connsiteY10" fmla="*/ 57149 h 252412"/>
                    <a:gd name="connsiteX11" fmla="*/ 338137 w 338137"/>
                    <a:gd name="connsiteY11" fmla="*/ 0 h 252412"/>
                    <a:gd name="connsiteX12" fmla="*/ 238124 w 338137"/>
                    <a:gd name="connsiteY12" fmla="*/ 30956 h 252412"/>
                    <a:gd name="connsiteX0" fmla="*/ 238124 w 242887"/>
                    <a:gd name="connsiteY0" fmla="*/ 0 h 221456"/>
                    <a:gd name="connsiteX1" fmla="*/ 0 w 242887"/>
                    <a:gd name="connsiteY1" fmla="*/ 116681 h 221456"/>
                    <a:gd name="connsiteX2" fmla="*/ 59531 w 242887"/>
                    <a:gd name="connsiteY2" fmla="*/ 204787 h 221456"/>
                    <a:gd name="connsiteX3" fmla="*/ 97631 w 242887"/>
                    <a:gd name="connsiteY3" fmla="*/ 221456 h 221456"/>
                    <a:gd name="connsiteX4" fmla="*/ 138112 w 242887"/>
                    <a:gd name="connsiteY4" fmla="*/ 209550 h 221456"/>
                    <a:gd name="connsiteX5" fmla="*/ 126205 w 242887"/>
                    <a:gd name="connsiteY5" fmla="*/ 161925 h 221456"/>
                    <a:gd name="connsiteX6" fmla="*/ 178593 w 242887"/>
                    <a:gd name="connsiteY6" fmla="*/ 154782 h 221456"/>
                    <a:gd name="connsiteX7" fmla="*/ 219075 w 242887"/>
                    <a:gd name="connsiteY7" fmla="*/ 121444 h 221456"/>
                    <a:gd name="connsiteX8" fmla="*/ 230981 w 242887"/>
                    <a:gd name="connsiteY8" fmla="*/ 76200 h 221456"/>
                    <a:gd name="connsiteX9" fmla="*/ 242887 w 242887"/>
                    <a:gd name="connsiteY9" fmla="*/ 50006 h 221456"/>
                    <a:gd name="connsiteX10" fmla="*/ 233362 w 242887"/>
                    <a:gd name="connsiteY10" fmla="*/ 26193 h 221456"/>
                    <a:gd name="connsiteX11" fmla="*/ 238124 w 242887"/>
                    <a:gd name="connsiteY11" fmla="*/ 0 h 221456"/>
                    <a:gd name="connsiteX0" fmla="*/ 238124 w 242887"/>
                    <a:gd name="connsiteY0" fmla="*/ 0 h 221456"/>
                    <a:gd name="connsiteX1" fmla="*/ 88107 w 242887"/>
                    <a:gd name="connsiteY1" fmla="*/ 76200 h 221456"/>
                    <a:gd name="connsiteX2" fmla="*/ 0 w 242887"/>
                    <a:gd name="connsiteY2" fmla="*/ 116681 h 221456"/>
                    <a:gd name="connsiteX3" fmla="*/ 59531 w 242887"/>
                    <a:gd name="connsiteY3" fmla="*/ 204787 h 221456"/>
                    <a:gd name="connsiteX4" fmla="*/ 97631 w 242887"/>
                    <a:gd name="connsiteY4" fmla="*/ 221456 h 221456"/>
                    <a:gd name="connsiteX5" fmla="*/ 138112 w 242887"/>
                    <a:gd name="connsiteY5" fmla="*/ 209550 h 221456"/>
                    <a:gd name="connsiteX6" fmla="*/ 126205 w 242887"/>
                    <a:gd name="connsiteY6" fmla="*/ 161925 h 221456"/>
                    <a:gd name="connsiteX7" fmla="*/ 178593 w 242887"/>
                    <a:gd name="connsiteY7" fmla="*/ 154782 h 221456"/>
                    <a:gd name="connsiteX8" fmla="*/ 219075 w 242887"/>
                    <a:gd name="connsiteY8" fmla="*/ 121444 h 221456"/>
                    <a:gd name="connsiteX9" fmla="*/ 230981 w 242887"/>
                    <a:gd name="connsiteY9" fmla="*/ 76200 h 221456"/>
                    <a:gd name="connsiteX10" fmla="*/ 242887 w 242887"/>
                    <a:gd name="connsiteY10" fmla="*/ 50006 h 221456"/>
                    <a:gd name="connsiteX11" fmla="*/ 233362 w 242887"/>
                    <a:gd name="connsiteY11" fmla="*/ 26193 h 221456"/>
                    <a:gd name="connsiteX12" fmla="*/ 238124 w 242887"/>
                    <a:gd name="connsiteY12" fmla="*/ 0 h 221456"/>
                    <a:gd name="connsiteX0" fmla="*/ 238124 w 242887"/>
                    <a:gd name="connsiteY0" fmla="*/ 0 h 221456"/>
                    <a:gd name="connsiteX1" fmla="*/ 211932 w 242887"/>
                    <a:gd name="connsiteY1" fmla="*/ 90488 h 221456"/>
                    <a:gd name="connsiteX2" fmla="*/ 0 w 242887"/>
                    <a:gd name="connsiteY2" fmla="*/ 116681 h 221456"/>
                    <a:gd name="connsiteX3" fmla="*/ 59531 w 242887"/>
                    <a:gd name="connsiteY3" fmla="*/ 204787 h 221456"/>
                    <a:gd name="connsiteX4" fmla="*/ 97631 w 242887"/>
                    <a:gd name="connsiteY4" fmla="*/ 221456 h 221456"/>
                    <a:gd name="connsiteX5" fmla="*/ 138112 w 242887"/>
                    <a:gd name="connsiteY5" fmla="*/ 209550 h 221456"/>
                    <a:gd name="connsiteX6" fmla="*/ 126205 w 242887"/>
                    <a:gd name="connsiteY6" fmla="*/ 161925 h 221456"/>
                    <a:gd name="connsiteX7" fmla="*/ 178593 w 242887"/>
                    <a:gd name="connsiteY7" fmla="*/ 154782 h 221456"/>
                    <a:gd name="connsiteX8" fmla="*/ 219075 w 242887"/>
                    <a:gd name="connsiteY8" fmla="*/ 121444 h 221456"/>
                    <a:gd name="connsiteX9" fmla="*/ 230981 w 242887"/>
                    <a:gd name="connsiteY9" fmla="*/ 76200 h 221456"/>
                    <a:gd name="connsiteX10" fmla="*/ 242887 w 242887"/>
                    <a:gd name="connsiteY10" fmla="*/ 50006 h 221456"/>
                    <a:gd name="connsiteX11" fmla="*/ 233362 w 242887"/>
                    <a:gd name="connsiteY11" fmla="*/ 26193 h 221456"/>
                    <a:gd name="connsiteX12" fmla="*/ 238124 w 242887"/>
                    <a:gd name="connsiteY12" fmla="*/ 0 h 221456"/>
                    <a:gd name="connsiteX0" fmla="*/ 238124 w 242887"/>
                    <a:gd name="connsiteY0" fmla="*/ 0 h 221456"/>
                    <a:gd name="connsiteX1" fmla="*/ 202407 w 242887"/>
                    <a:gd name="connsiteY1" fmla="*/ 85726 h 221456"/>
                    <a:gd name="connsiteX2" fmla="*/ 0 w 242887"/>
                    <a:gd name="connsiteY2" fmla="*/ 116681 h 221456"/>
                    <a:gd name="connsiteX3" fmla="*/ 59531 w 242887"/>
                    <a:gd name="connsiteY3" fmla="*/ 204787 h 221456"/>
                    <a:gd name="connsiteX4" fmla="*/ 97631 w 242887"/>
                    <a:gd name="connsiteY4" fmla="*/ 221456 h 221456"/>
                    <a:gd name="connsiteX5" fmla="*/ 138112 w 242887"/>
                    <a:gd name="connsiteY5" fmla="*/ 209550 h 221456"/>
                    <a:gd name="connsiteX6" fmla="*/ 126205 w 242887"/>
                    <a:gd name="connsiteY6" fmla="*/ 161925 h 221456"/>
                    <a:gd name="connsiteX7" fmla="*/ 178593 w 242887"/>
                    <a:gd name="connsiteY7" fmla="*/ 154782 h 221456"/>
                    <a:gd name="connsiteX8" fmla="*/ 219075 w 242887"/>
                    <a:gd name="connsiteY8" fmla="*/ 121444 h 221456"/>
                    <a:gd name="connsiteX9" fmla="*/ 230981 w 242887"/>
                    <a:gd name="connsiteY9" fmla="*/ 76200 h 221456"/>
                    <a:gd name="connsiteX10" fmla="*/ 242887 w 242887"/>
                    <a:gd name="connsiteY10" fmla="*/ 50006 h 221456"/>
                    <a:gd name="connsiteX11" fmla="*/ 233362 w 242887"/>
                    <a:gd name="connsiteY11" fmla="*/ 26193 h 221456"/>
                    <a:gd name="connsiteX12" fmla="*/ 238124 w 242887"/>
                    <a:gd name="connsiteY12" fmla="*/ 0 h 221456"/>
                    <a:gd name="connsiteX0" fmla="*/ 238124 w 242887"/>
                    <a:gd name="connsiteY0" fmla="*/ 0 h 221456"/>
                    <a:gd name="connsiteX1" fmla="*/ 202407 w 242887"/>
                    <a:gd name="connsiteY1" fmla="*/ 85726 h 221456"/>
                    <a:gd name="connsiteX2" fmla="*/ 104776 w 242887"/>
                    <a:gd name="connsiteY2" fmla="*/ 97631 h 221456"/>
                    <a:gd name="connsiteX3" fmla="*/ 0 w 242887"/>
                    <a:gd name="connsiteY3" fmla="*/ 116681 h 221456"/>
                    <a:gd name="connsiteX4" fmla="*/ 59531 w 242887"/>
                    <a:gd name="connsiteY4" fmla="*/ 204787 h 221456"/>
                    <a:gd name="connsiteX5" fmla="*/ 97631 w 242887"/>
                    <a:gd name="connsiteY5" fmla="*/ 221456 h 221456"/>
                    <a:gd name="connsiteX6" fmla="*/ 138112 w 242887"/>
                    <a:gd name="connsiteY6" fmla="*/ 209550 h 221456"/>
                    <a:gd name="connsiteX7" fmla="*/ 126205 w 242887"/>
                    <a:gd name="connsiteY7" fmla="*/ 161925 h 221456"/>
                    <a:gd name="connsiteX8" fmla="*/ 178593 w 242887"/>
                    <a:gd name="connsiteY8" fmla="*/ 154782 h 221456"/>
                    <a:gd name="connsiteX9" fmla="*/ 219075 w 242887"/>
                    <a:gd name="connsiteY9" fmla="*/ 121444 h 221456"/>
                    <a:gd name="connsiteX10" fmla="*/ 230981 w 242887"/>
                    <a:gd name="connsiteY10" fmla="*/ 76200 h 221456"/>
                    <a:gd name="connsiteX11" fmla="*/ 242887 w 242887"/>
                    <a:gd name="connsiteY11" fmla="*/ 50006 h 221456"/>
                    <a:gd name="connsiteX12" fmla="*/ 233362 w 242887"/>
                    <a:gd name="connsiteY12" fmla="*/ 26193 h 221456"/>
                    <a:gd name="connsiteX13" fmla="*/ 238124 w 242887"/>
                    <a:gd name="connsiteY13" fmla="*/ 0 h 221456"/>
                    <a:gd name="connsiteX0" fmla="*/ 238124 w 242887"/>
                    <a:gd name="connsiteY0" fmla="*/ 0 h 221456"/>
                    <a:gd name="connsiteX1" fmla="*/ 202407 w 242887"/>
                    <a:gd name="connsiteY1" fmla="*/ 85726 h 221456"/>
                    <a:gd name="connsiteX2" fmla="*/ 130969 w 242887"/>
                    <a:gd name="connsiteY2" fmla="*/ 133350 h 221456"/>
                    <a:gd name="connsiteX3" fmla="*/ 0 w 242887"/>
                    <a:gd name="connsiteY3" fmla="*/ 116681 h 221456"/>
                    <a:gd name="connsiteX4" fmla="*/ 59531 w 242887"/>
                    <a:gd name="connsiteY4" fmla="*/ 204787 h 221456"/>
                    <a:gd name="connsiteX5" fmla="*/ 97631 w 242887"/>
                    <a:gd name="connsiteY5" fmla="*/ 221456 h 221456"/>
                    <a:gd name="connsiteX6" fmla="*/ 138112 w 242887"/>
                    <a:gd name="connsiteY6" fmla="*/ 209550 h 221456"/>
                    <a:gd name="connsiteX7" fmla="*/ 126205 w 242887"/>
                    <a:gd name="connsiteY7" fmla="*/ 161925 h 221456"/>
                    <a:gd name="connsiteX8" fmla="*/ 178593 w 242887"/>
                    <a:gd name="connsiteY8" fmla="*/ 154782 h 221456"/>
                    <a:gd name="connsiteX9" fmla="*/ 219075 w 242887"/>
                    <a:gd name="connsiteY9" fmla="*/ 121444 h 221456"/>
                    <a:gd name="connsiteX10" fmla="*/ 230981 w 242887"/>
                    <a:gd name="connsiteY10" fmla="*/ 76200 h 221456"/>
                    <a:gd name="connsiteX11" fmla="*/ 242887 w 242887"/>
                    <a:gd name="connsiteY11" fmla="*/ 50006 h 221456"/>
                    <a:gd name="connsiteX12" fmla="*/ 233362 w 242887"/>
                    <a:gd name="connsiteY12" fmla="*/ 26193 h 221456"/>
                    <a:gd name="connsiteX13" fmla="*/ 238124 w 242887"/>
                    <a:gd name="connsiteY13" fmla="*/ 0 h 221456"/>
                    <a:gd name="connsiteX0" fmla="*/ 178593 w 183356"/>
                    <a:gd name="connsiteY0" fmla="*/ 0 h 221456"/>
                    <a:gd name="connsiteX1" fmla="*/ 142876 w 183356"/>
                    <a:gd name="connsiteY1" fmla="*/ 85726 h 221456"/>
                    <a:gd name="connsiteX2" fmla="*/ 71438 w 183356"/>
                    <a:gd name="connsiteY2" fmla="*/ 133350 h 221456"/>
                    <a:gd name="connsiteX3" fmla="*/ 19050 w 183356"/>
                    <a:gd name="connsiteY3" fmla="*/ 173831 h 221456"/>
                    <a:gd name="connsiteX4" fmla="*/ 0 w 183356"/>
                    <a:gd name="connsiteY4" fmla="*/ 204787 h 221456"/>
                    <a:gd name="connsiteX5" fmla="*/ 38100 w 183356"/>
                    <a:gd name="connsiteY5" fmla="*/ 221456 h 221456"/>
                    <a:gd name="connsiteX6" fmla="*/ 78581 w 183356"/>
                    <a:gd name="connsiteY6" fmla="*/ 209550 h 221456"/>
                    <a:gd name="connsiteX7" fmla="*/ 66674 w 183356"/>
                    <a:gd name="connsiteY7" fmla="*/ 161925 h 221456"/>
                    <a:gd name="connsiteX8" fmla="*/ 119062 w 183356"/>
                    <a:gd name="connsiteY8" fmla="*/ 154782 h 221456"/>
                    <a:gd name="connsiteX9" fmla="*/ 159544 w 183356"/>
                    <a:gd name="connsiteY9" fmla="*/ 121444 h 221456"/>
                    <a:gd name="connsiteX10" fmla="*/ 171450 w 183356"/>
                    <a:gd name="connsiteY10" fmla="*/ 76200 h 221456"/>
                    <a:gd name="connsiteX11" fmla="*/ 183356 w 183356"/>
                    <a:gd name="connsiteY11" fmla="*/ 50006 h 221456"/>
                    <a:gd name="connsiteX12" fmla="*/ 173831 w 183356"/>
                    <a:gd name="connsiteY12" fmla="*/ 26193 h 221456"/>
                    <a:gd name="connsiteX13" fmla="*/ 178593 w 183356"/>
                    <a:gd name="connsiteY13" fmla="*/ 0 h 221456"/>
                    <a:gd name="connsiteX0" fmla="*/ 0 w 242888"/>
                    <a:gd name="connsiteY0" fmla="*/ 0 h 461962"/>
                    <a:gd name="connsiteX1" fmla="*/ 202408 w 242888"/>
                    <a:gd name="connsiteY1" fmla="*/ 326232 h 461962"/>
                    <a:gd name="connsiteX2" fmla="*/ 130970 w 242888"/>
                    <a:gd name="connsiteY2" fmla="*/ 373856 h 461962"/>
                    <a:gd name="connsiteX3" fmla="*/ 78582 w 242888"/>
                    <a:gd name="connsiteY3" fmla="*/ 414337 h 461962"/>
                    <a:gd name="connsiteX4" fmla="*/ 59532 w 242888"/>
                    <a:gd name="connsiteY4" fmla="*/ 445293 h 461962"/>
                    <a:gd name="connsiteX5" fmla="*/ 97632 w 242888"/>
                    <a:gd name="connsiteY5" fmla="*/ 461962 h 461962"/>
                    <a:gd name="connsiteX6" fmla="*/ 138113 w 242888"/>
                    <a:gd name="connsiteY6" fmla="*/ 450056 h 461962"/>
                    <a:gd name="connsiteX7" fmla="*/ 126206 w 242888"/>
                    <a:gd name="connsiteY7" fmla="*/ 402431 h 461962"/>
                    <a:gd name="connsiteX8" fmla="*/ 178594 w 242888"/>
                    <a:gd name="connsiteY8" fmla="*/ 395288 h 461962"/>
                    <a:gd name="connsiteX9" fmla="*/ 219076 w 242888"/>
                    <a:gd name="connsiteY9" fmla="*/ 361950 h 461962"/>
                    <a:gd name="connsiteX10" fmla="*/ 230982 w 242888"/>
                    <a:gd name="connsiteY10" fmla="*/ 316706 h 461962"/>
                    <a:gd name="connsiteX11" fmla="*/ 242888 w 242888"/>
                    <a:gd name="connsiteY11" fmla="*/ 290512 h 461962"/>
                    <a:gd name="connsiteX12" fmla="*/ 233363 w 242888"/>
                    <a:gd name="connsiteY12" fmla="*/ 266699 h 461962"/>
                    <a:gd name="connsiteX13" fmla="*/ 0 w 242888"/>
                    <a:gd name="connsiteY13" fmla="*/ 0 h 461962"/>
                    <a:gd name="connsiteX0" fmla="*/ 9523 w 252411"/>
                    <a:gd name="connsiteY0" fmla="*/ 0 h 461962"/>
                    <a:gd name="connsiteX1" fmla="*/ 0 w 252411"/>
                    <a:gd name="connsiteY1" fmla="*/ 80963 h 461962"/>
                    <a:gd name="connsiteX2" fmla="*/ 140493 w 252411"/>
                    <a:gd name="connsiteY2" fmla="*/ 373856 h 461962"/>
                    <a:gd name="connsiteX3" fmla="*/ 88105 w 252411"/>
                    <a:gd name="connsiteY3" fmla="*/ 414337 h 461962"/>
                    <a:gd name="connsiteX4" fmla="*/ 69055 w 252411"/>
                    <a:gd name="connsiteY4" fmla="*/ 445293 h 461962"/>
                    <a:gd name="connsiteX5" fmla="*/ 107155 w 252411"/>
                    <a:gd name="connsiteY5" fmla="*/ 461962 h 461962"/>
                    <a:gd name="connsiteX6" fmla="*/ 147636 w 252411"/>
                    <a:gd name="connsiteY6" fmla="*/ 450056 h 461962"/>
                    <a:gd name="connsiteX7" fmla="*/ 135729 w 252411"/>
                    <a:gd name="connsiteY7" fmla="*/ 402431 h 461962"/>
                    <a:gd name="connsiteX8" fmla="*/ 188117 w 252411"/>
                    <a:gd name="connsiteY8" fmla="*/ 395288 h 461962"/>
                    <a:gd name="connsiteX9" fmla="*/ 228599 w 252411"/>
                    <a:gd name="connsiteY9" fmla="*/ 361950 h 461962"/>
                    <a:gd name="connsiteX10" fmla="*/ 240505 w 252411"/>
                    <a:gd name="connsiteY10" fmla="*/ 316706 h 461962"/>
                    <a:gd name="connsiteX11" fmla="*/ 252411 w 252411"/>
                    <a:gd name="connsiteY11" fmla="*/ 290512 h 461962"/>
                    <a:gd name="connsiteX12" fmla="*/ 242886 w 252411"/>
                    <a:gd name="connsiteY12" fmla="*/ 266699 h 461962"/>
                    <a:gd name="connsiteX13" fmla="*/ 9523 w 252411"/>
                    <a:gd name="connsiteY13" fmla="*/ 0 h 461962"/>
                    <a:gd name="connsiteX0" fmla="*/ 33337 w 276225"/>
                    <a:gd name="connsiteY0" fmla="*/ 0 h 461962"/>
                    <a:gd name="connsiteX1" fmla="*/ 23814 w 276225"/>
                    <a:gd name="connsiteY1" fmla="*/ 80963 h 461962"/>
                    <a:gd name="connsiteX2" fmla="*/ 0 w 276225"/>
                    <a:gd name="connsiteY2" fmla="*/ 97631 h 461962"/>
                    <a:gd name="connsiteX3" fmla="*/ 111919 w 276225"/>
                    <a:gd name="connsiteY3" fmla="*/ 414337 h 461962"/>
                    <a:gd name="connsiteX4" fmla="*/ 92869 w 276225"/>
                    <a:gd name="connsiteY4" fmla="*/ 445293 h 461962"/>
                    <a:gd name="connsiteX5" fmla="*/ 130969 w 276225"/>
                    <a:gd name="connsiteY5" fmla="*/ 461962 h 461962"/>
                    <a:gd name="connsiteX6" fmla="*/ 171450 w 276225"/>
                    <a:gd name="connsiteY6" fmla="*/ 450056 h 461962"/>
                    <a:gd name="connsiteX7" fmla="*/ 159543 w 276225"/>
                    <a:gd name="connsiteY7" fmla="*/ 402431 h 461962"/>
                    <a:gd name="connsiteX8" fmla="*/ 211931 w 276225"/>
                    <a:gd name="connsiteY8" fmla="*/ 395288 h 461962"/>
                    <a:gd name="connsiteX9" fmla="*/ 252413 w 276225"/>
                    <a:gd name="connsiteY9" fmla="*/ 361950 h 461962"/>
                    <a:gd name="connsiteX10" fmla="*/ 264319 w 276225"/>
                    <a:gd name="connsiteY10" fmla="*/ 316706 h 461962"/>
                    <a:gd name="connsiteX11" fmla="*/ 276225 w 276225"/>
                    <a:gd name="connsiteY11" fmla="*/ 290512 h 461962"/>
                    <a:gd name="connsiteX12" fmla="*/ 266700 w 276225"/>
                    <a:gd name="connsiteY12" fmla="*/ 266699 h 461962"/>
                    <a:gd name="connsiteX13" fmla="*/ 33337 w 276225"/>
                    <a:gd name="connsiteY13" fmla="*/ 0 h 461962"/>
                    <a:gd name="connsiteX0" fmla="*/ 40481 w 283369"/>
                    <a:gd name="connsiteY0" fmla="*/ 0 h 461962"/>
                    <a:gd name="connsiteX1" fmla="*/ 30958 w 283369"/>
                    <a:gd name="connsiteY1" fmla="*/ 80963 h 461962"/>
                    <a:gd name="connsiteX2" fmla="*/ 7144 w 283369"/>
                    <a:gd name="connsiteY2" fmla="*/ 97631 h 461962"/>
                    <a:gd name="connsiteX3" fmla="*/ 0 w 283369"/>
                    <a:gd name="connsiteY3" fmla="*/ 133350 h 461962"/>
                    <a:gd name="connsiteX4" fmla="*/ 100013 w 283369"/>
                    <a:gd name="connsiteY4" fmla="*/ 445293 h 461962"/>
                    <a:gd name="connsiteX5" fmla="*/ 138113 w 283369"/>
                    <a:gd name="connsiteY5" fmla="*/ 461962 h 461962"/>
                    <a:gd name="connsiteX6" fmla="*/ 178594 w 283369"/>
                    <a:gd name="connsiteY6" fmla="*/ 450056 h 461962"/>
                    <a:gd name="connsiteX7" fmla="*/ 166687 w 283369"/>
                    <a:gd name="connsiteY7" fmla="*/ 402431 h 461962"/>
                    <a:gd name="connsiteX8" fmla="*/ 219075 w 283369"/>
                    <a:gd name="connsiteY8" fmla="*/ 395288 h 461962"/>
                    <a:gd name="connsiteX9" fmla="*/ 259557 w 283369"/>
                    <a:gd name="connsiteY9" fmla="*/ 361950 h 461962"/>
                    <a:gd name="connsiteX10" fmla="*/ 271463 w 283369"/>
                    <a:gd name="connsiteY10" fmla="*/ 316706 h 461962"/>
                    <a:gd name="connsiteX11" fmla="*/ 283369 w 283369"/>
                    <a:gd name="connsiteY11" fmla="*/ 290512 h 461962"/>
                    <a:gd name="connsiteX12" fmla="*/ 273844 w 283369"/>
                    <a:gd name="connsiteY12" fmla="*/ 266699 h 461962"/>
                    <a:gd name="connsiteX13" fmla="*/ 40481 w 283369"/>
                    <a:gd name="connsiteY13" fmla="*/ 0 h 461962"/>
                    <a:gd name="connsiteX0" fmla="*/ 76199 w 319087"/>
                    <a:gd name="connsiteY0" fmla="*/ 0 h 461962"/>
                    <a:gd name="connsiteX1" fmla="*/ 66676 w 319087"/>
                    <a:gd name="connsiteY1" fmla="*/ 80963 h 461962"/>
                    <a:gd name="connsiteX2" fmla="*/ 42862 w 319087"/>
                    <a:gd name="connsiteY2" fmla="*/ 97631 h 461962"/>
                    <a:gd name="connsiteX3" fmla="*/ 35718 w 319087"/>
                    <a:gd name="connsiteY3" fmla="*/ 133350 h 461962"/>
                    <a:gd name="connsiteX4" fmla="*/ 0 w 319087"/>
                    <a:gd name="connsiteY4" fmla="*/ 114299 h 461962"/>
                    <a:gd name="connsiteX5" fmla="*/ 173831 w 319087"/>
                    <a:gd name="connsiteY5" fmla="*/ 461962 h 461962"/>
                    <a:gd name="connsiteX6" fmla="*/ 214312 w 319087"/>
                    <a:gd name="connsiteY6" fmla="*/ 450056 h 461962"/>
                    <a:gd name="connsiteX7" fmla="*/ 202405 w 319087"/>
                    <a:gd name="connsiteY7" fmla="*/ 402431 h 461962"/>
                    <a:gd name="connsiteX8" fmla="*/ 254793 w 319087"/>
                    <a:gd name="connsiteY8" fmla="*/ 395288 h 461962"/>
                    <a:gd name="connsiteX9" fmla="*/ 295275 w 319087"/>
                    <a:gd name="connsiteY9" fmla="*/ 361950 h 461962"/>
                    <a:gd name="connsiteX10" fmla="*/ 307181 w 319087"/>
                    <a:gd name="connsiteY10" fmla="*/ 316706 h 461962"/>
                    <a:gd name="connsiteX11" fmla="*/ 319087 w 319087"/>
                    <a:gd name="connsiteY11" fmla="*/ 290512 h 461962"/>
                    <a:gd name="connsiteX12" fmla="*/ 309562 w 319087"/>
                    <a:gd name="connsiteY12" fmla="*/ 266699 h 461962"/>
                    <a:gd name="connsiteX13" fmla="*/ 76199 w 319087"/>
                    <a:gd name="connsiteY13" fmla="*/ 0 h 461962"/>
                    <a:gd name="connsiteX0" fmla="*/ 76199 w 319087"/>
                    <a:gd name="connsiteY0" fmla="*/ 0 h 461962"/>
                    <a:gd name="connsiteX1" fmla="*/ 66676 w 319087"/>
                    <a:gd name="connsiteY1" fmla="*/ 80963 h 461962"/>
                    <a:gd name="connsiteX2" fmla="*/ 42862 w 319087"/>
                    <a:gd name="connsiteY2" fmla="*/ 97631 h 461962"/>
                    <a:gd name="connsiteX3" fmla="*/ 35718 w 319087"/>
                    <a:gd name="connsiteY3" fmla="*/ 133350 h 461962"/>
                    <a:gd name="connsiteX4" fmla="*/ 0 w 319087"/>
                    <a:gd name="connsiteY4" fmla="*/ 114299 h 461962"/>
                    <a:gd name="connsiteX5" fmla="*/ 115832 w 319087"/>
                    <a:gd name="connsiteY5" fmla="*/ 345283 h 461962"/>
                    <a:gd name="connsiteX6" fmla="*/ 173831 w 319087"/>
                    <a:gd name="connsiteY6" fmla="*/ 461962 h 461962"/>
                    <a:gd name="connsiteX7" fmla="*/ 214312 w 319087"/>
                    <a:gd name="connsiteY7" fmla="*/ 450056 h 461962"/>
                    <a:gd name="connsiteX8" fmla="*/ 202405 w 319087"/>
                    <a:gd name="connsiteY8" fmla="*/ 402431 h 461962"/>
                    <a:gd name="connsiteX9" fmla="*/ 254793 w 319087"/>
                    <a:gd name="connsiteY9" fmla="*/ 395288 h 461962"/>
                    <a:gd name="connsiteX10" fmla="*/ 295275 w 319087"/>
                    <a:gd name="connsiteY10" fmla="*/ 361950 h 461962"/>
                    <a:gd name="connsiteX11" fmla="*/ 307181 w 319087"/>
                    <a:gd name="connsiteY11" fmla="*/ 316706 h 461962"/>
                    <a:gd name="connsiteX12" fmla="*/ 319087 w 319087"/>
                    <a:gd name="connsiteY12" fmla="*/ 290512 h 461962"/>
                    <a:gd name="connsiteX13" fmla="*/ 309562 w 319087"/>
                    <a:gd name="connsiteY13" fmla="*/ 266699 h 461962"/>
                    <a:gd name="connsiteX14" fmla="*/ 76199 w 319087"/>
                    <a:gd name="connsiteY14" fmla="*/ 0 h 461962"/>
                    <a:gd name="connsiteX0" fmla="*/ 76199 w 319087"/>
                    <a:gd name="connsiteY0" fmla="*/ 0 h 461962"/>
                    <a:gd name="connsiteX1" fmla="*/ 66676 w 319087"/>
                    <a:gd name="connsiteY1" fmla="*/ 80963 h 461962"/>
                    <a:gd name="connsiteX2" fmla="*/ 42862 w 319087"/>
                    <a:gd name="connsiteY2" fmla="*/ 97631 h 461962"/>
                    <a:gd name="connsiteX3" fmla="*/ 35718 w 319087"/>
                    <a:gd name="connsiteY3" fmla="*/ 133350 h 461962"/>
                    <a:gd name="connsiteX4" fmla="*/ 0 w 319087"/>
                    <a:gd name="connsiteY4" fmla="*/ 114299 h 461962"/>
                    <a:gd name="connsiteX5" fmla="*/ 27725 w 319087"/>
                    <a:gd name="connsiteY5" fmla="*/ 192883 h 461962"/>
                    <a:gd name="connsiteX6" fmla="*/ 173831 w 319087"/>
                    <a:gd name="connsiteY6" fmla="*/ 461962 h 461962"/>
                    <a:gd name="connsiteX7" fmla="*/ 214312 w 319087"/>
                    <a:gd name="connsiteY7" fmla="*/ 450056 h 461962"/>
                    <a:gd name="connsiteX8" fmla="*/ 202405 w 319087"/>
                    <a:gd name="connsiteY8" fmla="*/ 402431 h 461962"/>
                    <a:gd name="connsiteX9" fmla="*/ 254793 w 319087"/>
                    <a:gd name="connsiteY9" fmla="*/ 395288 h 461962"/>
                    <a:gd name="connsiteX10" fmla="*/ 295275 w 319087"/>
                    <a:gd name="connsiteY10" fmla="*/ 361950 h 461962"/>
                    <a:gd name="connsiteX11" fmla="*/ 307181 w 319087"/>
                    <a:gd name="connsiteY11" fmla="*/ 316706 h 461962"/>
                    <a:gd name="connsiteX12" fmla="*/ 319087 w 319087"/>
                    <a:gd name="connsiteY12" fmla="*/ 290512 h 461962"/>
                    <a:gd name="connsiteX13" fmla="*/ 309562 w 319087"/>
                    <a:gd name="connsiteY13" fmla="*/ 266699 h 461962"/>
                    <a:gd name="connsiteX14" fmla="*/ 76199 w 319087"/>
                    <a:gd name="connsiteY14" fmla="*/ 0 h 461962"/>
                    <a:gd name="connsiteX0" fmla="*/ 76199 w 319087"/>
                    <a:gd name="connsiteY0" fmla="*/ 0 h 450056"/>
                    <a:gd name="connsiteX1" fmla="*/ 66676 w 319087"/>
                    <a:gd name="connsiteY1" fmla="*/ 80963 h 450056"/>
                    <a:gd name="connsiteX2" fmla="*/ 42862 w 319087"/>
                    <a:gd name="connsiteY2" fmla="*/ 97631 h 450056"/>
                    <a:gd name="connsiteX3" fmla="*/ 35718 w 319087"/>
                    <a:gd name="connsiteY3" fmla="*/ 133350 h 450056"/>
                    <a:gd name="connsiteX4" fmla="*/ 0 w 319087"/>
                    <a:gd name="connsiteY4" fmla="*/ 114299 h 450056"/>
                    <a:gd name="connsiteX5" fmla="*/ 27725 w 319087"/>
                    <a:gd name="connsiteY5" fmla="*/ 192883 h 450056"/>
                    <a:gd name="connsiteX6" fmla="*/ 116681 w 319087"/>
                    <a:gd name="connsiteY6" fmla="*/ 180975 h 450056"/>
                    <a:gd name="connsiteX7" fmla="*/ 214312 w 319087"/>
                    <a:gd name="connsiteY7" fmla="*/ 450056 h 450056"/>
                    <a:gd name="connsiteX8" fmla="*/ 202405 w 319087"/>
                    <a:gd name="connsiteY8" fmla="*/ 402431 h 450056"/>
                    <a:gd name="connsiteX9" fmla="*/ 254793 w 319087"/>
                    <a:gd name="connsiteY9" fmla="*/ 395288 h 450056"/>
                    <a:gd name="connsiteX10" fmla="*/ 295275 w 319087"/>
                    <a:gd name="connsiteY10" fmla="*/ 361950 h 450056"/>
                    <a:gd name="connsiteX11" fmla="*/ 307181 w 319087"/>
                    <a:gd name="connsiteY11" fmla="*/ 316706 h 450056"/>
                    <a:gd name="connsiteX12" fmla="*/ 319087 w 319087"/>
                    <a:gd name="connsiteY12" fmla="*/ 290512 h 450056"/>
                    <a:gd name="connsiteX13" fmla="*/ 309562 w 319087"/>
                    <a:gd name="connsiteY13" fmla="*/ 266699 h 450056"/>
                    <a:gd name="connsiteX14" fmla="*/ 76199 w 319087"/>
                    <a:gd name="connsiteY14" fmla="*/ 0 h 450056"/>
                    <a:gd name="connsiteX0" fmla="*/ 76199 w 319087"/>
                    <a:gd name="connsiteY0" fmla="*/ 0 h 402431"/>
                    <a:gd name="connsiteX1" fmla="*/ 66676 w 319087"/>
                    <a:gd name="connsiteY1" fmla="*/ 80963 h 402431"/>
                    <a:gd name="connsiteX2" fmla="*/ 42862 w 319087"/>
                    <a:gd name="connsiteY2" fmla="*/ 97631 h 402431"/>
                    <a:gd name="connsiteX3" fmla="*/ 35718 w 319087"/>
                    <a:gd name="connsiteY3" fmla="*/ 133350 h 402431"/>
                    <a:gd name="connsiteX4" fmla="*/ 0 w 319087"/>
                    <a:gd name="connsiteY4" fmla="*/ 114299 h 402431"/>
                    <a:gd name="connsiteX5" fmla="*/ 27725 w 319087"/>
                    <a:gd name="connsiteY5" fmla="*/ 192883 h 402431"/>
                    <a:gd name="connsiteX6" fmla="*/ 116681 w 319087"/>
                    <a:gd name="connsiteY6" fmla="*/ 180975 h 402431"/>
                    <a:gd name="connsiteX7" fmla="*/ 128587 w 319087"/>
                    <a:gd name="connsiteY7" fmla="*/ 150019 h 402431"/>
                    <a:gd name="connsiteX8" fmla="*/ 202405 w 319087"/>
                    <a:gd name="connsiteY8" fmla="*/ 402431 h 402431"/>
                    <a:gd name="connsiteX9" fmla="*/ 254793 w 319087"/>
                    <a:gd name="connsiteY9" fmla="*/ 395288 h 402431"/>
                    <a:gd name="connsiteX10" fmla="*/ 295275 w 319087"/>
                    <a:gd name="connsiteY10" fmla="*/ 361950 h 402431"/>
                    <a:gd name="connsiteX11" fmla="*/ 307181 w 319087"/>
                    <a:gd name="connsiteY11" fmla="*/ 316706 h 402431"/>
                    <a:gd name="connsiteX12" fmla="*/ 319087 w 319087"/>
                    <a:gd name="connsiteY12" fmla="*/ 290512 h 402431"/>
                    <a:gd name="connsiteX13" fmla="*/ 309562 w 319087"/>
                    <a:gd name="connsiteY13" fmla="*/ 266699 h 402431"/>
                    <a:gd name="connsiteX14" fmla="*/ 76199 w 319087"/>
                    <a:gd name="connsiteY14" fmla="*/ 0 h 402431"/>
                    <a:gd name="connsiteX0" fmla="*/ 76199 w 319087"/>
                    <a:gd name="connsiteY0" fmla="*/ 0 h 402431"/>
                    <a:gd name="connsiteX1" fmla="*/ 66676 w 319087"/>
                    <a:gd name="connsiteY1" fmla="*/ 80963 h 402431"/>
                    <a:gd name="connsiteX2" fmla="*/ 42862 w 319087"/>
                    <a:gd name="connsiteY2" fmla="*/ 97631 h 402431"/>
                    <a:gd name="connsiteX3" fmla="*/ 35718 w 319087"/>
                    <a:gd name="connsiteY3" fmla="*/ 133350 h 402431"/>
                    <a:gd name="connsiteX4" fmla="*/ 0 w 319087"/>
                    <a:gd name="connsiteY4" fmla="*/ 114299 h 402431"/>
                    <a:gd name="connsiteX5" fmla="*/ 27725 w 319087"/>
                    <a:gd name="connsiteY5" fmla="*/ 192883 h 402431"/>
                    <a:gd name="connsiteX6" fmla="*/ 116681 w 319087"/>
                    <a:gd name="connsiteY6" fmla="*/ 180975 h 402431"/>
                    <a:gd name="connsiteX7" fmla="*/ 128587 w 319087"/>
                    <a:gd name="connsiteY7" fmla="*/ 150019 h 402431"/>
                    <a:gd name="connsiteX8" fmla="*/ 202405 w 319087"/>
                    <a:gd name="connsiteY8" fmla="*/ 402431 h 402431"/>
                    <a:gd name="connsiteX9" fmla="*/ 254793 w 319087"/>
                    <a:gd name="connsiteY9" fmla="*/ 395288 h 402431"/>
                    <a:gd name="connsiteX10" fmla="*/ 295275 w 319087"/>
                    <a:gd name="connsiteY10" fmla="*/ 361950 h 402431"/>
                    <a:gd name="connsiteX11" fmla="*/ 307181 w 319087"/>
                    <a:gd name="connsiteY11" fmla="*/ 316706 h 402431"/>
                    <a:gd name="connsiteX12" fmla="*/ 319087 w 319087"/>
                    <a:gd name="connsiteY12" fmla="*/ 290512 h 402431"/>
                    <a:gd name="connsiteX13" fmla="*/ 116680 w 319087"/>
                    <a:gd name="connsiteY13" fmla="*/ 73817 h 402431"/>
                    <a:gd name="connsiteX14" fmla="*/ 76199 w 319087"/>
                    <a:gd name="connsiteY14" fmla="*/ 0 h 402431"/>
                    <a:gd name="connsiteX0" fmla="*/ 76199 w 307181"/>
                    <a:gd name="connsiteY0" fmla="*/ 0 h 402431"/>
                    <a:gd name="connsiteX1" fmla="*/ 66676 w 307181"/>
                    <a:gd name="connsiteY1" fmla="*/ 80963 h 402431"/>
                    <a:gd name="connsiteX2" fmla="*/ 42862 w 307181"/>
                    <a:gd name="connsiteY2" fmla="*/ 97631 h 402431"/>
                    <a:gd name="connsiteX3" fmla="*/ 35718 w 307181"/>
                    <a:gd name="connsiteY3" fmla="*/ 133350 h 402431"/>
                    <a:gd name="connsiteX4" fmla="*/ 0 w 307181"/>
                    <a:gd name="connsiteY4" fmla="*/ 114299 h 402431"/>
                    <a:gd name="connsiteX5" fmla="*/ 27725 w 307181"/>
                    <a:gd name="connsiteY5" fmla="*/ 192883 h 402431"/>
                    <a:gd name="connsiteX6" fmla="*/ 116681 w 307181"/>
                    <a:gd name="connsiteY6" fmla="*/ 180975 h 402431"/>
                    <a:gd name="connsiteX7" fmla="*/ 128587 w 307181"/>
                    <a:gd name="connsiteY7" fmla="*/ 150019 h 402431"/>
                    <a:gd name="connsiteX8" fmla="*/ 202405 w 307181"/>
                    <a:gd name="connsiteY8" fmla="*/ 402431 h 402431"/>
                    <a:gd name="connsiteX9" fmla="*/ 254793 w 307181"/>
                    <a:gd name="connsiteY9" fmla="*/ 395288 h 402431"/>
                    <a:gd name="connsiteX10" fmla="*/ 295275 w 307181"/>
                    <a:gd name="connsiteY10" fmla="*/ 361950 h 402431"/>
                    <a:gd name="connsiteX11" fmla="*/ 307181 w 307181"/>
                    <a:gd name="connsiteY11" fmla="*/ 316706 h 402431"/>
                    <a:gd name="connsiteX12" fmla="*/ 107156 w 307181"/>
                    <a:gd name="connsiteY12" fmla="*/ 116681 h 402431"/>
                    <a:gd name="connsiteX13" fmla="*/ 116680 w 307181"/>
                    <a:gd name="connsiteY13" fmla="*/ 73817 h 402431"/>
                    <a:gd name="connsiteX14" fmla="*/ 76199 w 307181"/>
                    <a:gd name="connsiteY14" fmla="*/ 0 h 402431"/>
                    <a:gd name="connsiteX0" fmla="*/ 76199 w 423862"/>
                    <a:gd name="connsiteY0" fmla="*/ 0 h 402431"/>
                    <a:gd name="connsiteX1" fmla="*/ 66676 w 423862"/>
                    <a:gd name="connsiteY1" fmla="*/ 80963 h 402431"/>
                    <a:gd name="connsiteX2" fmla="*/ 42862 w 423862"/>
                    <a:gd name="connsiteY2" fmla="*/ 97631 h 402431"/>
                    <a:gd name="connsiteX3" fmla="*/ 35718 w 423862"/>
                    <a:gd name="connsiteY3" fmla="*/ 133350 h 402431"/>
                    <a:gd name="connsiteX4" fmla="*/ 0 w 423862"/>
                    <a:gd name="connsiteY4" fmla="*/ 114299 h 402431"/>
                    <a:gd name="connsiteX5" fmla="*/ 27725 w 423862"/>
                    <a:gd name="connsiteY5" fmla="*/ 192883 h 402431"/>
                    <a:gd name="connsiteX6" fmla="*/ 116681 w 423862"/>
                    <a:gd name="connsiteY6" fmla="*/ 180975 h 402431"/>
                    <a:gd name="connsiteX7" fmla="*/ 128587 w 423862"/>
                    <a:gd name="connsiteY7" fmla="*/ 150019 h 402431"/>
                    <a:gd name="connsiteX8" fmla="*/ 202405 w 423862"/>
                    <a:gd name="connsiteY8" fmla="*/ 402431 h 402431"/>
                    <a:gd name="connsiteX9" fmla="*/ 254793 w 423862"/>
                    <a:gd name="connsiteY9" fmla="*/ 395288 h 402431"/>
                    <a:gd name="connsiteX10" fmla="*/ 295275 w 423862"/>
                    <a:gd name="connsiteY10" fmla="*/ 361950 h 402431"/>
                    <a:gd name="connsiteX11" fmla="*/ 423862 w 423862"/>
                    <a:gd name="connsiteY11" fmla="*/ 78581 h 402431"/>
                    <a:gd name="connsiteX12" fmla="*/ 107156 w 423862"/>
                    <a:gd name="connsiteY12" fmla="*/ 116681 h 402431"/>
                    <a:gd name="connsiteX13" fmla="*/ 116680 w 423862"/>
                    <a:gd name="connsiteY13" fmla="*/ 73817 h 402431"/>
                    <a:gd name="connsiteX14" fmla="*/ 76199 w 423862"/>
                    <a:gd name="connsiteY14" fmla="*/ 0 h 402431"/>
                    <a:gd name="connsiteX0" fmla="*/ 76199 w 423862"/>
                    <a:gd name="connsiteY0" fmla="*/ 0 h 395288"/>
                    <a:gd name="connsiteX1" fmla="*/ 66676 w 423862"/>
                    <a:gd name="connsiteY1" fmla="*/ 80963 h 395288"/>
                    <a:gd name="connsiteX2" fmla="*/ 42862 w 423862"/>
                    <a:gd name="connsiteY2" fmla="*/ 97631 h 395288"/>
                    <a:gd name="connsiteX3" fmla="*/ 35718 w 423862"/>
                    <a:gd name="connsiteY3" fmla="*/ 133350 h 395288"/>
                    <a:gd name="connsiteX4" fmla="*/ 0 w 423862"/>
                    <a:gd name="connsiteY4" fmla="*/ 114299 h 395288"/>
                    <a:gd name="connsiteX5" fmla="*/ 27725 w 423862"/>
                    <a:gd name="connsiteY5" fmla="*/ 192883 h 395288"/>
                    <a:gd name="connsiteX6" fmla="*/ 116681 w 423862"/>
                    <a:gd name="connsiteY6" fmla="*/ 180975 h 395288"/>
                    <a:gd name="connsiteX7" fmla="*/ 128587 w 423862"/>
                    <a:gd name="connsiteY7" fmla="*/ 150019 h 395288"/>
                    <a:gd name="connsiteX8" fmla="*/ 254793 w 423862"/>
                    <a:gd name="connsiteY8" fmla="*/ 395288 h 395288"/>
                    <a:gd name="connsiteX9" fmla="*/ 295275 w 423862"/>
                    <a:gd name="connsiteY9" fmla="*/ 361950 h 395288"/>
                    <a:gd name="connsiteX10" fmla="*/ 423862 w 423862"/>
                    <a:gd name="connsiteY10" fmla="*/ 78581 h 395288"/>
                    <a:gd name="connsiteX11" fmla="*/ 107156 w 423862"/>
                    <a:gd name="connsiteY11" fmla="*/ 116681 h 395288"/>
                    <a:gd name="connsiteX12" fmla="*/ 116680 w 423862"/>
                    <a:gd name="connsiteY12" fmla="*/ 73817 h 395288"/>
                    <a:gd name="connsiteX13" fmla="*/ 76199 w 423862"/>
                    <a:gd name="connsiteY13" fmla="*/ 0 h 395288"/>
                    <a:gd name="connsiteX0" fmla="*/ 76199 w 423862"/>
                    <a:gd name="connsiteY0" fmla="*/ 0 h 395288"/>
                    <a:gd name="connsiteX1" fmla="*/ 66676 w 423862"/>
                    <a:gd name="connsiteY1" fmla="*/ 80963 h 395288"/>
                    <a:gd name="connsiteX2" fmla="*/ 42862 w 423862"/>
                    <a:gd name="connsiteY2" fmla="*/ 97631 h 395288"/>
                    <a:gd name="connsiteX3" fmla="*/ 35718 w 423862"/>
                    <a:gd name="connsiteY3" fmla="*/ 133350 h 395288"/>
                    <a:gd name="connsiteX4" fmla="*/ 0 w 423862"/>
                    <a:gd name="connsiteY4" fmla="*/ 114299 h 395288"/>
                    <a:gd name="connsiteX5" fmla="*/ 27725 w 423862"/>
                    <a:gd name="connsiteY5" fmla="*/ 192883 h 395288"/>
                    <a:gd name="connsiteX6" fmla="*/ 116681 w 423862"/>
                    <a:gd name="connsiteY6" fmla="*/ 180975 h 395288"/>
                    <a:gd name="connsiteX7" fmla="*/ 128587 w 423862"/>
                    <a:gd name="connsiteY7" fmla="*/ 150019 h 395288"/>
                    <a:gd name="connsiteX8" fmla="*/ 254793 w 423862"/>
                    <a:gd name="connsiteY8" fmla="*/ 395288 h 395288"/>
                    <a:gd name="connsiteX9" fmla="*/ 423862 w 423862"/>
                    <a:gd name="connsiteY9" fmla="*/ 78581 h 395288"/>
                    <a:gd name="connsiteX10" fmla="*/ 107156 w 423862"/>
                    <a:gd name="connsiteY10" fmla="*/ 116681 h 395288"/>
                    <a:gd name="connsiteX11" fmla="*/ 116680 w 423862"/>
                    <a:gd name="connsiteY11" fmla="*/ 73817 h 395288"/>
                    <a:gd name="connsiteX12" fmla="*/ 76199 w 423862"/>
                    <a:gd name="connsiteY12" fmla="*/ 0 h 395288"/>
                    <a:gd name="connsiteX0" fmla="*/ 76199 w 423862"/>
                    <a:gd name="connsiteY0" fmla="*/ 0 h 192883"/>
                    <a:gd name="connsiteX1" fmla="*/ 66676 w 423862"/>
                    <a:gd name="connsiteY1" fmla="*/ 80963 h 192883"/>
                    <a:gd name="connsiteX2" fmla="*/ 42862 w 423862"/>
                    <a:gd name="connsiteY2" fmla="*/ 97631 h 192883"/>
                    <a:gd name="connsiteX3" fmla="*/ 35718 w 423862"/>
                    <a:gd name="connsiteY3" fmla="*/ 133350 h 192883"/>
                    <a:gd name="connsiteX4" fmla="*/ 0 w 423862"/>
                    <a:gd name="connsiteY4" fmla="*/ 114299 h 192883"/>
                    <a:gd name="connsiteX5" fmla="*/ 27725 w 423862"/>
                    <a:gd name="connsiteY5" fmla="*/ 192883 h 192883"/>
                    <a:gd name="connsiteX6" fmla="*/ 116681 w 423862"/>
                    <a:gd name="connsiteY6" fmla="*/ 180975 h 192883"/>
                    <a:gd name="connsiteX7" fmla="*/ 128587 w 423862"/>
                    <a:gd name="connsiteY7" fmla="*/ 150019 h 192883"/>
                    <a:gd name="connsiteX8" fmla="*/ 423862 w 423862"/>
                    <a:gd name="connsiteY8" fmla="*/ 78581 h 192883"/>
                    <a:gd name="connsiteX9" fmla="*/ 107156 w 423862"/>
                    <a:gd name="connsiteY9" fmla="*/ 116681 h 192883"/>
                    <a:gd name="connsiteX10" fmla="*/ 116680 w 423862"/>
                    <a:gd name="connsiteY10" fmla="*/ 73817 h 192883"/>
                    <a:gd name="connsiteX11" fmla="*/ 76199 w 423862"/>
                    <a:gd name="connsiteY11" fmla="*/ 0 h 192883"/>
                    <a:gd name="connsiteX0" fmla="*/ 76199 w 128587"/>
                    <a:gd name="connsiteY0" fmla="*/ 0 h 192883"/>
                    <a:gd name="connsiteX1" fmla="*/ 66676 w 128587"/>
                    <a:gd name="connsiteY1" fmla="*/ 80963 h 192883"/>
                    <a:gd name="connsiteX2" fmla="*/ 42862 w 128587"/>
                    <a:gd name="connsiteY2" fmla="*/ 97631 h 192883"/>
                    <a:gd name="connsiteX3" fmla="*/ 35718 w 128587"/>
                    <a:gd name="connsiteY3" fmla="*/ 133350 h 192883"/>
                    <a:gd name="connsiteX4" fmla="*/ 0 w 128587"/>
                    <a:gd name="connsiteY4" fmla="*/ 114299 h 192883"/>
                    <a:gd name="connsiteX5" fmla="*/ 27725 w 128587"/>
                    <a:gd name="connsiteY5" fmla="*/ 192883 h 192883"/>
                    <a:gd name="connsiteX6" fmla="*/ 116681 w 128587"/>
                    <a:gd name="connsiteY6" fmla="*/ 180975 h 192883"/>
                    <a:gd name="connsiteX7" fmla="*/ 128587 w 128587"/>
                    <a:gd name="connsiteY7" fmla="*/ 150019 h 192883"/>
                    <a:gd name="connsiteX8" fmla="*/ 107156 w 128587"/>
                    <a:gd name="connsiteY8" fmla="*/ 116681 h 192883"/>
                    <a:gd name="connsiteX9" fmla="*/ 116680 w 128587"/>
                    <a:gd name="connsiteY9" fmla="*/ 73817 h 192883"/>
                    <a:gd name="connsiteX10" fmla="*/ 76199 w 128587"/>
                    <a:gd name="connsiteY10" fmla="*/ 0 h 19288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</a:cxnLst>
                  <a:rect l="l" t="t" r="r" b="b"/>
                  <a:pathLst>
                    <a:path w="128587" h="192883">
                      <a:moveTo>
                        <a:pt x="76199" y="0"/>
                      </a:moveTo>
                      <a:lnTo>
                        <a:pt x="66676" y="80963"/>
                      </a:lnTo>
                      <a:lnTo>
                        <a:pt x="42862" y="97631"/>
                      </a:lnTo>
                      <a:lnTo>
                        <a:pt x="35718" y="133350"/>
                      </a:lnTo>
                      <a:lnTo>
                        <a:pt x="0" y="114299"/>
                      </a:lnTo>
                      <a:lnTo>
                        <a:pt x="27725" y="192883"/>
                      </a:lnTo>
                      <a:lnTo>
                        <a:pt x="116681" y="180975"/>
                      </a:lnTo>
                      <a:lnTo>
                        <a:pt x="128587" y="150019"/>
                      </a:lnTo>
                      <a:lnTo>
                        <a:pt x="107156" y="116681"/>
                      </a:lnTo>
                      <a:lnTo>
                        <a:pt x="116680" y="73817"/>
                      </a:lnTo>
                      <a:lnTo>
                        <a:pt x="76199" y="0"/>
                      </a:ln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  <p:sp>
              <p:nvSpPr>
                <p:cNvPr id="108" name="Freeform 107"/>
                <p:cNvSpPr/>
                <p:nvPr/>
              </p:nvSpPr>
              <p:spPr>
                <a:xfrm>
                  <a:off x="7545634" y="2540538"/>
                  <a:ext cx="91035" cy="319343"/>
                </a:xfrm>
                <a:custGeom>
                  <a:avLst/>
                  <a:gdLst>
                    <a:gd name="connsiteX0" fmla="*/ 41029 w 91035"/>
                    <a:gd name="connsiteY0" fmla="*/ 256 h 319343"/>
                    <a:gd name="connsiteX1" fmla="*/ 41029 w 91035"/>
                    <a:gd name="connsiteY1" fmla="*/ 256 h 319343"/>
                    <a:gd name="connsiteX2" fmla="*/ 55316 w 91035"/>
                    <a:gd name="connsiteY2" fmla="*/ 16925 h 319343"/>
                    <a:gd name="connsiteX3" fmla="*/ 60079 w 91035"/>
                    <a:gd name="connsiteY3" fmla="*/ 24068 h 319343"/>
                    <a:gd name="connsiteX4" fmla="*/ 67222 w 91035"/>
                    <a:gd name="connsiteY4" fmla="*/ 33593 h 319343"/>
                    <a:gd name="connsiteX5" fmla="*/ 74366 w 91035"/>
                    <a:gd name="connsiteY5" fmla="*/ 47881 h 319343"/>
                    <a:gd name="connsiteX6" fmla="*/ 81510 w 91035"/>
                    <a:gd name="connsiteY6" fmla="*/ 62168 h 319343"/>
                    <a:gd name="connsiteX7" fmla="*/ 86272 w 91035"/>
                    <a:gd name="connsiteY7" fmla="*/ 81218 h 319343"/>
                    <a:gd name="connsiteX8" fmla="*/ 91035 w 91035"/>
                    <a:gd name="connsiteY8" fmla="*/ 95506 h 319343"/>
                    <a:gd name="connsiteX9" fmla="*/ 88654 w 91035"/>
                    <a:gd name="connsiteY9" fmla="*/ 135987 h 319343"/>
                    <a:gd name="connsiteX10" fmla="*/ 86272 w 91035"/>
                    <a:gd name="connsiteY10" fmla="*/ 147893 h 319343"/>
                    <a:gd name="connsiteX11" fmla="*/ 83891 w 91035"/>
                    <a:gd name="connsiteY11" fmla="*/ 166943 h 319343"/>
                    <a:gd name="connsiteX12" fmla="*/ 81510 w 91035"/>
                    <a:gd name="connsiteY12" fmla="*/ 174087 h 319343"/>
                    <a:gd name="connsiteX13" fmla="*/ 76747 w 91035"/>
                    <a:gd name="connsiteY13" fmla="*/ 193137 h 319343"/>
                    <a:gd name="connsiteX14" fmla="*/ 74366 w 91035"/>
                    <a:gd name="connsiteY14" fmla="*/ 240762 h 319343"/>
                    <a:gd name="connsiteX15" fmla="*/ 69604 w 91035"/>
                    <a:gd name="connsiteY15" fmla="*/ 269337 h 319343"/>
                    <a:gd name="connsiteX16" fmla="*/ 67222 w 91035"/>
                    <a:gd name="connsiteY16" fmla="*/ 276481 h 319343"/>
                    <a:gd name="connsiteX17" fmla="*/ 62460 w 91035"/>
                    <a:gd name="connsiteY17" fmla="*/ 283625 h 319343"/>
                    <a:gd name="connsiteX18" fmla="*/ 55316 w 91035"/>
                    <a:gd name="connsiteY18" fmla="*/ 288387 h 319343"/>
                    <a:gd name="connsiteX19" fmla="*/ 45791 w 91035"/>
                    <a:gd name="connsiteY19" fmla="*/ 305056 h 319343"/>
                    <a:gd name="connsiteX20" fmla="*/ 41029 w 91035"/>
                    <a:gd name="connsiteY20" fmla="*/ 312200 h 319343"/>
                    <a:gd name="connsiteX21" fmla="*/ 17216 w 91035"/>
                    <a:gd name="connsiteY21" fmla="*/ 319343 h 319343"/>
                    <a:gd name="connsiteX22" fmla="*/ 7691 w 91035"/>
                    <a:gd name="connsiteY22" fmla="*/ 316962 h 319343"/>
                    <a:gd name="connsiteX23" fmla="*/ 12454 w 91035"/>
                    <a:gd name="connsiteY23" fmla="*/ 276481 h 319343"/>
                    <a:gd name="connsiteX24" fmla="*/ 10072 w 91035"/>
                    <a:gd name="connsiteY24" fmla="*/ 250287 h 319343"/>
                    <a:gd name="connsiteX25" fmla="*/ 547 w 91035"/>
                    <a:gd name="connsiteY25" fmla="*/ 247906 h 319343"/>
                    <a:gd name="connsiteX26" fmla="*/ 2929 w 91035"/>
                    <a:gd name="connsiteY26" fmla="*/ 238381 h 319343"/>
                    <a:gd name="connsiteX27" fmla="*/ 12454 w 91035"/>
                    <a:gd name="connsiteY27" fmla="*/ 224093 h 319343"/>
                    <a:gd name="connsiteX28" fmla="*/ 21979 w 91035"/>
                    <a:gd name="connsiteY28" fmla="*/ 226475 h 319343"/>
                    <a:gd name="connsiteX29" fmla="*/ 29122 w 91035"/>
                    <a:gd name="connsiteY29" fmla="*/ 231237 h 319343"/>
                    <a:gd name="connsiteX30" fmla="*/ 36266 w 91035"/>
                    <a:gd name="connsiteY30" fmla="*/ 233618 h 319343"/>
                    <a:gd name="connsiteX31" fmla="*/ 43410 w 91035"/>
                    <a:gd name="connsiteY31" fmla="*/ 228856 h 319343"/>
                    <a:gd name="connsiteX32" fmla="*/ 45791 w 91035"/>
                    <a:gd name="connsiteY32" fmla="*/ 221712 h 319343"/>
                    <a:gd name="connsiteX33" fmla="*/ 48172 w 91035"/>
                    <a:gd name="connsiteY33" fmla="*/ 195518 h 319343"/>
                    <a:gd name="connsiteX34" fmla="*/ 52935 w 91035"/>
                    <a:gd name="connsiteY34" fmla="*/ 181231 h 319343"/>
                    <a:gd name="connsiteX35" fmla="*/ 55316 w 91035"/>
                    <a:gd name="connsiteY35" fmla="*/ 166943 h 319343"/>
                    <a:gd name="connsiteX36" fmla="*/ 57697 w 91035"/>
                    <a:gd name="connsiteY36" fmla="*/ 159800 h 319343"/>
                    <a:gd name="connsiteX37" fmla="*/ 60079 w 91035"/>
                    <a:gd name="connsiteY37" fmla="*/ 147893 h 319343"/>
                    <a:gd name="connsiteX38" fmla="*/ 19597 w 91035"/>
                    <a:gd name="connsiteY38" fmla="*/ 138368 h 319343"/>
                    <a:gd name="connsiteX39" fmla="*/ 12454 w 91035"/>
                    <a:gd name="connsiteY39" fmla="*/ 131225 h 319343"/>
                    <a:gd name="connsiteX40" fmla="*/ 14835 w 91035"/>
                    <a:gd name="connsiteY40" fmla="*/ 119318 h 319343"/>
                    <a:gd name="connsiteX41" fmla="*/ 17216 w 91035"/>
                    <a:gd name="connsiteY41" fmla="*/ 112175 h 319343"/>
                    <a:gd name="connsiteX42" fmla="*/ 41029 w 91035"/>
                    <a:gd name="connsiteY42" fmla="*/ 107412 h 319343"/>
                    <a:gd name="connsiteX43" fmla="*/ 43410 w 91035"/>
                    <a:gd name="connsiteY43" fmla="*/ 100268 h 319343"/>
                    <a:gd name="connsiteX44" fmla="*/ 33885 w 91035"/>
                    <a:gd name="connsiteY44" fmla="*/ 76456 h 319343"/>
                    <a:gd name="connsiteX45" fmla="*/ 24360 w 91035"/>
                    <a:gd name="connsiteY45" fmla="*/ 74075 h 319343"/>
                    <a:gd name="connsiteX46" fmla="*/ 19597 w 91035"/>
                    <a:gd name="connsiteY46" fmla="*/ 66931 h 319343"/>
                    <a:gd name="connsiteX47" fmla="*/ 29122 w 91035"/>
                    <a:gd name="connsiteY47" fmla="*/ 45500 h 319343"/>
                    <a:gd name="connsiteX48" fmla="*/ 26741 w 91035"/>
                    <a:gd name="connsiteY48" fmla="*/ 31212 h 319343"/>
                    <a:gd name="connsiteX49" fmla="*/ 14835 w 91035"/>
                    <a:gd name="connsiteY49" fmla="*/ 28831 h 319343"/>
                    <a:gd name="connsiteX50" fmla="*/ 26741 w 91035"/>
                    <a:gd name="connsiteY50" fmla="*/ 256 h 319343"/>
                    <a:gd name="connsiteX51" fmla="*/ 41029 w 91035"/>
                    <a:gd name="connsiteY51" fmla="*/ 256 h 319343"/>
                  </a:gdLst>
                  <a:ahLst/>
                  <a:cxnLst>
                    <a:cxn ang="0">
                      <a:pos x="connsiteX0" y="connsiteY0"/>
                    </a:cxn>
                    <a:cxn ang="0">
                      <a:pos x="connsiteX1" y="connsiteY1"/>
                    </a:cxn>
                    <a:cxn ang="0">
                      <a:pos x="connsiteX2" y="connsiteY2"/>
                    </a:cxn>
                    <a:cxn ang="0">
                      <a:pos x="connsiteX3" y="connsiteY3"/>
                    </a:cxn>
                    <a:cxn ang="0">
                      <a:pos x="connsiteX4" y="connsiteY4"/>
                    </a:cxn>
                    <a:cxn ang="0">
                      <a:pos x="connsiteX5" y="connsiteY5"/>
                    </a:cxn>
                    <a:cxn ang="0">
                      <a:pos x="connsiteX6" y="connsiteY6"/>
                    </a:cxn>
                    <a:cxn ang="0">
                      <a:pos x="connsiteX7" y="connsiteY7"/>
                    </a:cxn>
                    <a:cxn ang="0">
                      <a:pos x="connsiteX8" y="connsiteY8"/>
                    </a:cxn>
                    <a:cxn ang="0">
                      <a:pos x="connsiteX9" y="connsiteY9"/>
                    </a:cxn>
                    <a:cxn ang="0">
                      <a:pos x="connsiteX10" y="connsiteY10"/>
                    </a:cxn>
                    <a:cxn ang="0">
                      <a:pos x="connsiteX11" y="connsiteY11"/>
                    </a:cxn>
                    <a:cxn ang="0">
                      <a:pos x="connsiteX12" y="connsiteY12"/>
                    </a:cxn>
                    <a:cxn ang="0">
                      <a:pos x="connsiteX13" y="connsiteY13"/>
                    </a:cxn>
                    <a:cxn ang="0">
                      <a:pos x="connsiteX14" y="connsiteY14"/>
                    </a:cxn>
                    <a:cxn ang="0">
                      <a:pos x="connsiteX15" y="connsiteY15"/>
                    </a:cxn>
                    <a:cxn ang="0">
                      <a:pos x="connsiteX16" y="connsiteY16"/>
                    </a:cxn>
                    <a:cxn ang="0">
                      <a:pos x="connsiteX17" y="connsiteY17"/>
                    </a:cxn>
                    <a:cxn ang="0">
                      <a:pos x="connsiteX18" y="connsiteY18"/>
                    </a:cxn>
                    <a:cxn ang="0">
                      <a:pos x="connsiteX19" y="connsiteY19"/>
                    </a:cxn>
                    <a:cxn ang="0">
                      <a:pos x="connsiteX20" y="connsiteY20"/>
                    </a:cxn>
                    <a:cxn ang="0">
                      <a:pos x="connsiteX21" y="connsiteY21"/>
                    </a:cxn>
                    <a:cxn ang="0">
                      <a:pos x="connsiteX22" y="connsiteY22"/>
                    </a:cxn>
                    <a:cxn ang="0">
                      <a:pos x="connsiteX23" y="connsiteY23"/>
                    </a:cxn>
                    <a:cxn ang="0">
                      <a:pos x="connsiteX24" y="connsiteY24"/>
                    </a:cxn>
                    <a:cxn ang="0">
                      <a:pos x="connsiteX25" y="connsiteY25"/>
                    </a:cxn>
                    <a:cxn ang="0">
                      <a:pos x="connsiteX26" y="connsiteY26"/>
                    </a:cxn>
                    <a:cxn ang="0">
                      <a:pos x="connsiteX27" y="connsiteY27"/>
                    </a:cxn>
                    <a:cxn ang="0">
                      <a:pos x="connsiteX28" y="connsiteY28"/>
                    </a:cxn>
                    <a:cxn ang="0">
                      <a:pos x="connsiteX29" y="connsiteY29"/>
                    </a:cxn>
                    <a:cxn ang="0">
                      <a:pos x="connsiteX30" y="connsiteY30"/>
                    </a:cxn>
                    <a:cxn ang="0">
                      <a:pos x="connsiteX31" y="connsiteY31"/>
                    </a:cxn>
                    <a:cxn ang="0">
                      <a:pos x="connsiteX32" y="connsiteY32"/>
                    </a:cxn>
                    <a:cxn ang="0">
                      <a:pos x="connsiteX33" y="connsiteY33"/>
                    </a:cxn>
                    <a:cxn ang="0">
                      <a:pos x="connsiteX34" y="connsiteY34"/>
                    </a:cxn>
                    <a:cxn ang="0">
                      <a:pos x="connsiteX35" y="connsiteY35"/>
                    </a:cxn>
                    <a:cxn ang="0">
                      <a:pos x="connsiteX36" y="connsiteY36"/>
                    </a:cxn>
                    <a:cxn ang="0">
                      <a:pos x="connsiteX37" y="connsiteY37"/>
                    </a:cxn>
                    <a:cxn ang="0">
                      <a:pos x="connsiteX38" y="connsiteY38"/>
                    </a:cxn>
                    <a:cxn ang="0">
                      <a:pos x="connsiteX39" y="connsiteY39"/>
                    </a:cxn>
                    <a:cxn ang="0">
                      <a:pos x="connsiteX40" y="connsiteY40"/>
                    </a:cxn>
                    <a:cxn ang="0">
                      <a:pos x="connsiteX41" y="connsiteY41"/>
                    </a:cxn>
                    <a:cxn ang="0">
                      <a:pos x="connsiteX42" y="connsiteY42"/>
                    </a:cxn>
                    <a:cxn ang="0">
                      <a:pos x="connsiteX43" y="connsiteY43"/>
                    </a:cxn>
                    <a:cxn ang="0">
                      <a:pos x="connsiteX44" y="connsiteY44"/>
                    </a:cxn>
                    <a:cxn ang="0">
                      <a:pos x="connsiteX45" y="connsiteY45"/>
                    </a:cxn>
                    <a:cxn ang="0">
                      <a:pos x="connsiteX46" y="connsiteY46"/>
                    </a:cxn>
                    <a:cxn ang="0">
                      <a:pos x="connsiteX47" y="connsiteY47"/>
                    </a:cxn>
                    <a:cxn ang="0">
                      <a:pos x="connsiteX48" y="connsiteY48"/>
                    </a:cxn>
                    <a:cxn ang="0">
                      <a:pos x="connsiteX49" y="connsiteY49"/>
                    </a:cxn>
                    <a:cxn ang="0">
                      <a:pos x="connsiteX50" y="connsiteY50"/>
                    </a:cxn>
                    <a:cxn ang="0">
                      <a:pos x="connsiteX51" y="connsiteY51"/>
                    </a:cxn>
                  </a:cxnLst>
                  <a:rect l="l" t="t" r="r" b="b"/>
                  <a:pathLst>
                    <a:path w="91035" h="319343">
                      <a:moveTo>
                        <a:pt x="41029" y="256"/>
                      </a:moveTo>
                      <a:lnTo>
                        <a:pt x="41029" y="256"/>
                      </a:lnTo>
                      <a:cubicBezTo>
                        <a:pt x="45791" y="5812"/>
                        <a:pt x="50744" y="11211"/>
                        <a:pt x="55316" y="16925"/>
                      </a:cubicBezTo>
                      <a:cubicBezTo>
                        <a:pt x="57104" y="19160"/>
                        <a:pt x="58416" y="21739"/>
                        <a:pt x="60079" y="24068"/>
                      </a:cubicBezTo>
                      <a:cubicBezTo>
                        <a:pt x="62386" y="27297"/>
                        <a:pt x="64841" y="30418"/>
                        <a:pt x="67222" y="33593"/>
                      </a:cubicBezTo>
                      <a:cubicBezTo>
                        <a:pt x="73212" y="51557"/>
                        <a:pt x="65131" y="29408"/>
                        <a:pt x="74366" y="47881"/>
                      </a:cubicBezTo>
                      <a:cubicBezTo>
                        <a:pt x="84217" y="67585"/>
                        <a:pt x="67870" y="41712"/>
                        <a:pt x="81510" y="62168"/>
                      </a:cubicBezTo>
                      <a:cubicBezTo>
                        <a:pt x="88739" y="83857"/>
                        <a:pt x="77646" y="49589"/>
                        <a:pt x="86272" y="81218"/>
                      </a:cubicBezTo>
                      <a:cubicBezTo>
                        <a:pt x="87593" y="86061"/>
                        <a:pt x="91035" y="95506"/>
                        <a:pt x="91035" y="95506"/>
                      </a:cubicBezTo>
                      <a:cubicBezTo>
                        <a:pt x="90241" y="109000"/>
                        <a:pt x="89878" y="122526"/>
                        <a:pt x="88654" y="135987"/>
                      </a:cubicBezTo>
                      <a:cubicBezTo>
                        <a:pt x="88288" y="140018"/>
                        <a:pt x="86887" y="143893"/>
                        <a:pt x="86272" y="147893"/>
                      </a:cubicBezTo>
                      <a:cubicBezTo>
                        <a:pt x="85299" y="154218"/>
                        <a:pt x="85036" y="160647"/>
                        <a:pt x="83891" y="166943"/>
                      </a:cubicBezTo>
                      <a:cubicBezTo>
                        <a:pt x="83442" y="169413"/>
                        <a:pt x="82119" y="171652"/>
                        <a:pt x="81510" y="174087"/>
                      </a:cubicBezTo>
                      <a:cubicBezTo>
                        <a:pt x="75767" y="197061"/>
                        <a:pt x="82189" y="176816"/>
                        <a:pt x="76747" y="193137"/>
                      </a:cubicBezTo>
                      <a:cubicBezTo>
                        <a:pt x="75953" y="209012"/>
                        <a:pt x="75849" y="224937"/>
                        <a:pt x="74366" y="240762"/>
                      </a:cubicBezTo>
                      <a:cubicBezTo>
                        <a:pt x="73465" y="250376"/>
                        <a:pt x="72658" y="260176"/>
                        <a:pt x="69604" y="269337"/>
                      </a:cubicBezTo>
                      <a:cubicBezTo>
                        <a:pt x="68810" y="271718"/>
                        <a:pt x="68345" y="274236"/>
                        <a:pt x="67222" y="276481"/>
                      </a:cubicBezTo>
                      <a:cubicBezTo>
                        <a:pt x="65942" y="279041"/>
                        <a:pt x="64484" y="281601"/>
                        <a:pt x="62460" y="283625"/>
                      </a:cubicBezTo>
                      <a:cubicBezTo>
                        <a:pt x="60436" y="285649"/>
                        <a:pt x="57697" y="286800"/>
                        <a:pt x="55316" y="288387"/>
                      </a:cubicBezTo>
                      <a:cubicBezTo>
                        <a:pt x="43714" y="305792"/>
                        <a:pt x="57876" y="283907"/>
                        <a:pt x="45791" y="305056"/>
                      </a:cubicBezTo>
                      <a:cubicBezTo>
                        <a:pt x="44371" y="307541"/>
                        <a:pt x="43456" y="310683"/>
                        <a:pt x="41029" y="312200"/>
                      </a:cubicBezTo>
                      <a:cubicBezTo>
                        <a:pt x="37165" y="314615"/>
                        <a:pt x="22792" y="317949"/>
                        <a:pt x="17216" y="319343"/>
                      </a:cubicBezTo>
                      <a:cubicBezTo>
                        <a:pt x="14041" y="318549"/>
                        <a:pt x="8333" y="320171"/>
                        <a:pt x="7691" y="316962"/>
                      </a:cubicBezTo>
                      <a:cubicBezTo>
                        <a:pt x="4170" y="299358"/>
                        <a:pt x="7918" y="290084"/>
                        <a:pt x="12454" y="276481"/>
                      </a:cubicBezTo>
                      <a:cubicBezTo>
                        <a:pt x="11660" y="267750"/>
                        <a:pt x="13444" y="258380"/>
                        <a:pt x="10072" y="250287"/>
                      </a:cubicBezTo>
                      <a:cubicBezTo>
                        <a:pt x="8813" y="247266"/>
                        <a:pt x="2231" y="250712"/>
                        <a:pt x="547" y="247906"/>
                      </a:cubicBezTo>
                      <a:cubicBezTo>
                        <a:pt x="-1137" y="245100"/>
                        <a:pt x="1465" y="241308"/>
                        <a:pt x="2929" y="238381"/>
                      </a:cubicBezTo>
                      <a:cubicBezTo>
                        <a:pt x="5489" y="233261"/>
                        <a:pt x="12454" y="224093"/>
                        <a:pt x="12454" y="224093"/>
                      </a:cubicBezTo>
                      <a:cubicBezTo>
                        <a:pt x="15629" y="224887"/>
                        <a:pt x="18971" y="225186"/>
                        <a:pt x="21979" y="226475"/>
                      </a:cubicBezTo>
                      <a:cubicBezTo>
                        <a:pt x="24609" y="227602"/>
                        <a:pt x="26562" y="229957"/>
                        <a:pt x="29122" y="231237"/>
                      </a:cubicBezTo>
                      <a:cubicBezTo>
                        <a:pt x="31367" y="232359"/>
                        <a:pt x="33885" y="232824"/>
                        <a:pt x="36266" y="233618"/>
                      </a:cubicBezTo>
                      <a:cubicBezTo>
                        <a:pt x="38647" y="232031"/>
                        <a:pt x="41622" y="231091"/>
                        <a:pt x="43410" y="228856"/>
                      </a:cubicBezTo>
                      <a:cubicBezTo>
                        <a:pt x="44978" y="226896"/>
                        <a:pt x="45436" y="224197"/>
                        <a:pt x="45791" y="221712"/>
                      </a:cubicBezTo>
                      <a:cubicBezTo>
                        <a:pt x="47031" y="213033"/>
                        <a:pt x="46648" y="204152"/>
                        <a:pt x="48172" y="195518"/>
                      </a:cubicBezTo>
                      <a:cubicBezTo>
                        <a:pt x="49044" y="190574"/>
                        <a:pt x="52110" y="186183"/>
                        <a:pt x="52935" y="181231"/>
                      </a:cubicBezTo>
                      <a:cubicBezTo>
                        <a:pt x="53729" y="176468"/>
                        <a:pt x="54269" y="171656"/>
                        <a:pt x="55316" y="166943"/>
                      </a:cubicBezTo>
                      <a:cubicBezTo>
                        <a:pt x="55860" y="164493"/>
                        <a:pt x="57088" y="162235"/>
                        <a:pt x="57697" y="159800"/>
                      </a:cubicBezTo>
                      <a:cubicBezTo>
                        <a:pt x="58679" y="155873"/>
                        <a:pt x="59285" y="151862"/>
                        <a:pt x="60079" y="147893"/>
                      </a:cubicBezTo>
                      <a:cubicBezTo>
                        <a:pt x="47570" y="129133"/>
                        <a:pt x="62868" y="147984"/>
                        <a:pt x="19597" y="138368"/>
                      </a:cubicBezTo>
                      <a:cubicBezTo>
                        <a:pt x="16310" y="137638"/>
                        <a:pt x="14835" y="133606"/>
                        <a:pt x="12454" y="131225"/>
                      </a:cubicBezTo>
                      <a:cubicBezTo>
                        <a:pt x="13248" y="127256"/>
                        <a:pt x="13853" y="123245"/>
                        <a:pt x="14835" y="119318"/>
                      </a:cubicBezTo>
                      <a:cubicBezTo>
                        <a:pt x="15444" y="116883"/>
                        <a:pt x="14931" y="113214"/>
                        <a:pt x="17216" y="112175"/>
                      </a:cubicBezTo>
                      <a:cubicBezTo>
                        <a:pt x="24585" y="108825"/>
                        <a:pt x="33091" y="109000"/>
                        <a:pt x="41029" y="107412"/>
                      </a:cubicBezTo>
                      <a:cubicBezTo>
                        <a:pt x="41823" y="105031"/>
                        <a:pt x="43410" y="102778"/>
                        <a:pt x="43410" y="100268"/>
                      </a:cubicBezTo>
                      <a:cubicBezTo>
                        <a:pt x="43410" y="89836"/>
                        <a:pt x="43283" y="81826"/>
                        <a:pt x="33885" y="76456"/>
                      </a:cubicBezTo>
                      <a:cubicBezTo>
                        <a:pt x="31043" y="74832"/>
                        <a:pt x="27535" y="74869"/>
                        <a:pt x="24360" y="74075"/>
                      </a:cubicBezTo>
                      <a:cubicBezTo>
                        <a:pt x="22772" y="71694"/>
                        <a:pt x="19913" y="69776"/>
                        <a:pt x="19597" y="66931"/>
                      </a:cubicBezTo>
                      <a:cubicBezTo>
                        <a:pt x="18130" y="53725"/>
                        <a:pt x="21635" y="52987"/>
                        <a:pt x="29122" y="45500"/>
                      </a:cubicBezTo>
                      <a:cubicBezTo>
                        <a:pt x="28328" y="40737"/>
                        <a:pt x="29883" y="34878"/>
                        <a:pt x="26741" y="31212"/>
                      </a:cubicBezTo>
                      <a:cubicBezTo>
                        <a:pt x="24107" y="28139"/>
                        <a:pt x="16218" y="32635"/>
                        <a:pt x="14835" y="28831"/>
                      </a:cubicBezTo>
                      <a:cubicBezTo>
                        <a:pt x="6044" y="4656"/>
                        <a:pt x="15209" y="7175"/>
                        <a:pt x="26741" y="256"/>
                      </a:cubicBezTo>
                      <a:cubicBezTo>
                        <a:pt x="27703" y="-321"/>
                        <a:pt x="38648" y="256"/>
                        <a:pt x="41029" y="256"/>
                      </a:cubicBezTo>
                      <a:close/>
                    </a:path>
                  </a:pathLst>
                </a:custGeom>
                <a:grpFill/>
                <a:ln w="19050">
                  <a:solidFill>
                    <a:schemeClr val="bg1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MY"/>
                </a:p>
              </p:txBody>
            </p:sp>
          </p:grpSp>
          <p:sp>
            <p:nvSpPr>
              <p:cNvPr id="118" name="Rectangle 117"/>
              <p:cNvSpPr/>
              <p:nvPr/>
            </p:nvSpPr>
            <p:spPr>
              <a:xfrm>
                <a:off x="3421830" y="2852936"/>
                <a:ext cx="73583" cy="161387"/>
              </a:xfrm>
              <a:prstGeom prst="rect">
                <a:avLst/>
              </a:prstGeom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GB" dirty="0" err="1" smtClean="0">
                  <a:solidFill>
                    <a:schemeClr val="tx1"/>
                  </a:solidFill>
                </a:endParaRPr>
              </a:p>
            </p:txBody>
          </p:sp>
        </p:grpSp>
        <p:sp>
          <p:nvSpPr>
            <p:cNvPr id="55" name="Rectangle 54"/>
            <p:cNvSpPr>
              <a:spLocks noChangeArrowheads="1"/>
            </p:cNvSpPr>
            <p:nvPr/>
          </p:nvSpPr>
          <p:spPr bwMode="gray">
            <a:xfrm>
              <a:off x="2267744" y="1392764"/>
              <a:ext cx="197169" cy="13849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900" dirty="0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ara</a:t>
              </a:r>
              <a:endParaRPr lang="tr-TR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6" name="Rectangle 55"/>
            <p:cNvSpPr>
              <a:spLocks noChangeArrowheads="1"/>
            </p:cNvSpPr>
            <p:nvPr/>
          </p:nvSpPr>
          <p:spPr bwMode="gray">
            <a:xfrm>
              <a:off x="4113907" y="2347147"/>
              <a:ext cx="47489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Kilimanjaro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7" name="Rectangle 56"/>
            <p:cNvSpPr>
              <a:spLocks noChangeArrowheads="1"/>
            </p:cNvSpPr>
            <p:nvPr/>
          </p:nvSpPr>
          <p:spPr bwMode="gray">
            <a:xfrm>
              <a:off x="3149194" y="2102629"/>
              <a:ext cx="30296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Arusha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8" name="Rectangle 57"/>
            <p:cNvSpPr>
              <a:spLocks noChangeArrowheads="1"/>
            </p:cNvSpPr>
            <p:nvPr/>
          </p:nvSpPr>
          <p:spPr bwMode="gray">
            <a:xfrm>
              <a:off x="4211960" y="3259475"/>
              <a:ext cx="27050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Tanga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59" name="Rectangle 58"/>
            <p:cNvSpPr>
              <a:spLocks noChangeArrowheads="1"/>
            </p:cNvSpPr>
            <p:nvPr/>
          </p:nvSpPr>
          <p:spPr bwMode="gray">
            <a:xfrm>
              <a:off x="4231862" y="5054957"/>
              <a:ext cx="20197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Lindi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0" name="Rectangle 59"/>
            <p:cNvSpPr>
              <a:spLocks noChangeArrowheads="1"/>
            </p:cNvSpPr>
            <p:nvPr/>
          </p:nvSpPr>
          <p:spPr bwMode="gray">
            <a:xfrm>
              <a:off x="4602805" y="5757926"/>
              <a:ext cx="31499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Mtwara</a:t>
              </a:r>
              <a:endParaRPr lang="tr-TR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1" name="Rectangle 60"/>
            <p:cNvSpPr>
              <a:spLocks noChangeArrowheads="1"/>
            </p:cNvSpPr>
            <p:nvPr/>
          </p:nvSpPr>
          <p:spPr bwMode="gray">
            <a:xfrm>
              <a:off x="3201779" y="5774124"/>
              <a:ext cx="35706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Ruvuma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2" name="Rectangle 61"/>
            <p:cNvSpPr>
              <a:spLocks noChangeArrowheads="1"/>
            </p:cNvSpPr>
            <p:nvPr/>
          </p:nvSpPr>
          <p:spPr bwMode="gray">
            <a:xfrm>
              <a:off x="2843195" y="4221777"/>
              <a:ext cx="23924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Iringa</a:t>
              </a:r>
              <a:endParaRPr lang="tr-TR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3" name="Rectangle 62"/>
            <p:cNvSpPr>
              <a:spLocks noChangeArrowheads="1"/>
            </p:cNvSpPr>
            <p:nvPr/>
          </p:nvSpPr>
          <p:spPr bwMode="gray">
            <a:xfrm>
              <a:off x="3713049" y="4046845"/>
              <a:ext cx="40996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Morogoro</a:t>
              </a:r>
              <a:endParaRPr lang="tr-TR" sz="200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4" name="Rectangle 63"/>
            <p:cNvSpPr>
              <a:spLocks noChangeArrowheads="1"/>
            </p:cNvSpPr>
            <p:nvPr/>
          </p:nvSpPr>
          <p:spPr bwMode="gray">
            <a:xfrm>
              <a:off x="4427984" y="4339595"/>
              <a:ext cx="26088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Pwani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5" name="Rectangle 64"/>
            <p:cNvSpPr>
              <a:spLocks noChangeArrowheads="1"/>
            </p:cNvSpPr>
            <p:nvPr/>
          </p:nvSpPr>
          <p:spPr bwMode="gray">
            <a:xfrm>
              <a:off x="4842911" y="3851559"/>
              <a:ext cx="64440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Dar </a:t>
              </a:r>
              <a:r>
                <a:rPr lang="en-US" sz="1000" dirty="0" err="1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Es</a:t>
              </a:r>
              <a:r>
                <a:rPr lang="en-US" sz="1000" dirty="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 Salaam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6" name="Rectangle 65"/>
            <p:cNvSpPr>
              <a:spLocks noChangeArrowheads="1"/>
            </p:cNvSpPr>
            <p:nvPr/>
          </p:nvSpPr>
          <p:spPr bwMode="gray">
            <a:xfrm>
              <a:off x="3129213" y="3504056"/>
              <a:ext cx="36187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Dodoma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7" name="Rectangle 66"/>
            <p:cNvSpPr>
              <a:spLocks noChangeArrowheads="1"/>
            </p:cNvSpPr>
            <p:nvPr/>
          </p:nvSpPr>
          <p:spPr bwMode="gray">
            <a:xfrm>
              <a:off x="2483768" y="3398773"/>
              <a:ext cx="31859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ingida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8" name="Rectangle 67"/>
            <p:cNvSpPr>
              <a:spLocks noChangeArrowheads="1"/>
            </p:cNvSpPr>
            <p:nvPr/>
          </p:nvSpPr>
          <p:spPr bwMode="gray">
            <a:xfrm>
              <a:off x="975275" y="4483611"/>
              <a:ext cx="29335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Rukwa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69" name="Rectangle 68"/>
            <p:cNvSpPr>
              <a:spLocks noChangeArrowheads="1"/>
            </p:cNvSpPr>
            <p:nvPr/>
          </p:nvSpPr>
          <p:spPr bwMode="gray">
            <a:xfrm>
              <a:off x="1989866" y="4622909"/>
              <a:ext cx="28733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Mbeya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0" name="Rectangle 69"/>
            <p:cNvSpPr>
              <a:spLocks noChangeArrowheads="1"/>
            </p:cNvSpPr>
            <p:nvPr/>
          </p:nvSpPr>
          <p:spPr bwMode="gray">
            <a:xfrm>
              <a:off x="467544" y="2971443"/>
              <a:ext cx="32460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Kigoma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1" name="Rectangle 70"/>
            <p:cNvSpPr>
              <a:spLocks noChangeArrowheads="1"/>
            </p:cNvSpPr>
            <p:nvPr/>
          </p:nvSpPr>
          <p:spPr bwMode="gray">
            <a:xfrm>
              <a:off x="1538380" y="3187467"/>
              <a:ext cx="30296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Tabora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2" name="Rectangle 71"/>
            <p:cNvSpPr>
              <a:spLocks noChangeArrowheads="1"/>
            </p:cNvSpPr>
            <p:nvPr/>
          </p:nvSpPr>
          <p:spPr bwMode="gray">
            <a:xfrm>
              <a:off x="1656065" y="2434181"/>
              <a:ext cx="450845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hinyanga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3" name="Rectangle 72"/>
            <p:cNvSpPr>
              <a:spLocks noChangeArrowheads="1"/>
            </p:cNvSpPr>
            <p:nvPr/>
          </p:nvSpPr>
          <p:spPr bwMode="gray">
            <a:xfrm>
              <a:off x="986046" y="1530442"/>
              <a:ext cx="307777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Kagera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74" name="Rectangle 73"/>
            <p:cNvSpPr>
              <a:spLocks noChangeArrowheads="1"/>
            </p:cNvSpPr>
            <p:nvPr/>
          </p:nvSpPr>
          <p:spPr bwMode="gray">
            <a:xfrm>
              <a:off x="1475656" y="1742589"/>
              <a:ext cx="357069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Mwanza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09" name="Rectangle 108"/>
            <p:cNvSpPr>
              <a:spLocks noChangeArrowheads="1"/>
            </p:cNvSpPr>
            <p:nvPr/>
          </p:nvSpPr>
          <p:spPr bwMode="gray">
            <a:xfrm>
              <a:off x="2267744" y="2174637"/>
              <a:ext cx="288541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Simiyu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0" name="Rectangle 109"/>
            <p:cNvSpPr>
              <a:spLocks noChangeArrowheads="1"/>
            </p:cNvSpPr>
            <p:nvPr/>
          </p:nvSpPr>
          <p:spPr bwMode="gray">
            <a:xfrm>
              <a:off x="1199939" y="2318653"/>
              <a:ext cx="22842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Geita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1" name="Rectangle 110"/>
            <p:cNvSpPr>
              <a:spLocks noChangeArrowheads="1"/>
            </p:cNvSpPr>
            <p:nvPr/>
          </p:nvSpPr>
          <p:spPr bwMode="gray">
            <a:xfrm>
              <a:off x="3563888" y="2966725"/>
              <a:ext cx="37269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Manyara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2" name="Rectangle 111"/>
            <p:cNvSpPr>
              <a:spLocks noChangeArrowheads="1"/>
            </p:cNvSpPr>
            <p:nvPr/>
          </p:nvSpPr>
          <p:spPr bwMode="gray">
            <a:xfrm>
              <a:off x="899592" y="3686805"/>
              <a:ext cx="265698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chemeClr val="bg1"/>
                  </a:solidFill>
                  <a:latin typeface="Arial" pitchFamily="34" charset="0"/>
                  <a:cs typeface="Arial" pitchFamily="34" charset="0"/>
                </a:rPr>
                <a:t>Katavi</a:t>
              </a:r>
              <a:endParaRPr lang="tr-TR" sz="2000" dirty="0">
                <a:solidFill>
                  <a:schemeClr val="bg1"/>
                </a:solidFill>
                <a:latin typeface="Arial" pitchFamily="34" charset="0"/>
                <a:cs typeface="Arial" pitchFamily="34" charset="0"/>
              </a:endParaRPr>
            </a:p>
          </p:txBody>
        </p:sp>
        <p:sp>
          <p:nvSpPr>
            <p:cNvPr id="113" name="Rectangle 112"/>
            <p:cNvSpPr>
              <a:spLocks noChangeArrowheads="1"/>
            </p:cNvSpPr>
            <p:nvPr/>
          </p:nvSpPr>
          <p:spPr bwMode="gray">
            <a:xfrm>
              <a:off x="2483768" y="5126965"/>
              <a:ext cx="330620" cy="1538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none" lIns="0" tIns="0" rIns="0" bIns="0" numCol="1" anchor="t" anchorCtr="0" compatLnSpc="1">
              <a:prstTxWarp prst="textNoShape">
                <a:avLst/>
              </a:prstTxWarp>
              <a:spAutoFit/>
            </a:bodyPr>
            <a:lstStyle/>
            <a:p>
              <a:pPr defTabSz="932863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000" dirty="0" err="1">
                  <a:solidFill>
                    <a:srgbClr val="323232"/>
                  </a:solidFill>
                  <a:latin typeface="Arial" pitchFamily="34" charset="0"/>
                  <a:cs typeface="Arial" pitchFamily="34" charset="0"/>
                </a:rPr>
                <a:t>Njombe</a:t>
              </a:r>
              <a:endParaRPr lang="tr-TR" sz="2000" dirty="0">
                <a:latin typeface="Arial" pitchFamily="34" charset="0"/>
                <a:cs typeface="Arial" pitchFamily="34" charset="0"/>
              </a:endParaRPr>
            </a:p>
          </p:txBody>
        </p:sp>
      </p:grpSp>
      <p:sp>
        <p:nvSpPr>
          <p:cNvPr id="121" name="Rectangle 120"/>
          <p:cNvSpPr/>
          <p:nvPr/>
        </p:nvSpPr>
        <p:spPr>
          <a:xfrm>
            <a:off x="7619984" y="1304924"/>
            <a:ext cx="4224469" cy="572187"/>
          </a:xfrm>
          <a:prstGeom prst="rect">
            <a:avLst/>
          </a:prstGeom>
          <a:solidFill>
            <a:schemeClr val="tx1">
              <a:lumMod val="75000"/>
              <a:lumOff val="2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Assessment and rating of health facilities</a:t>
            </a:r>
          </a:p>
        </p:txBody>
      </p:sp>
      <p:sp>
        <p:nvSpPr>
          <p:cNvPr id="122" name="Rectangle 121"/>
          <p:cNvSpPr/>
          <p:nvPr/>
        </p:nvSpPr>
        <p:spPr>
          <a:xfrm>
            <a:off x="7632172" y="3645025"/>
            <a:ext cx="4224469" cy="572187"/>
          </a:xfrm>
          <a:prstGeom prst="rect">
            <a:avLst/>
          </a:prstGeom>
          <a:solidFill>
            <a:srgbClr val="C00000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ctr"/>
          <a:lstStyle/>
          <a:p>
            <a:pPr algn="ctr"/>
            <a:r>
              <a:rPr lang="en-GB" sz="1400" b="1" dirty="0">
                <a:solidFill>
                  <a:schemeClr val="bg1"/>
                </a:solidFill>
              </a:rPr>
              <a:t>Specific strengthening programmes</a:t>
            </a:r>
          </a:p>
        </p:txBody>
      </p:sp>
      <p:sp>
        <p:nvSpPr>
          <p:cNvPr id="123" name="Rectangle 122"/>
          <p:cNvSpPr/>
          <p:nvPr/>
        </p:nvSpPr>
        <p:spPr>
          <a:xfrm>
            <a:off x="7619984" y="1863984"/>
            <a:ext cx="4224469" cy="1622038"/>
          </a:xfrm>
          <a:prstGeom prst="rect">
            <a:avLst/>
          </a:prstGeom>
          <a:solidFill>
            <a:schemeClr val="bg1">
              <a:lumMod val="85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t"/>
          <a:lstStyle/>
          <a:p>
            <a:r>
              <a:rPr lang="en-GB" sz="1400" dirty="0">
                <a:solidFill>
                  <a:schemeClr val="tx1"/>
                </a:solidFill>
              </a:rPr>
              <a:t>Number of regions: </a:t>
            </a:r>
          </a:p>
          <a:p>
            <a:r>
              <a:rPr lang="en-GB" sz="1400" b="1" dirty="0">
                <a:solidFill>
                  <a:schemeClr val="tx1"/>
                </a:solidFill>
              </a:rPr>
              <a:t>25 </a:t>
            </a:r>
            <a:r>
              <a:rPr lang="en-GB" sz="1200" dirty="0">
                <a:solidFill>
                  <a:schemeClr val="tx1"/>
                </a:solidFill>
              </a:rPr>
              <a:t>(all mainland regions)</a:t>
            </a:r>
          </a:p>
          <a:p>
            <a:endParaRPr lang="en-GB" sz="1400" dirty="0">
              <a:solidFill>
                <a:schemeClr val="tx1"/>
              </a:solidFill>
            </a:endParaRPr>
          </a:p>
          <a:p>
            <a:r>
              <a:rPr lang="en-GB" sz="1400" dirty="0">
                <a:solidFill>
                  <a:schemeClr val="tx1"/>
                </a:solidFill>
              </a:rPr>
              <a:t>Number of health </a:t>
            </a:r>
            <a:r>
              <a:rPr lang="en-GB" sz="1400" dirty="0" smtClean="0">
                <a:solidFill>
                  <a:schemeClr val="tx1"/>
                </a:solidFill>
              </a:rPr>
              <a:t>facilities = </a:t>
            </a:r>
            <a:r>
              <a:rPr lang="en-GB" sz="1600" b="1" dirty="0" smtClean="0">
                <a:solidFill>
                  <a:schemeClr val="tx1"/>
                </a:solidFill>
              </a:rPr>
              <a:t>6760</a:t>
            </a:r>
            <a:endParaRPr lang="en-GB" sz="1600" dirty="0">
              <a:solidFill>
                <a:schemeClr val="tx1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GB" sz="1400" dirty="0" smtClean="0">
                <a:solidFill>
                  <a:schemeClr val="tx1"/>
                </a:solidFill>
              </a:rPr>
              <a:t>5824 dispensarie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GB" sz="1400" dirty="0" smtClean="0">
                <a:solidFill>
                  <a:schemeClr val="tx1"/>
                </a:solidFill>
              </a:rPr>
              <a:t>716 </a:t>
            </a:r>
            <a:r>
              <a:rPr lang="en-GB" sz="1400" dirty="0">
                <a:solidFill>
                  <a:schemeClr val="tx1"/>
                </a:solidFill>
              </a:rPr>
              <a:t>health </a:t>
            </a:r>
            <a:r>
              <a:rPr lang="en-GB" sz="1400" dirty="0" smtClean="0">
                <a:solidFill>
                  <a:schemeClr val="tx1"/>
                </a:solidFill>
              </a:rPr>
              <a:t>centre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GB" sz="1400" dirty="0" smtClean="0">
                <a:solidFill>
                  <a:schemeClr val="tx1"/>
                </a:solidFill>
              </a:rPr>
              <a:t>220 </a:t>
            </a:r>
            <a:r>
              <a:rPr lang="en-GB" sz="1400" dirty="0">
                <a:solidFill>
                  <a:schemeClr val="tx1"/>
                </a:solidFill>
              </a:rPr>
              <a:t>district hospitals</a:t>
            </a:r>
          </a:p>
        </p:txBody>
      </p:sp>
      <p:sp>
        <p:nvSpPr>
          <p:cNvPr id="124" name="Rectangle 123"/>
          <p:cNvSpPr/>
          <p:nvPr/>
        </p:nvSpPr>
        <p:spPr>
          <a:xfrm>
            <a:off x="7633976" y="4226354"/>
            <a:ext cx="4224469" cy="192327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6" rIns="91430" bIns="45716" rtlCol="0" anchor="t"/>
          <a:lstStyle/>
          <a:p>
            <a:r>
              <a:rPr lang="en-GB" sz="1400" dirty="0">
                <a:solidFill>
                  <a:schemeClr val="tx1"/>
                </a:solidFill>
              </a:rPr>
              <a:t>Number of regions: </a:t>
            </a:r>
            <a:endParaRPr lang="en-GB" sz="1400" dirty="0" smtClean="0">
              <a:solidFill>
                <a:schemeClr val="tx1"/>
              </a:solidFill>
            </a:endParaRPr>
          </a:p>
          <a:p>
            <a:r>
              <a:rPr lang="en-GB" sz="1400" b="1" dirty="0" smtClean="0">
                <a:solidFill>
                  <a:srgbClr val="C00000"/>
                </a:solidFill>
              </a:rPr>
              <a:t>*12</a:t>
            </a:r>
            <a:r>
              <a:rPr lang="en-GB" sz="1400" b="1" dirty="0" smtClean="0">
                <a:solidFill>
                  <a:schemeClr val="tx1"/>
                </a:solidFill>
              </a:rPr>
              <a:t> </a:t>
            </a:r>
            <a:r>
              <a:rPr lang="en-GB" sz="1200" dirty="0" smtClean="0">
                <a:solidFill>
                  <a:schemeClr val="tx1"/>
                </a:solidFill>
              </a:rPr>
              <a:t>(regions covered by HRH Distribution, Health Commodities &amp; MNCH work streams)</a:t>
            </a:r>
          </a:p>
          <a:p>
            <a:endParaRPr lang="en-GB" sz="1400" dirty="0">
              <a:solidFill>
                <a:schemeClr val="tx1"/>
              </a:solidFill>
            </a:endParaRPr>
          </a:p>
          <a:p>
            <a:r>
              <a:rPr lang="en-GB" sz="1400" dirty="0">
                <a:solidFill>
                  <a:schemeClr val="tx1"/>
                </a:solidFill>
              </a:rPr>
              <a:t>Number of health </a:t>
            </a:r>
            <a:r>
              <a:rPr lang="en-GB" sz="1400" dirty="0" smtClean="0">
                <a:solidFill>
                  <a:schemeClr val="tx1"/>
                </a:solidFill>
              </a:rPr>
              <a:t>facilities = </a:t>
            </a:r>
            <a:r>
              <a:rPr lang="en-GB" sz="1600" b="1" dirty="0" smtClean="0">
                <a:solidFill>
                  <a:srgbClr val="C00000"/>
                </a:solidFill>
              </a:rPr>
              <a:t>3023</a:t>
            </a:r>
            <a:endParaRPr lang="en-GB" sz="1600" dirty="0">
              <a:solidFill>
                <a:schemeClr val="tx1"/>
              </a:solidFill>
            </a:endParaRPr>
          </a:p>
          <a:p>
            <a:pPr marL="285750" indent="-285750">
              <a:buFont typeface="Wingdings" pitchFamily="2" charset="2"/>
              <a:buChar char="ü"/>
            </a:pPr>
            <a:r>
              <a:rPr lang="en-GB" sz="1400" dirty="0" smtClean="0">
                <a:solidFill>
                  <a:schemeClr val="tx1"/>
                </a:solidFill>
              </a:rPr>
              <a:t>2605 dispensarie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GB" sz="1400" dirty="0" smtClean="0">
                <a:solidFill>
                  <a:schemeClr val="tx1"/>
                </a:solidFill>
              </a:rPr>
              <a:t>319 </a:t>
            </a:r>
            <a:r>
              <a:rPr lang="en-GB" sz="1400" dirty="0">
                <a:solidFill>
                  <a:schemeClr val="tx1"/>
                </a:solidFill>
              </a:rPr>
              <a:t>health </a:t>
            </a:r>
            <a:r>
              <a:rPr lang="en-GB" sz="1400" dirty="0" smtClean="0">
                <a:solidFill>
                  <a:schemeClr val="tx1"/>
                </a:solidFill>
              </a:rPr>
              <a:t>centres</a:t>
            </a:r>
          </a:p>
          <a:p>
            <a:pPr marL="285750" indent="-285750">
              <a:buFont typeface="Wingdings" pitchFamily="2" charset="2"/>
              <a:buChar char="ü"/>
            </a:pPr>
            <a:r>
              <a:rPr lang="en-GB" sz="1400" dirty="0" smtClean="0">
                <a:solidFill>
                  <a:schemeClr val="tx1"/>
                </a:solidFill>
              </a:rPr>
              <a:t>99 </a:t>
            </a:r>
            <a:r>
              <a:rPr lang="en-GB" sz="1400" dirty="0">
                <a:solidFill>
                  <a:schemeClr val="tx1"/>
                </a:solidFill>
              </a:rPr>
              <a:t>district hospitals</a:t>
            </a:r>
          </a:p>
        </p:txBody>
      </p:sp>
      <p:sp>
        <p:nvSpPr>
          <p:cNvPr id="114" name="Rectangle 113"/>
          <p:cNvSpPr/>
          <p:nvPr/>
        </p:nvSpPr>
        <p:spPr>
          <a:xfrm>
            <a:off x="80537" y="6320353"/>
            <a:ext cx="8016891" cy="280742"/>
          </a:xfrm>
          <a:prstGeom prst="rect">
            <a:avLst/>
          </a:prstGeom>
        </p:spPr>
        <p:txBody>
          <a:bodyPr wrap="square" lIns="91430" tIns="45716" rIns="91430" bIns="45716">
            <a:spAutoFit/>
          </a:bodyPr>
          <a:lstStyle/>
          <a:p>
            <a:r>
              <a:rPr lang="ms-MY" sz="1200" b="1" dirty="0"/>
              <a:t>* Regions may change after results of the nationwide assessment </a:t>
            </a:r>
            <a:endParaRPr lang="en-MY" sz="1200" b="1" dirty="0"/>
          </a:p>
        </p:txBody>
      </p:sp>
    </p:spTree>
    <p:extLst>
      <p:ext uri="{BB962C8B-B14F-4D97-AF65-F5344CB8AC3E}">
        <p14:creationId xmlns:p14="http://schemas.microsoft.com/office/powerpoint/2010/main" val="272149562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Table 12"/>
          <p:cNvGraphicFramePr>
            <a:graphicFrameLocks noGrp="1"/>
          </p:cNvGraphicFramePr>
          <p:nvPr>
            <p:extLst/>
          </p:nvPr>
        </p:nvGraphicFramePr>
        <p:xfrm>
          <a:off x="2009777" y="1254473"/>
          <a:ext cx="3765368" cy="528685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3765368"/>
              </a:tblGrid>
              <a:tr h="528685">
                <a:tc>
                  <a:txBody>
                    <a:bodyPr/>
                    <a:lstStyle/>
                    <a:p>
                      <a:pPr algn="ctr"/>
                      <a:r>
                        <a:rPr lang="en-US" sz="1400" dirty="0" smtClean="0"/>
                        <a:t>National Team</a:t>
                      </a:r>
                    </a:p>
                    <a:p>
                      <a:pPr algn="ctr"/>
                      <a:r>
                        <a:rPr lang="en-US" sz="1400" dirty="0" smtClean="0"/>
                        <a:t>(</a:t>
                      </a:r>
                      <a:r>
                        <a:rPr lang="en-GB" sz="1400" i="1" dirty="0" smtClean="0"/>
                        <a:t>HSIQAS)</a:t>
                      </a:r>
                      <a:endParaRPr lang="en-MY" sz="1400" dirty="0"/>
                    </a:p>
                  </a:txBody>
                  <a:tcPr marL="124404" marR="124404" marT="46649" marB="46649"/>
                </a:tc>
              </a:tr>
            </a:tbl>
          </a:graphicData>
        </a:graphic>
      </p:graphicFrame>
      <p:grpSp>
        <p:nvGrpSpPr>
          <p:cNvPr id="14" name="Group 13"/>
          <p:cNvGrpSpPr/>
          <p:nvPr/>
        </p:nvGrpSpPr>
        <p:grpSpPr>
          <a:xfrm>
            <a:off x="3274579" y="1832467"/>
            <a:ext cx="1247036" cy="370212"/>
            <a:chOff x="3985574" y="2420203"/>
            <a:chExt cx="916604" cy="362842"/>
          </a:xfrm>
        </p:grpSpPr>
        <p:pic>
          <p:nvPicPr>
            <p:cNvPr id="33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5574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4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9076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5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0374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36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9539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5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8676" y="2420203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46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9105" y="242304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5" name="TextBox 14"/>
          <p:cNvSpPr txBox="1"/>
          <p:nvPr/>
        </p:nvSpPr>
        <p:spPr>
          <a:xfrm>
            <a:off x="437355" y="2202680"/>
            <a:ext cx="6853452" cy="494307"/>
          </a:xfrm>
          <a:prstGeom prst="rect">
            <a:avLst/>
          </a:prstGeom>
          <a:noFill/>
        </p:spPr>
        <p:txBody>
          <a:bodyPr wrap="square" lIns="93286" tIns="46643" rIns="93286" bIns="46643" rtlCol="0">
            <a:spAutoFit/>
          </a:bodyPr>
          <a:lstStyle/>
          <a:p>
            <a:pPr algn="ctr" defTabSz="914303"/>
            <a:r>
              <a:rPr lang="en-US" sz="1400" b="1" dirty="0" smtClean="0">
                <a:solidFill>
                  <a:srgbClr val="C00000"/>
                </a:solidFill>
              </a:rPr>
              <a:t>160 </a:t>
            </a:r>
            <a:r>
              <a:rPr lang="en-US" sz="1400" b="1" dirty="0">
                <a:solidFill>
                  <a:srgbClr val="C00000"/>
                </a:solidFill>
              </a:rPr>
              <a:t>people</a:t>
            </a:r>
          </a:p>
          <a:p>
            <a:pPr algn="ctr" defTabSz="914303"/>
            <a:r>
              <a:rPr lang="en-US" sz="1200" dirty="0" smtClean="0">
                <a:solidFill>
                  <a:srgbClr val="C00000"/>
                </a:solidFill>
              </a:rPr>
              <a:t>Each member of National Team is assign to one council as facilitator for star rating</a:t>
            </a:r>
            <a:endParaRPr lang="en-US" sz="1400" b="1" dirty="0">
              <a:solidFill>
                <a:srgbClr val="C00000"/>
              </a:solidFill>
            </a:endParaRPr>
          </a:p>
        </p:txBody>
      </p:sp>
      <p:sp>
        <p:nvSpPr>
          <p:cNvPr id="18" name="Rectangle 17"/>
          <p:cNvSpPr/>
          <p:nvPr/>
        </p:nvSpPr>
        <p:spPr>
          <a:xfrm>
            <a:off x="8114469" y="1159944"/>
            <a:ext cx="3661104" cy="1374298"/>
          </a:xfrm>
          <a:prstGeom prst="rect">
            <a:avLst/>
          </a:prstGeom>
          <a:solidFill>
            <a:schemeClr val="accent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t" anchorCtr="0"/>
          <a:lstStyle/>
          <a:p>
            <a:pPr marL="233216" indent="-233216" algn="just" defTabSz="914303">
              <a:buFontTx/>
              <a:buAutoNum type="arabicPeriod"/>
            </a:pPr>
            <a:r>
              <a:rPr lang="en-US" sz="1200" b="1" dirty="0" err="1">
                <a:solidFill>
                  <a:srgbClr val="000000"/>
                </a:solidFill>
              </a:rPr>
              <a:t>MoHSW</a:t>
            </a:r>
            <a:r>
              <a:rPr lang="en-US" sz="1200" b="1" dirty="0">
                <a:solidFill>
                  <a:srgbClr val="000000"/>
                </a:solidFill>
              </a:rPr>
              <a:t> (DCS, DPS, DHR)</a:t>
            </a:r>
          </a:p>
          <a:p>
            <a:pPr marL="233216" indent="-233216" algn="just" defTabSz="914303">
              <a:buFontTx/>
              <a:buAutoNum type="arabicPeriod"/>
            </a:pPr>
            <a:r>
              <a:rPr lang="en-US" sz="1200" b="1" dirty="0" err="1">
                <a:solidFill>
                  <a:srgbClr val="000000"/>
                </a:solidFill>
              </a:rPr>
              <a:t>Muhimbili</a:t>
            </a:r>
            <a:r>
              <a:rPr lang="en-US" sz="1200" b="1" dirty="0">
                <a:solidFill>
                  <a:srgbClr val="000000"/>
                </a:solidFill>
              </a:rPr>
              <a:t> National Hospital</a:t>
            </a:r>
          </a:p>
          <a:p>
            <a:pPr marL="233216" indent="-233216" algn="just" defTabSz="914303">
              <a:buFontTx/>
              <a:buAutoNum type="arabicPeriod"/>
            </a:pPr>
            <a:r>
              <a:rPr lang="en-US" sz="1200" b="1" dirty="0">
                <a:solidFill>
                  <a:srgbClr val="000000"/>
                </a:solidFill>
              </a:rPr>
              <a:t>National Institute for Medical Research</a:t>
            </a:r>
          </a:p>
          <a:p>
            <a:pPr marL="233216" indent="-233216" algn="just" defTabSz="914303">
              <a:buFontTx/>
              <a:buAutoNum type="arabicPeriod"/>
            </a:pPr>
            <a:r>
              <a:rPr lang="en-US" sz="1200" b="1" dirty="0">
                <a:solidFill>
                  <a:srgbClr val="000000"/>
                </a:solidFill>
              </a:rPr>
              <a:t>Medial Store Department </a:t>
            </a:r>
          </a:p>
          <a:p>
            <a:pPr marL="233216" indent="-233216" algn="just" defTabSz="914303">
              <a:buFontTx/>
              <a:buAutoNum type="arabicPeriod"/>
            </a:pPr>
            <a:r>
              <a:rPr lang="en-US" sz="1200" b="1" dirty="0">
                <a:solidFill>
                  <a:srgbClr val="000000"/>
                </a:solidFill>
              </a:rPr>
              <a:t>Tanzania Food and Drug Authority</a:t>
            </a:r>
            <a:endParaRPr lang="en-MY" sz="1200" b="1" dirty="0" err="1">
              <a:solidFill>
                <a:srgbClr val="000000"/>
              </a:solidFill>
            </a:endParaRPr>
          </a:p>
        </p:txBody>
      </p:sp>
      <p:grpSp>
        <p:nvGrpSpPr>
          <p:cNvPr id="56" name="Group 55"/>
          <p:cNvGrpSpPr/>
          <p:nvPr/>
        </p:nvGrpSpPr>
        <p:grpSpPr>
          <a:xfrm>
            <a:off x="3312795" y="3418828"/>
            <a:ext cx="1247036" cy="370212"/>
            <a:chOff x="3985574" y="2420203"/>
            <a:chExt cx="916604" cy="362842"/>
          </a:xfrm>
        </p:grpSpPr>
        <p:pic>
          <p:nvPicPr>
            <p:cNvPr id="57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5574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8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9076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9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0374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0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9539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1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8676" y="2420203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2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9105" y="242304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63" name="TextBox 62"/>
          <p:cNvSpPr txBox="1"/>
          <p:nvPr/>
        </p:nvSpPr>
        <p:spPr>
          <a:xfrm>
            <a:off x="2536708" y="3691309"/>
            <a:ext cx="3177877" cy="525084"/>
          </a:xfrm>
          <a:prstGeom prst="rect">
            <a:avLst/>
          </a:prstGeom>
          <a:noFill/>
        </p:spPr>
        <p:txBody>
          <a:bodyPr wrap="square" lIns="93286" tIns="46643" rIns="93286" bIns="46643" rtlCol="0">
            <a:spAutoFit/>
          </a:bodyPr>
          <a:lstStyle/>
          <a:p>
            <a:pPr algn="ctr" defTabSz="914303"/>
            <a:r>
              <a:rPr lang="en-US" sz="1400" b="1" dirty="0" smtClean="0">
                <a:solidFill>
                  <a:srgbClr val="C00000"/>
                </a:solidFill>
              </a:rPr>
              <a:t>RHMT  and CHMT members to accompany assessors</a:t>
            </a:r>
            <a:endParaRPr lang="en-MY" sz="1200" dirty="0">
              <a:solidFill>
                <a:srgbClr val="C00000"/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7920203" y="2924776"/>
            <a:ext cx="2217048" cy="648195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marL="93633" lvl="1" defTabSz="912522" eaLnBrk="0" hangingPunct="0">
              <a:buClr>
                <a:srgbClr val="00597E"/>
              </a:buClr>
              <a:buSzPct val="125000"/>
            </a:pPr>
            <a:r>
              <a:rPr lang="en-US" sz="1200" b="1" dirty="0">
                <a:solidFill>
                  <a:srgbClr val="1F497D"/>
                </a:solidFill>
              </a:rPr>
              <a:t>Total number of Hospitals at district level, Health Centers &amp; Dispensaries</a:t>
            </a:r>
          </a:p>
        </p:txBody>
      </p:sp>
      <p:sp>
        <p:nvSpPr>
          <p:cNvPr id="38" name="Oval 173"/>
          <p:cNvSpPr>
            <a:spLocks noChangeArrowheads="1"/>
          </p:cNvSpPr>
          <p:nvPr/>
        </p:nvSpPr>
        <p:spPr bwMode="auto">
          <a:xfrm>
            <a:off x="10320469" y="3046782"/>
            <a:ext cx="1322403" cy="367312"/>
          </a:xfrm>
          <a:prstGeom prst="ellipse">
            <a:avLst/>
          </a:pr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wrap="none" lIns="93286" tIns="46643" rIns="93286" bIns="46643" anchor="ctr"/>
          <a:lstStyle/>
          <a:p>
            <a:pPr algn="ctr" defTabSz="914303"/>
            <a:r>
              <a:rPr lang="en-GB" sz="1400" b="1" dirty="0" smtClean="0">
                <a:solidFill>
                  <a:srgbClr val="FFFFFF"/>
                </a:solidFill>
              </a:rPr>
              <a:t>6760</a:t>
            </a:r>
            <a:endParaRPr lang="en-US" sz="1400" b="1" dirty="0">
              <a:solidFill>
                <a:srgbClr val="FFFFFF"/>
              </a:solidFill>
            </a:endParaRPr>
          </a:p>
        </p:txBody>
      </p:sp>
      <p:sp>
        <p:nvSpPr>
          <p:cNvPr id="40" name="Oval 173"/>
          <p:cNvSpPr>
            <a:spLocks noChangeArrowheads="1"/>
          </p:cNvSpPr>
          <p:nvPr/>
        </p:nvSpPr>
        <p:spPr bwMode="auto">
          <a:xfrm>
            <a:off x="10344865" y="4141685"/>
            <a:ext cx="1322403" cy="367312"/>
          </a:xfrm>
          <a:prstGeom prst="ellipse">
            <a:avLst/>
          </a:pr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wrap="none" lIns="93286" tIns="46643" rIns="93286" bIns="46643" anchor="ctr"/>
          <a:lstStyle/>
          <a:p>
            <a:pPr algn="ctr" defTabSz="914303"/>
            <a:r>
              <a:rPr lang="en-GB" sz="1400" b="1" dirty="0" smtClean="0">
                <a:solidFill>
                  <a:srgbClr val="FFFFFF"/>
                </a:solidFill>
              </a:rPr>
              <a:t>1104</a:t>
            </a:r>
            <a:endParaRPr lang="en-US" sz="1400" b="1" dirty="0">
              <a:solidFill>
                <a:srgbClr val="FFFFFF"/>
              </a:solidFill>
            </a:endParaRPr>
          </a:p>
        </p:txBody>
      </p:sp>
      <p:graphicFrame>
        <p:nvGraphicFramePr>
          <p:cNvPr id="41" name="Table 4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6269481"/>
              </p:ext>
            </p:extLst>
          </p:nvPr>
        </p:nvGraphicFramePr>
        <p:xfrm>
          <a:off x="1103459" y="4251366"/>
          <a:ext cx="5448695" cy="306658"/>
        </p:xfrm>
        <a:graphic>
          <a:graphicData uri="http://schemas.openxmlformats.org/drawingml/2006/table">
            <a:tbl>
              <a:tblPr firstRow="1" bandRow="1">
                <a:tableStyleId>{F2DE63D5-997A-4646-A377-4702673A728D}</a:tableStyleId>
              </a:tblPr>
              <a:tblGrid>
                <a:gridCol w="5448695"/>
              </a:tblGrid>
              <a:tr h="221714">
                <a:tc>
                  <a:txBody>
                    <a:bodyPr/>
                    <a:lstStyle/>
                    <a:p>
                      <a:pPr algn="ctr"/>
                      <a:r>
                        <a:rPr lang="en-US" sz="1400" baseline="0" dirty="0" smtClean="0"/>
                        <a:t>Council Team</a:t>
                      </a:r>
                      <a:endParaRPr lang="en-US" sz="1400" dirty="0" smtClean="0"/>
                    </a:p>
                  </a:txBody>
                  <a:tcPr marL="124404" marR="124404" marT="46649" marB="46649"/>
                </a:tc>
              </a:tr>
            </a:tbl>
          </a:graphicData>
        </a:graphic>
      </p:graphicFrame>
      <p:sp>
        <p:nvSpPr>
          <p:cNvPr id="93" name="Right Arrow 92"/>
          <p:cNvSpPr/>
          <p:nvPr/>
        </p:nvSpPr>
        <p:spPr>
          <a:xfrm>
            <a:off x="6864097" y="1242265"/>
            <a:ext cx="1002385" cy="1440000"/>
          </a:xfrm>
          <a:prstGeom prst="rightArrow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defTabSz="914303"/>
            <a:endParaRPr lang="en-MY" dirty="0" err="1" smtClean="0">
              <a:solidFill>
                <a:srgbClr val="000000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386536" y="2780928"/>
            <a:ext cx="11500933" cy="0"/>
          </a:xfrm>
          <a:prstGeom prst="line">
            <a:avLst/>
          </a:prstGeom>
          <a:ln>
            <a:solidFill>
              <a:schemeClr val="tx2"/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8" name="Rectangle 97"/>
          <p:cNvSpPr/>
          <p:nvPr/>
        </p:nvSpPr>
        <p:spPr>
          <a:xfrm>
            <a:off x="7920204" y="5793896"/>
            <a:ext cx="1805213" cy="463529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marL="95554" lvl="1" defTabSz="931244" eaLnBrk="0" hangingPunct="0">
              <a:buClr>
                <a:srgbClr val="00597E"/>
              </a:buClr>
              <a:buSzPct val="125000"/>
            </a:pPr>
            <a:r>
              <a:rPr lang="en-US" sz="1200" b="1" dirty="0">
                <a:solidFill>
                  <a:srgbClr val="002960"/>
                </a:solidFill>
              </a:rPr>
              <a:t>Estimated assessment duration</a:t>
            </a:r>
          </a:p>
        </p:txBody>
      </p:sp>
      <p:sp>
        <p:nvSpPr>
          <p:cNvPr id="99" name="Oval 173"/>
          <p:cNvSpPr>
            <a:spLocks noChangeArrowheads="1"/>
          </p:cNvSpPr>
          <p:nvPr/>
        </p:nvSpPr>
        <p:spPr bwMode="auto">
          <a:xfrm>
            <a:off x="9970257" y="5824722"/>
            <a:ext cx="2031371" cy="540340"/>
          </a:xfrm>
          <a:prstGeom prst="roundRect">
            <a:avLst/>
          </a:pr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wrap="none" lIns="93286" tIns="46643" rIns="93286" bIns="46643" anchor="ctr"/>
          <a:lstStyle/>
          <a:p>
            <a:pPr algn="ctr" defTabSz="914303"/>
            <a:r>
              <a:rPr lang="en-GB" sz="1400" b="1" dirty="0">
                <a:solidFill>
                  <a:srgbClr val="FFFFFF"/>
                </a:solidFill>
              </a:rPr>
              <a:t>~ 4 weeks</a:t>
            </a:r>
          </a:p>
          <a:p>
            <a:pPr algn="ctr" defTabSz="914303"/>
            <a:r>
              <a:rPr lang="en-GB" sz="1100" b="1" i="1" dirty="0">
                <a:solidFill>
                  <a:srgbClr val="FFFFFF"/>
                </a:solidFill>
              </a:rPr>
              <a:t>1 </a:t>
            </a:r>
            <a:r>
              <a:rPr lang="en-GB" sz="1100" b="1" i="1" dirty="0" smtClean="0">
                <a:solidFill>
                  <a:srgbClr val="FFFFFF"/>
                </a:solidFill>
              </a:rPr>
              <a:t>HF /Day / team (2</a:t>
            </a:r>
            <a:r>
              <a:rPr lang="en-GB" sz="1100" b="1" i="1" dirty="0">
                <a:solidFill>
                  <a:srgbClr val="FFFFFF"/>
                </a:solidFill>
              </a:rPr>
              <a:t>)</a:t>
            </a:r>
            <a:endParaRPr lang="en-US" sz="1100" b="1" i="1" dirty="0">
              <a:solidFill>
                <a:srgbClr val="FFFFFF"/>
              </a:solidFill>
            </a:endParaRPr>
          </a:p>
        </p:txBody>
      </p:sp>
      <p:grpSp>
        <p:nvGrpSpPr>
          <p:cNvPr id="100" name="Group 99"/>
          <p:cNvGrpSpPr/>
          <p:nvPr/>
        </p:nvGrpSpPr>
        <p:grpSpPr>
          <a:xfrm>
            <a:off x="8964135" y="116644"/>
            <a:ext cx="3084528" cy="506181"/>
            <a:chOff x="6723100" y="116632"/>
            <a:chExt cx="2313396" cy="506181"/>
          </a:xfrm>
        </p:grpSpPr>
        <p:sp>
          <p:nvSpPr>
            <p:cNvPr id="101" name="Rectangle 100"/>
            <p:cNvSpPr/>
            <p:nvPr/>
          </p:nvSpPr>
          <p:spPr>
            <a:xfrm>
              <a:off x="6723100" y="119045"/>
              <a:ext cx="576064" cy="5037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FFFFFF"/>
                  </a:solidFill>
                </a:rPr>
                <a:t>issues</a:t>
              </a:r>
            </a:p>
          </p:txBody>
        </p:sp>
        <p:sp>
          <p:nvSpPr>
            <p:cNvPr id="102" name="Rectangle 101"/>
            <p:cNvSpPr/>
            <p:nvPr/>
          </p:nvSpPr>
          <p:spPr>
            <a:xfrm>
              <a:off x="7602936" y="119045"/>
              <a:ext cx="576064" cy="503768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FFFFFF"/>
                  </a:solidFill>
                </a:rPr>
                <a:t>sol.</a:t>
              </a:r>
            </a:p>
          </p:txBody>
        </p:sp>
        <p:sp>
          <p:nvSpPr>
            <p:cNvPr id="112" name="Isosceles Triangle 111"/>
            <p:cNvSpPr/>
            <p:nvPr/>
          </p:nvSpPr>
          <p:spPr>
            <a:xfrm rot="5400000">
              <a:off x="7213095" y="325253"/>
              <a:ext cx="498251" cy="81009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endParaRPr lang="en-GB" sz="1000" dirty="0" err="1">
                <a:solidFill>
                  <a:srgbClr val="000000"/>
                </a:solidFill>
              </a:endParaRPr>
            </a:p>
          </p:txBody>
        </p:sp>
        <p:sp>
          <p:nvSpPr>
            <p:cNvPr id="113" name="Isosceles Triangle 112"/>
            <p:cNvSpPr/>
            <p:nvPr/>
          </p:nvSpPr>
          <p:spPr>
            <a:xfrm rot="5400000">
              <a:off x="8070591" y="327665"/>
              <a:ext cx="498249" cy="81009"/>
            </a:xfrm>
            <a:prstGeom prst="triangle">
              <a:avLst/>
            </a:prstGeom>
            <a:solidFill>
              <a:schemeClr val="bg1">
                <a:lumMod val="85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endParaRPr lang="en-GB" sz="1000" dirty="0" err="1">
                <a:solidFill>
                  <a:srgbClr val="000000"/>
                </a:solidFill>
              </a:endParaRPr>
            </a:p>
          </p:txBody>
        </p:sp>
        <p:sp>
          <p:nvSpPr>
            <p:cNvPr id="114" name="Rectangle 113"/>
            <p:cNvSpPr/>
            <p:nvPr/>
          </p:nvSpPr>
          <p:spPr>
            <a:xfrm>
              <a:off x="8460432" y="119101"/>
              <a:ext cx="576064" cy="251856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000000"/>
                  </a:solidFill>
                </a:rPr>
                <a:t>Imp A</a:t>
              </a:r>
            </a:p>
          </p:txBody>
        </p:sp>
        <p:sp>
          <p:nvSpPr>
            <p:cNvPr id="115" name="Rectangle 114"/>
            <p:cNvSpPr/>
            <p:nvPr/>
          </p:nvSpPr>
          <p:spPr>
            <a:xfrm>
              <a:off x="8460432" y="370957"/>
              <a:ext cx="576064" cy="2518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FFFFFF"/>
                  </a:solidFill>
                </a:rPr>
                <a:t>Imp B</a:t>
              </a:r>
            </a:p>
          </p:txBody>
        </p:sp>
      </p:grpSp>
      <p:grpSp>
        <p:nvGrpSpPr>
          <p:cNvPr id="94" name="Group 93"/>
          <p:cNvGrpSpPr/>
          <p:nvPr/>
        </p:nvGrpSpPr>
        <p:grpSpPr>
          <a:xfrm>
            <a:off x="1391487" y="5590148"/>
            <a:ext cx="4992553" cy="275207"/>
            <a:chOff x="1376574" y="4604767"/>
            <a:chExt cx="1490036" cy="394346"/>
          </a:xfrm>
        </p:grpSpPr>
        <p:cxnSp>
          <p:nvCxnSpPr>
            <p:cNvPr id="104" name="Straight Arrow Connector 103"/>
            <p:cNvCxnSpPr/>
            <p:nvPr/>
          </p:nvCxnSpPr>
          <p:spPr>
            <a:xfrm flipH="1" flipV="1">
              <a:off x="1376739" y="4614594"/>
              <a:ext cx="1489871" cy="2700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none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Arrow Connector 104"/>
            <p:cNvCxnSpPr/>
            <p:nvPr/>
          </p:nvCxnSpPr>
          <p:spPr>
            <a:xfrm>
              <a:off x="2866610" y="4604768"/>
              <a:ext cx="0" cy="394345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6" name="Straight Arrow Connector 105"/>
            <p:cNvCxnSpPr/>
            <p:nvPr/>
          </p:nvCxnSpPr>
          <p:spPr>
            <a:xfrm>
              <a:off x="1376574" y="4604767"/>
              <a:ext cx="0" cy="394346"/>
            </a:xfrm>
            <a:prstGeom prst="straightConnector1">
              <a:avLst/>
            </a:prstGeom>
            <a:ln w="28575">
              <a:solidFill>
                <a:srgbClr val="FF0000"/>
              </a:solidFill>
              <a:headEnd type="none" w="med" len="med"/>
              <a:tailEnd type="arrow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oup 7"/>
          <p:cNvGrpSpPr/>
          <p:nvPr/>
        </p:nvGrpSpPr>
        <p:grpSpPr>
          <a:xfrm>
            <a:off x="1103448" y="6086024"/>
            <a:ext cx="417677" cy="367312"/>
            <a:chOff x="467544" y="5931970"/>
            <a:chExt cx="313258" cy="367312"/>
          </a:xfrm>
        </p:grpSpPr>
        <p:pic>
          <p:nvPicPr>
            <p:cNvPr id="118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5931970"/>
              <a:ext cx="156629" cy="367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19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173" y="5931970"/>
              <a:ext cx="156629" cy="367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24" name="TextBox 123"/>
          <p:cNvSpPr txBox="1"/>
          <p:nvPr/>
        </p:nvSpPr>
        <p:spPr>
          <a:xfrm>
            <a:off x="1130450" y="4913464"/>
            <a:ext cx="6242939" cy="523180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 algn="ctr" defTabSz="914303"/>
            <a:r>
              <a:rPr lang="en-MY" sz="1400" b="1" dirty="0">
                <a:solidFill>
                  <a:srgbClr val="C00000"/>
                </a:solidFill>
              </a:rPr>
              <a:t>6 </a:t>
            </a:r>
            <a:r>
              <a:rPr lang="en-MY" sz="1400" b="1" dirty="0" smtClean="0">
                <a:solidFill>
                  <a:srgbClr val="C00000"/>
                </a:solidFill>
              </a:rPr>
              <a:t>assessors/LGA</a:t>
            </a:r>
          </a:p>
          <a:p>
            <a:pPr algn="ctr" defTabSz="914303"/>
            <a:r>
              <a:rPr lang="en-MY" sz="1400" b="1" dirty="0" smtClean="0">
                <a:solidFill>
                  <a:srgbClr val="C00000"/>
                </a:solidFill>
              </a:rPr>
              <a:t>(assessors to jointly </a:t>
            </a:r>
            <a:r>
              <a:rPr lang="en-MY" sz="1400" b="1" dirty="0">
                <a:solidFill>
                  <a:srgbClr val="C00000"/>
                </a:solidFill>
              </a:rPr>
              <a:t>assess district </a:t>
            </a:r>
            <a:r>
              <a:rPr lang="en-MY" sz="1400" b="1" dirty="0" smtClean="0">
                <a:solidFill>
                  <a:srgbClr val="C00000"/>
                </a:solidFill>
              </a:rPr>
              <a:t>hospitals)</a:t>
            </a:r>
            <a:endParaRPr lang="en-MY" sz="1400" b="1" dirty="0">
              <a:solidFill>
                <a:srgbClr val="C00000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33265" y="234864"/>
            <a:ext cx="8455027" cy="923330"/>
          </a:xfrm>
        </p:spPr>
        <p:txBody>
          <a:bodyPr/>
          <a:lstStyle/>
          <a:p>
            <a:r>
              <a:rPr lang="en-US" dirty="0" smtClean="0"/>
              <a:t>Background to BRN: </a:t>
            </a:r>
            <a:r>
              <a:rPr lang="en-US" dirty="0"/>
              <a:t>Leverage on the national and regional team to assess 6760 facilities by March 2015</a:t>
            </a:r>
            <a:r>
              <a:rPr lang="en-GB" dirty="0"/>
              <a:t/>
            </a:r>
            <a:br>
              <a:rPr lang="en-GB" dirty="0"/>
            </a:br>
            <a:endParaRPr lang="en-MY" dirty="0"/>
          </a:p>
        </p:txBody>
      </p:sp>
      <p:sp>
        <p:nvSpPr>
          <p:cNvPr id="128" name="Rectangle 127"/>
          <p:cNvSpPr/>
          <p:nvPr/>
        </p:nvSpPr>
        <p:spPr>
          <a:xfrm>
            <a:off x="7920215" y="4076962"/>
            <a:ext cx="2589641" cy="278863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marL="93633" lvl="1" defTabSz="912522" eaLnBrk="0" hangingPunct="0">
              <a:buClr>
                <a:srgbClr val="00597E"/>
              </a:buClr>
              <a:buSzPct val="125000"/>
            </a:pPr>
            <a:r>
              <a:rPr lang="en-US" sz="1200" b="1" dirty="0">
                <a:solidFill>
                  <a:srgbClr val="1F497D"/>
                </a:solidFill>
              </a:rPr>
              <a:t>Total number of </a:t>
            </a:r>
            <a:r>
              <a:rPr lang="en-US" sz="1200" b="1" dirty="0" smtClean="0">
                <a:solidFill>
                  <a:srgbClr val="1F497D"/>
                </a:solidFill>
              </a:rPr>
              <a:t>assessors</a:t>
            </a:r>
            <a:endParaRPr lang="en-US" sz="1200" b="1" dirty="0">
              <a:solidFill>
                <a:srgbClr val="1F497D"/>
              </a:solidFill>
            </a:endParaRPr>
          </a:p>
        </p:txBody>
      </p:sp>
      <p:grpSp>
        <p:nvGrpSpPr>
          <p:cNvPr id="129" name="Group 128"/>
          <p:cNvGrpSpPr/>
          <p:nvPr/>
        </p:nvGrpSpPr>
        <p:grpSpPr>
          <a:xfrm>
            <a:off x="3312795" y="4581128"/>
            <a:ext cx="1247036" cy="370212"/>
            <a:chOff x="3985574" y="2420203"/>
            <a:chExt cx="916604" cy="362842"/>
          </a:xfrm>
        </p:grpSpPr>
        <p:pic>
          <p:nvPicPr>
            <p:cNvPr id="130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85574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1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39076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2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90374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3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429539" y="242140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4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48676" y="2420203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5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99105" y="2423045"/>
              <a:ext cx="153502" cy="360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36" name="TextBox 135"/>
          <p:cNvSpPr txBox="1"/>
          <p:nvPr/>
        </p:nvSpPr>
        <p:spPr>
          <a:xfrm>
            <a:off x="230939" y="6381337"/>
            <a:ext cx="2341372" cy="292347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 algn="ctr" defTabSz="914303"/>
            <a:r>
              <a:rPr lang="en-MY" sz="1300" b="1" dirty="0" smtClean="0">
                <a:solidFill>
                  <a:srgbClr val="C00000"/>
                </a:solidFill>
              </a:rPr>
              <a:t>2 assessors/</a:t>
            </a:r>
            <a:r>
              <a:rPr lang="en-MY" sz="1300" b="1" dirty="0" err="1" smtClean="0">
                <a:solidFill>
                  <a:srgbClr val="C00000"/>
                </a:solidFill>
              </a:rPr>
              <a:t>disp</a:t>
            </a:r>
            <a:r>
              <a:rPr lang="en-MY" sz="1300" b="1" dirty="0" smtClean="0">
                <a:solidFill>
                  <a:srgbClr val="C00000"/>
                </a:solidFill>
              </a:rPr>
              <a:t> &amp; HCs</a:t>
            </a:r>
            <a:endParaRPr lang="en-MY" sz="1300" b="1" dirty="0">
              <a:solidFill>
                <a:srgbClr val="C00000"/>
              </a:solidFill>
            </a:endParaRPr>
          </a:p>
        </p:txBody>
      </p:sp>
      <p:grpSp>
        <p:nvGrpSpPr>
          <p:cNvPr id="137" name="Group 136"/>
          <p:cNvGrpSpPr/>
          <p:nvPr/>
        </p:nvGrpSpPr>
        <p:grpSpPr>
          <a:xfrm>
            <a:off x="3695736" y="6086024"/>
            <a:ext cx="417677" cy="367312"/>
            <a:chOff x="467544" y="5931970"/>
            <a:chExt cx="313258" cy="367312"/>
          </a:xfrm>
        </p:grpSpPr>
        <p:pic>
          <p:nvPicPr>
            <p:cNvPr id="138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5931970"/>
              <a:ext cx="156629" cy="367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39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173" y="5931970"/>
              <a:ext cx="156629" cy="367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140" name="Group 139"/>
          <p:cNvGrpSpPr/>
          <p:nvPr/>
        </p:nvGrpSpPr>
        <p:grpSpPr>
          <a:xfrm>
            <a:off x="6254388" y="6086024"/>
            <a:ext cx="417677" cy="367312"/>
            <a:chOff x="467544" y="5931970"/>
            <a:chExt cx="313258" cy="367312"/>
          </a:xfrm>
        </p:grpSpPr>
        <p:pic>
          <p:nvPicPr>
            <p:cNvPr id="141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67544" y="5931970"/>
              <a:ext cx="156629" cy="367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142" name="Picture 8" descr="http://www.clipartbest.com/cliparts/pT5/9Ax/pT59AxGTB.png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24173" y="5931970"/>
              <a:ext cx="156629" cy="3673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sp>
        <p:nvSpPr>
          <p:cNvPr id="143" name="TextBox 142"/>
          <p:cNvSpPr txBox="1"/>
          <p:nvPr/>
        </p:nvSpPr>
        <p:spPr>
          <a:xfrm>
            <a:off x="143339" y="5805264"/>
            <a:ext cx="2428972" cy="307736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 algn="ctr" defTabSz="914303"/>
            <a:r>
              <a:rPr lang="en-MY" sz="1400" b="1" dirty="0" smtClean="0">
                <a:solidFill>
                  <a:srgbClr val="C00000"/>
                </a:solidFill>
              </a:rPr>
              <a:t>Team A</a:t>
            </a:r>
            <a:endParaRPr lang="en-MY" sz="1400" b="1" dirty="0">
              <a:solidFill>
                <a:srgbClr val="C00000"/>
              </a:solidFill>
            </a:endParaRPr>
          </a:p>
        </p:txBody>
      </p:sp>
      <p:sp>
        <p:nvSpPr>
          <p:cNvPr id="144" name="TextBox 143"/>
          <p:cNvSpPr txBox="1"/>
          <p:nvPr/>
        </p:nvSpPr>
        <p:spPr>
          <a:xfrm>
            <a:off x="2706923" y="5805264"/>
            <a:ext cx="2428972" cy="307736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 algn="ctr" defTabSz="914303"/>
            <a:r>
              <a:rPr lang="en-MY" sz="1400" b="1" dirty="0" smtClean="0">
                <a:solidFill>
                  <a:srgbClr val="C00000"/>
                </a:solidFill>
              </a:rPr>
              <a:t>Team B</a:t>
            </a:r>
            <a:endParaRPr lang="en-MY" sz="1400" b="1" dirty="0">
              <a:solidFill>
                <a:srgbClr val="C00000"/>
              </a:solidFill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5203199" y="5805264"/>
            <a:ext cx="2428972" cy="307736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 algn="ctr" defTabSz="914303"/>
            <a:r>
              <a:rPr lang="en-MY" sz="1400" b="1" dirty="0" smtClean="0">
                <a:solidFill>
                  <a:srgbClr val="C00000"/>
                </a:solidFill>
              </a:rPr>
              <a:t>Team C</a:t>
            </a:r>
            <a:endParaRPr lang="en-MY" sz="1400" b="1" dirty="0">
              <a:solidFill>
                <a:srgbClr val="C00000"/>
              </a:solidFill>
            </a:endParaRPr>
          </a:p>
        </p:txBody>
      </p:sp>
      <p:cxnSp>
        <p:nvCxnSpPr>
          <p:cNvPr id="146" name="Straight Arrow Connector 145"/>
          <p:cNvCxnSpPr/>
          <p:nvPr/>
        </p:nvCxnSpPr>
        <p:spPr>
          <a:xfrm>
            <a:off x="3887755" y="5481264"/>
            <a:ext cx="0" cy="324000"/>
          </a:xfrm>
          <a:prstGeom prst="straightConnector1">
            <a:avLst/>
          </a:prstGeom>
          <a:ln w="28575">
            <a:solidFill>
              <a:srgbClr val="FF0000"/>
            </a:solidFill>
            <a:headEnd type="none" w="med" len="med"/>
            <a:tailEnd type="arrow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7" name="TextBox 146"/>
          <p:cNvSpPr txBox="1"/>
          <p:nvPr/>
        </p:nvSpPr>
        <p:spPr>
          <a:xfrm>
            <a:off x="2698511" y="6381337"/>
            <a:ext cx="2341372" cy="292347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 algn="ctr" defTabSz="914303"/>
            <a:r>
              <a:rPr lang="en-MY" sz="1300" b="1" dirty="0" smtClean="0">
                <a:solidFill>
                  <a:srgbClr val="C00000"/>
                </a:solidFill>
              </a:rPr>
              <a:t>2 assessors/</a:t>
            </a:r>
            <a:r>
              <a:rPr lang="en-MY" sz="1300" b="1" dirty="0" err="1" smtClean="0">
                <a:solidFill>
                  <a:srgbClr val="C00000"/>
                </a:solidFill>
              </a:rPr>
              <a:t>disp</a:t>
            </a:r>
            <a:r>
              <a:rPr lang="en-MY" sz="1300" b="1" dirty="0" smtClean="0">
                <a:solidFill>
                  <a:srgbClr val="C00000"/>
                </a:solidFill>
              </a:rPr>
              <a:t> &amp; HCs</a:t>
            </a:r>
            <a:endParaRPr lang="en-MY" sz="1300" b="1" dirty="0">
              <a:solidFill>
                <a:srgbClr val="C00000"/>
              </a:solidFill>
            </a:endParaRPr>
          </a:p>
        </p:txBody>
      </p:sp>
      <p:sp>
        <p:nvSpPr>
          <p:cNvPr id="148" name="TextBox 147"/>
          <p:cNvSpPr txBox="1"/>
          <p:nvPr/>
        </p:nvSpPr>
        <p:spPr>
          <a:xfrm>
            <a:off x="5135895" y="6381337"/>
            <a:ext cx="2341372" cy="292347"/>
          </a:xfrm>
          <a:prstGeom prst="rect">
            <a:avLst/>
          </a:prstGeom>
          <a:noFill/>
        </p:spPr>
        <p:txBody>
          <a:bodyPr wrap="square" lIns="91401" tIns="45700" rIns="91401" bIns="45700" rtlCol="0">
            <a:spAutoFit/>
          </a:bodyPr>
          <a:lstStyle/>
          <a:p>
            <a:pPr algn="ctr" defTabSz="914303"/>
            <a:r>
              <a:rPr lang="en-MY" sz="1300" b="1" dirty="0" smtClean="0">
                <a:solidFill>
                  <a:srgbClr val="C00000"/>
                </a:solidFill>
              </a:rPr>
              <a:t>2 assessors/</a:t>
            </a:r>
            <a:r>
              <a:rPr lang="en-MY" sz="1300" b="1" dirty="0" err="1" smtClean="0">
                <a:solidFill>
                  <a:srgbClr val="C00000"/>
                </a:solidFill>
              </a:rPr>
              <a:t>disp</a:t>
            </a:r>
            <a:r>
              <a:rPr lang="en-MY" sz="1300" b="1" dirty="0" smtClean="0">
                <a:solidFill>
                  <a:srgbClr val="C00000"/>
                </a:solidFill>
              </a:rPr>
              <a:t> &amp; HCs</a:t>
            </a:r>
            <a:endParaRPr lang="en-MY" sz="1300" b="1" dirty="0">
              <a:solidFill>
                <a:srgbClr val="C00000"/>
              </a:solidFill>
            </a:endParaRPr>
          </a:p>
        </p:txBody>
      </p:sp>
      <p:sp>
        <p:nvSpPr>
          <p:cNvPr id="149" name="Rectangle 148"/>
          <p:cNvSpPr/>
          <p:nvPr/>
        </p:nvSpPr>
        <p:spPr>
          <a:xfrm>
            <a:off x="7920204" y="4869179"/>
            <a:ext cx="1805213" cy="463529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marL="95554" lvl="1" defTabSz="931244" eaLnBrk="0" hangingPunct="0">
              <a:buClr>
                <a:srgbClr val="00597E"/>
              </a:buClr>
              <a:buSzPct val="125000"/>
            </a:pPr>
            <a:r>
              <a:rPr lang="en-US" sz="1200" b="1" dirty="0">
                <a:solidFill>
                  <a:srgbClr val="002960"/>
                </a:solidFill>
              </a:rPr>
              <a:t>Estimated assessment duration</a:t>
            </a:r>
          </a:p>
        </p:txBody>
      </p:sp>
      <p:sp>
        <p:nvSpPr>
          <p:cNvPr id="150" name="Oval 173"/>
          <p:cNvSpPr>
            <a:spLocks noChangeArrowheads="1"/>
          </p:cNvSpPr>
          <p:nvPr/>
        </p:nvSpPr>
        <p:spPr bwMode="auto">
          <a:xfrm>
            <a:off x="9936440" y="4904884"/>
            <a:ext cx="2065201" cy="540340"/>
          </a:xfrm>
          <a:prstGeom prst="roundRect">
            <a:avLst/>
          </a:prstGeom>
          <a:solidFill>
            <a:srgbClr val="C00000"/>
          </a:solidFill>
          <a:ln w="9525">
            <a:noFill/>
            <a:round/>
            <a:headEnd/>
            <a:tailEnd/>
          </a:ln>
          <a:effectLst/>
        </p:spPr>
        <p:txBody>
          <a:bodyPr wrap="none" lIns="93286" tIns="46643" rIns="93286" bIns="46643" anchor="ctr"/>
          <a:lstStyle/>
          <a:p>
            <a:pPr algn="ctr" defTabSz="914303"/>
            <a:r>
              <a:rPr lang="en-GB" sz="1400" b="1" dirty="0">
                <a:solidFill>
                  <a:srgbClr val="FFFFFF"/>
                </a:solidFill>
              </a:rPr>
              <a:t>~ 4 weeks</a:t>
            </a:r>
          </a:p>
          <a:p>
            <a:pPr algn="ctr" defTabSz="914303"/>
            <a:r>
              <a:rPr lang="en-GB" sz="1100" b="1" i="1" dirty="0">
                <a:solidFill>
                  <a:srgbClr val="FFFFFF"/>
                </a:solidFill>
              </a:rPr>
              <a:t>1 </a:t>
            </a:r>
            <a:r>
              <a:rPr lang="en-GB" sz="1100" b="1" i="1" dirty="0" smtClean="0">
                <a:solidFill>
                  <a:srgbClr val="FFFFFF"/>
                </a:solidFill>
              </a:rPr>
              <a:t>HF / 3Days / team (6</a:t>
            </a:r>
            <a:r>
              <a:rPr lang="en-GB" sz="1100" b="1" i="1" dirty="0">
                <a:solidFill>
                  <a:srgbClr val="FFFFFF"/>
                </a:solidFill>
              </a:rPr>
              <a:t>)</a:t>
            </a:r>
          </a:p>
        </p:txBody>
      </p:sp>
      <p:sp>
        <p:nvSpPr>
          <p:cNvPr id="69" name="Right Arrow 68"/>
          <p:cNvSpPr/>
          <p:nvPr/>
        </p:nvSpPr>
        <p:spPr>
          <a:xfrm>
            <a:off x="6861311" y="3830100"/>
            <a:ext cx="1002385" cy="1440000"/>
          </a:xfrm>
          <a:prstGeom prst="rightArrow">
            <a:avLst/>
          </a:prstGeom>
          <a:solidFill>
            <a:schemeClr val="accent5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defTabSz="914303"/>
            <a:endParaRPr lang="en-MY" dirty="0" err="1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367880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/>
          <p:cNvCxnSpPr/>
          <p:nvPr/>
        </p:nvCxnSpPr>
        <p:spPr>
          <a:xfrm flipH="1" flipV="1">
            <a:off x="6220197" y="3283145"/>
            <a:ext cx="453553" cy="494022"/>
          </a:xfrm>
          <a:prstGeom prst="line">
            <a:avLst/>
          </a:prstGeom>
          <a:ln>
            <a:solidFill>
              <a:schemeClr val="tx1"/>
            </a:solidFill>
            <a:tailEnd type="triangle" w="lg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1991" y="234864"/>
            <a:ext cx="8335657" cy="628056"/>
          </a:xfrm>
        </p:spPr>
        <p:txBody>
          <a:bodyPr>
            <a:normAutofit/>
          </a:bodyPr>
          <a:lstStyle/>
          <a:p>
            <a:r>
              <a:rPr lang="en-GB" dirty="0" smtClean="0"/>
              <a:t>Background to BRN: Ensuring </a:t>
            </a:r>
            <a:r>
              <a:rPr lang="en-GB" dirty="0"/>
              <a:t>sustainability of the Star Rating by monetary and non-monetary rewards </a:t>
            </a:r>
          </a:p>
        </p:txBody>
      </p:sp>
      <p:sp>
        <p:nvSpPr>
          <p:cNvPr id="3" name="Rectangle 2"/>
          <p:cNvSpPr/>
          <p:nvPr/>
        </p:nvSpPr>
        <p:spPr>
          <a:xfrm>
            <a:off x="323968" y="4489943"/>
            <a:ext cx="5896221" cy="2104781"/>
          </a:xfrm>
          <a:prstGeom prst="rect">
            <a:avLst/>
          </a:prstGeom>
          <a:solidFill>
            <a:schemeClr val="accent5">
              <a:lumMod val="40000"/>
              <a:lumOff val="60000"/>
            </a:schemeClr>
          </a:solidFill>
          <a:ln>
            <a:noFill/>
          </a:ln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lIns="93286" tIns="46643" rIns="93286" bIns="46643" anchor="ctr"/>
          <a:lstStyle/>
          <a:p>
            <a:pPr defTabSz="914303"/>
            <a:r>
              <a:rPr lang="en-US" sz="1400" b="1" dirty="0">
                <a:solidFill>
                  <a:srgbClr val="000000"/>
                </a:solidFill>
              </a:rPr>
              <a:t>Monetary: </a:t>
            </a:r>
          </a:p>
          <a:p>
            <a:pPr marL="757951" lvl="1" indent="-291520" defTabSz="914303"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Less funds through RBF and NHIF</a:t>
            </a:r>
          </a:p>
          <a:p>
            <a:pPr marL="757951" lvl="1" indent="-291520" defTabSz="914303">
              <a:buFont typeface="Arial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defTabSz="914303"/>
            <a:r>
              <a:rPr lang="en-US" sz="1400" b="1" dirty="0">
                <a:solidFill>
                  <a:srgbClr val="000000"/>
                </a:solidFill>
              </a:rPr>
              <a:t>Non-monetary: </a:t>
            </a:r>
          </a:p>
          <a:p>
            <a:pPr marL="757951" lvl="1" indent="-291520" defTabSz="914303">
              <a:buFont typeface="Arial"/>
              <a:buChar char="•"/>
            </a:pPr>
            <a:r>
              <a:rPr lang="en-US" sz="1400" i="1" dirty="0">
                <a:solidFill>
                  <a:srgbClr val="000000"/>
                </a:solidFill>
              </a:rPr>
              <a:t>Receives targeted technical support to improve</a:t>
            </a:r>
            <a:endParaRPr lang="en-US" sz="1400" dirty="0">
              <a:solidFill>
                <a:srgbClr val="000000"/>
              </a:solidFill>
            </a:endParaRPr>
          </a:p>
          <a:p>
            <a:pPr marL="757951" lvl="1" indent="-291520" defTabSz="914303"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Community aware of rating, performance decline, and monetary decrease through public posting</a:t>
            </a:r>
          </a:p>
        </p:txBody>
      </p:sp>
      <p:sp>
        <p:nvSpPr>
          <p:cNvPr id="4" name="Rectangle 3"/>
          <p:cNvSpPr/>
          <p:nvPr/>
        </p:nvSpPr>
        <p:spPr>
          <a:xfrm>
            <a:off x="323968" y="1555152"/>
            <a:ext cx="5896221" cy="2104781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lIns="93286" tIns="46643" rIns="93286" bIns="46643" anchor="ctr"/>
          <a:lstStyle/>
          <a:p>
            <a:pPr defTabSz="914303"/>
            <a:r>
              <a:rPr lang="en-US" sz="1400" b="1" dirty="0">
                <a:solidFill>
                  <a:srgbClr val="000000"/>
                </a:solidFill>
              </a:rPr>
              <a:t>Monetary: </a:t>
            </a:r>
          </a:p>
          <a:p>
            <a:pPr marL="757951" lvl="1" indent="-291520" defTabSz="914303"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More funds through RBF and NHIF</a:t>
            </a:r>
          </a:p>
          <a:p>
            <a:pPr marL="757951" lvl="1" indent="-291520" defTabSz="914303">
              <a:buFont typeface="Arial"/>
              <a:buChar char="•"/>
            </a:pPr>
            <a:endParaRPr lang="en-US" sz="1400" dirty="0">
              <a:solidFill>
                <a:srgbClr val="000000"/>
              </a:solidFill>
            </a:endParaRPr>
          </a:p>
          <a:p>
            <a:pPr defTabSz="914303"/>
            <a:r>
              <a:rPr lang="en-US" sz="1400" b="1" dirty="0">
                <a:solidFill>
                  <a:srgbClr val="000000"/>
                </a:solidFill>
              </a:rPr>
              <a:t>Non-monetary: </a:t>
            </a:r>
          </a:p>
          <a:p>
            <a:pPr marL="757951" lvl="1" indent="-291520" defTabSz="914303"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Visible placing of stars, trends, and monetary amount in community.</a:t>
            </a:r>
          </a:p>
          <a:p>
            <a:pPr marL="757951" lvl="1" indent="-291520" defTabSz="914303">
              <a:buFont typeface="Arial"/>
              <a:buChar char="•"/>
            </a:pPr>
            <a:r>
              <a:rPr lang="en-US" sz="1400" dirty="0">
                <a:solidFill>
                  <a:srgbClr val="000000"/>
                </a:solidFill>
              </a:rPr>
              <a:t>Greater </a:t>
            </a:r>
            <a:r>
              <a:rPr lang="en-US" sz="1400" dirty="0" err="1">
                <a:solidFill>
                  <a:srgbClr val="000000"/>
                </a:solidFill>
              </a:rPr>
              <a:t>decentralised</a:t>
            </a:r>
            <a:r>
              <a:rPr lang="en-US" sz="1400" dirty="0">
                <a:solidFill>
                  <a:srgbClr val="000000"/>
                </a:solidFill>
              </a:rPr>
              <a:t> devolution to facilities to manage increasing amounts and complex transactions, and hire staff </a:t>
            </a:r>
          </a:p>
        </p:txBody>
      </p:sp>
      <p:graphicFrame>
        <p:nvGraphicFramePr>
          <p:cNvPr id="5" name="Content Placeholder 3"/>
          <p:cNvGraphicFramePr>
            <a:graphicFrameLocks/>
          </p:cNvGraphicFramePr>
          <p:nvPr>
            <p:extLst/>
          </p:nvPr>
        </p:nvGraphicFramePr>
        <p:xfrm>
          <a:off x="5313085" y="829313"/>
          <a:ext cx="8185593" cy="555572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cxnSp>
        <p:nvCxnSpPr>
          <p:cNvPr id="7" name="Straight Connector 6"/>
          <p:cNvCxnSpPr/>
          <p:nvPr/>
        </p:nvCxnSpPr>
        <p:spPr>
          <a:xfrm flipH="1">
            <a:off x="6220191" y="4441342"/>
            <a:ext cx="604740" cy="612264"/>
          </a:xfrm>
          <a:prstGeom prst="line">
            <a:avLst/>
          </a:prstGeom>
          <a:ln>
            <a:solidFill>
              <a:schemeClr val="tx1"/>
            </a:solidFill>
            <a:tailEnd type="triangle" w="lg"/>
          </a:ln>
          <a:effectLst/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8" name="Rounded Rectangle 7"/>
          <p:cNvSpPr/>
          <p:nvPr/>
        </p:nvSpPr>
        <p:spPr>
          <a:xfrm>
            <a:off x="1665364" y="936225"/>
            <a:ext cx="2904749" cy="617402"/>
          </a:xfrm>
          <a:prstGeom prst="roundRect">
            <a:avLst/>
          </a:prstGeom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defTabSz="914303"/>
            <a:r>
              <a:rPr lang="en-US" sz="2000" b="1" dirty="0">
                <a:solidFill>
                  <a:srgbClr val="FFFFFF"/>
                </a:solidFill>
              </a:rPr>
              <a:t>More Stars </a:t>
            </a:r>
            <a:r>
              <a:rPr lang="en-US" sz="2000" dirty="0">
                <a:solidFill>
                  <a:srgbClr val="FFFFFF"/>
                </a:solidFill>
                <a:sym typeface="Wingdings"/>
              </a:rPr>
              <a:t></a:t>
            </a:r>
            <a:r>
              <a:rPr lang="en-US" sz="2000" b="1" dirty="0">
                <a:solidFill>
                  <a:srgbClr val="FFFFFF"/>
                </a:solidFill>
                <a:sym typeface="Wingdings"/>
              </a:rPr>
              <a:t> 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9" name="Rounded Rectangle 8"/>
          <p:cNvSpPr/>
          <p:nvPr/>
        </p:nvSpPr>
        <p:spPr>
          <a:xfrm>
            <a:off x="1665364" y="3890629"/>
            <a:ext cx="2904749" cy="617402"/>
          </a:xfrm>
          <a:prstGeom prst="roundRect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93286" tIns="46643" rIns="93286" bIns="46643" rtlCol="0" anchor="ctr"/>
          <a:lstStyle/>
          <a:p>
            <a:pPr algn="ctr" defTabSz="914303"/>
            <a:r>
              <a:rPr lang="en-US" sz="2000" b="1" dirty="0">
                <a:solidFill>
                  <a:srgbClr val="FFFFFF"/>
                </a:solidFill>
              </a:rPr>
              <a:t>Fewer Stars </a:t>
            </a:r>
            <a:r>
              <a:rPr lang="en-US" sz="2000" dirty="0">
                <a:solidFill>
                  <a:srgbClr val="FFFFFF"/>
                </a:solidFill>
                <a:sym typeface="Wingdings"/>
              </a:rPr>
              <a:t></a:t>
            </a:r>
            <a:r>
              <a:rPr lang="en-US" sz="2000" b="1" dirty="0">
                <a:solidFill>
                  <a:srgbClr val="FFFFFF"/>
                </a:solidFill>
                <a:sym typeface="Wingdings"/>
              </a:rPr>
              <a:t> </a:t>
            </a:r>
            <a:endParaRPr lang="en-US" sz="2000" b="1" dirty="0">
              <a:solidFill>
                <a:srgbClr val="FFFFFF"/>
              </a:solidFill>
            </a:endParaRPr>
          </a:p>
        </p:txBody>
      </p:sp>
      <p:sp>
        <p:nvSpPr>
          <p:cNvPr id="10" name="5-Point Star 9"/>
          <p:cNvSpPr/>
          <p:nvPr/>
        </p:nvSpPr>
        <p:spPr>
          <a:xfrm>
            <a:off x="8497645" y="4135426"/>
            <a:ext cx="489779" cy="367312"/>
          </a:xfrm>
          <a:prstGeom prst="star5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6">
              <a:shade val="50000"/>
            </a:schemeClr>
          </a:lnRef>
          <a:fillRef idx="1">
            <a:schemeClr val="accent6"/>
          </a:fillRef>
          <a:effectRef idx="0">
            <a:schemeClr val="accent6"/>
          </a:effectRef>
          <a:fontRef idx="minor">
            <a:schemeClr val="lt1"/>
          </a:fontRef>
        </p:style>
        <p:txBody>
          <a:bodyPr lIns="93286" tIns="46643" rIns="93286" bIns="46643"/>
          <a:lstStyle/>
          <a:p>
            <a:pPr defTabSz="914303"/>
            <a:endParaRPr lang="en-US">
              <a:solidFill>
                <a:srgbClr val="FFFFFF"/>
              </a:solidFill>
            </a:endParaRPr>
          </a:p>
        </p:txBody>
      </p:sp>
      <p:sp>
        <p:nvSpPr>
          <p:cNvPr id="20" name="Rectangle 19"/>
          <p:cNvSpPr/>
          <p:nvPr/>
        </p:nvSpPr>
        <p:spPr>
          <a:xfrm>
            <a:off x="9511964" y="2495278"/>
            <a:ext cx="2229704" cy="525084"/>
          </a:xfrm>
          <a:prstGeom prst="rect">
            <a:avLst/>
          </a:prstGeom>
        </p:spPr>
        <p:txBody>
          <a:bodyPr wrap="square" lIns="93286" tIns="46643" rIns="93286" bIns="46643">
            <a:spAutoFit/>
          </a:bodyPr>
          <a:lstStyle/>
          <a:p>
            <a:pPr algn="ctr" defTabSz="914303"/>
            <a:r>
              <a:rPr lang="en-US" sz="1400" b="1" dirty="0">
                <a:solidFill>
                  <a:srgbClr val="FFFFFF"/>
                </a:solidFill>
              </a:rPr>
              <a:t>Specific  implementation Plan</a:t>
            </a:r>
          </a:p>
        </p:txBody>
      </p:sp>
      <p:grpSp>
        <p:nvGrpSpPr>
          <p:cNvPr id="21" name="Group 20"/>
          <p:cNvGrpSpPr/>
          <p:nvPr/>
        </p:nvGrpSpPr>
        <p:grpSpPr>
          <a:xfrm>
            <a:off x="8964135" y="116636"/>
            <a:ext cx="3084528" cy="506181"/>
            <a:chOff x="6723100" y="116632"/>
            <a:chExt cx="2313396" cy="506181"/>
          </a:xfrm>
        </p:grpSpPr>
        <p:sp>
          <p:nvSpPr>
            <p:cNvPr id="22" name="Rectangle 21"/>
            <p:cNvSpPr/>
            <p:nvPr/>
          </p:nvSpPr>
          <p:spPr>
            <a:xfrm>
              <a:off x="7602936" y="119101"/>
              <a:ext cx="576064" cy="251856"/>
            </a:xfrm>
            <a:prstGeom prst="rect">
              <a:avLst/>
            </a:prstGeom>
            <a:solidFill>
              <a:srgbClr val="92D050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000000"/>
                  </a:solidFill>
                </a:rPr>
                <a:t>Sol A</a:t>
              </a:r>
            </a:p>
          </p:txBody>
        </p:sp>
        <p:sp>
          <p:nvSpPr>
            <p:cNvPr id="23" name="Rectangle 22"/>
            <p:cNvSpPr/>
            <p:nvPr/>
          </p:nvSpPr>
          <p:spPr>
            <a:xfrm>
              <a:off x="7602936" y="370957"/>
              <a:ext cx="576064" cy="251856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03"/>
              <a:r>
                <a:rPr lang="en-GB" sz="1000" dirty="0">
                  <a:solidFill>
                    <a:srgbClr val="FFFFFF"/>
                  </a:solidFill>
                </a:rPr>
                <a:t>Sol B</a:t>
              </a:r>
            </a:p>
          </p:txBody>
        </p:sp>
        <p:grpSp>
          <p:nvGrpSpPr>
            <p:cNvPr id="24" name="Group 23"/>
            <p:cNvGrpSpPr/>
            <p:nvPr/>
          </p:nvGrpSpPr>
          <p:grpSpPr>
            <a:xfrm>
              <a:off x="6723100" y="116632"/>
              <a:ext cx="2313396" cy="506181"/>
              <a:chOff x="6723100" y="116632"/>
              <a:chExt cx="2313396" cy="506181"/>
            </a:xfrm>
          </p:grpSpPr>
          <p:sp>
            <p:nvSpPr>
              <p:cNvPr id="25" name="Rectangle 24"/>
              <p:cNvSpPr/>
              <p:nvPr/>
            </p:nvSpPr>
            <p:spPr>
              <a:xfrm>
                <a:off x="6723100" y="119045"/>
                <a:ext cx="576064" cy="503768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r>
                  <a:rPr lang="en-GB" sz="1000" dirty="0">
                    <a:solidFill>
                      <a:srgbClr val="FFFFFF"/>
                    </a:solidFill>
                  </a:rPr>
                  <a:t>issues</a:t>
                </a:r>
              </a:p>
            </p:txBody>
          </p:sp>
          <p:sp>
            <p:nvSpPr>
              <p:cNvPr id="26" name="Rectangle 25"/>
              <p:cNvSpPr/>
              <p:nvPr/>
            </p:nvSpPr>
            <p:spPr>
              <a:xfrm>
                <a:off x="8460432" y="119101"/>
                <a:ext cx="576064" cy="2518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r>
                  <a:rPr lang="en-GB" sz="1000" dirty="0">
                    <a:solidFill>
                      <a:srgbClr val="FFFFFF"/>
                    </a:solidFill>
                  </a:rPr>
                  <a:t>Imp A</a:t>
                </a:r>
              </a:p>
            </p:txBody>
          </p:sp>
          <p:sp>
            <p:nvSpPr>
              <p:cNvPr id="27" name="Isosceles Triangle 26"/>
              <p:cNvSpPr/>
              <p:nvPr/>
            </p:nvSpPr>
            <p:spPr>
              <a:xfrm rot="5400000">
                <a:off x="7213095" y="325253"/>
                <a:ext cx="498251" cy="8100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8" name="Isosceles Triangle 27"/>
              <p:cNvSpPr/>
              <p:nvPr/>
            </p:nvSpPr>
            <p:spPr>
              <a:xfrm rot="5400000">
                <a:off x="8070591" y="327665"/>
                <a:ext cx="498249" cy="81009"/>
              </a:xfrm>
              <a:prstGeom prst="triangle">
                <a:avLst/>
              </a:prstGeom>
              <a:solidFill>
                <a:schemeClr val="bg1">
                  <a:lumMod val="85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endParaRPr lang="en-GB" sz="1000" dirty="0" err="1">
                  <a:solidFill>
                    <a:srgbClr val="000000"/>
                  </a:solidFill>
                </a:endParaRPr>
              </a:p>
            </p:txBody>
          </p:sp>
          <p:sp>
            <p:nvSpPr>
              <p:cNvPr id="29" name="Rectangle 28"/>
              <p:cNvSpPr/>
              <p:nvPr/>
            </p:nvSpPr>
            <p:spPr>
              <a:xfrm>
                <a:off x="8460432" y="370957"/>
                <a:ext cx="576064" cy="251856"/>
              </a:xfrm>
              <a:prstGeom prst="rect">
                <a:avLst/>
              </a:prstGeom>
              <a:solidFill>
                <a:schemeClr val="bg1">
                  <a:lumMod val="85000"/>
                </a:schemeClr>
              </a:solidFill>
              <a:ln w="9525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914303"/>
                <a:r>
                  <a:rPr lang="en-GB" sz="1000" dirty="0">
                    <a:solidFill>
                      <a:srgbClr val="FFFFFF"/>
                    </a:solidFill>
                  </a:rPr>
                  <a:t>Imp B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866359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27019695"/>
              </p:ext>
            </p:extLst>
          </p:nvPr>
        </p:nvGraphicFramePr>
        <p:xfrm>
          <a:off x="404737" y="10"/>
          <a:ext cx="11437496" cy="6625447"/>
        </p:xfrm>
        <a:graphic>
          <a:graphicData uri="http://schemas.openxmlformats.org/drawingml/2006/table">
            <a:tbl>
              <a:tblPr/>
              <a:tblGrid>
                <a:gridCol w="6194363"/>
                <a:gridCol w="2244767"/>
                <a:gridCol w="1619271"/>
                <a:gridCol w="1379095"/>
              </a:tblGrid>
              <a:tr h="899410"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PROGRESS</a:t>
                      </a: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: Post Lab Key activities (tasks) up to Dec 31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Start date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End date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Status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</a:tr>
              <a:tr h="351803">
                <a:tc gridSpan="2"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lang="en-GB" altLang="en-US" sz="1800" b="1" dirty="0" smtClean="0">
                          <a:solidFill>
                            <a:schemeClr val="tx1"/>
                          </a:solidFill>
                        </a:rPr>
                        <a:t>FINALIZATION OF THE TOOL FOR STAR RATING</a:t>
                      </a:r>
                      <a:r>
                        <a:rPr lang="en-GB" altLang="en-US" sz="1800" b="1" baseline="0" dirty="0" smtClean="0">
                          <a:solidFill>
                            <a:schemeClr val="tx1"/>
                          </a:solidFill>
                        </a:rPr>
                        <a:t> OF HEALTH FACILITIES</a:t>
                      </a:r>
                      <a:endParaRPr lang="en-GB" altLang="en-US" sz="1800" b="1" dirty="0" smtClean="0">
                        <a:solidFill>
                          <a:schemeClr val="tx1"/>
                        </a:solidFill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sw-KE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w-KE" dirty="0"/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w-KE" b="1" dirty="0">
                        <a:solidFill>
                          <a:srgbClr val="00B0F0"/>
                        </a:solidFill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60328">
                <a:tc>
                  <a:txBody>
                    <a:bodyPr/>
                    <a:lstStyle/>
                    <a:p>
                      <a:pPr marL="171450" marR="0" lvl="0" indent="-1714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lang="en-GB" altLang="en-US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Incorporation of feedback from </a:t>
                      </a:r>
                      <a:r>
                        <a:rPr lang="en-GB" altLang="en-US" sz="18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Kisarawe</a:t>
                      </a:r>
                      <a:r>
                        <a:rPr lang="en-GB" altLang="en-US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Pilot 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November 3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November 10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one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5372">
                <a:tc>
                  <a:txBody>
                    <a:bodyPr/>
                    <a:lstStyle/>
                    <a:p>
                      <a:pPr marL="171450" marR="0" lvl="0" indent="-1714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GB" altLang="en-US" sz="18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Syndication with RBF team members and agreed to incorporate RBF elements into Star Rating Tool (SRT)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November 7, 2014</a:t>
                      </a:r>
                    </a:p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GB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itchFamily="34" charset="-128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November 21,2014</a:t>
                      </a:r>
                    </a:p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GB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itchFamily="34" charset="-128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one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0306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dirty="0" err="1" smtClean="0"/>
                        <a:t>MoHSW</a:t>
                      </a:r>
                      <a:r>
                        <a:rPr lang="en-US" dirty="0" smtClean="0"/>
                        <a:t> team (HSIQAS, RBF and PSS) worked with </a:t>
                      </a:r>
                      <a:r>
                        <a:rPr lang="en-US" baseline="0" dirty="0" smtClean="0"/>
                        <a:t>IHI team to finalize the SRT </a:t>
                      </a:r>
                      <a:endParaRPr lang="sw-KE" dirty="0"/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November 24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November 28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one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430307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/>
                        <a:t>Syndication with ICT</a:t>
                      </a:r>
                      <a:r>
                        <a:rPr lang="en-US" baseline="0" dirty="0" smtClean="0"/>
                        <a:t> team to work on database development</a:t>
                      </a:r>
                      <a:endParaRPr lang="sw-KE" dirty="0"/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ecember 8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ecember 8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one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24014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dirty="0" err="1" smtClean="0"/>
                        <a:t>MoHSW</a:t>
                      </a:r>
                      <a:r>
                        <a:rPr lang="en-US" dirty="0" smtClean="0"/>
                        <a:t> team (HSIQAS, RBF,</a:t>
                      </a:r>
                      <a:r>
                        <a:rPr lang="en-US" baseline="0" dirty="0" smtClean="0"/>
                        <a:t> PHAB, DCS, </a:t>
                      </a:r>
                      <a:r>
                        <a:rPr lang="en-US" dirty="0" smtClean="0"/>
                        <a:t>PSS and ICT)</a:t>
                      </a:r>
                      <a:r>
                        <a:rPr lang="en-US" baseline="0" dirty="0" smtClean="0"/>
                        <a:t> and IHI worked on scoring of the SRT</a:t>
                      </a:r>
                      <a:endParaRPr lang="sw-KE" dirty="0"/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ecember 10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ecember 11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one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1803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dirty="0" smtClean="0"/>
                        <a:t> Trial</a:t>
                      </a:r>
                      <a:r>
                        <a:rPr lang="en-US" baseline="0" dirty="0" smtClean="0"/>
                        <a:t> run of the SRT in </a:t>
                      </a:r>
                      <a:r>
                        <a:rPr lang="en-US" baseline="0" dirty="0" err="1" smtClean="0"/>
                        <a:t>Mkuranga</a:t>
                      </a:r>
                      <a:r>
                        <a:rPr lang="en-US" baseline="0" dirty="0" smtClean="0"/>
                        <a:t> district done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ecember 17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ecember 24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B0F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one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1803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baseline="0" dirty="0" smtClean="0"/>
                        <a:t>Identification of National and District level assessors from both public and private institutions 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District level done for</a:t>
                      </a:r>
                    </a:p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21 councils 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w-KE"/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b="1" dirty="0" smtClean="0">
                          <a:solidFill>
                            <a:srgbClr val="00B0F0"/>
                          </a:solidFill>
                        </a:rPr>
                        <a:t>Done</a:t>
                      </a:r>
                      <a:r>
                        <a:rPr lang="en-US" b="1" baseline="0" dirty="0" smtClean="0">
                          <a:solidFill>
                            <a:srgbClr val="00B0F0"/>
                          </a:solidFill>
                        </a:rPr>
                        <a:t> for National Assessors</a:t>
                      </a:r>
                      <a:endParaRPr lang="sw-KE" b="1" dirty="0">
                        <a:solidFill>
                          <a:srgbClr val="00B0F0"/>
                        </a:solidFill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51803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0"/>
                        </a:spcBef>
                        <a:spcAft>
                          <a:spcPts val="0"/>
                        </a:spcAft>
                        <a:buFont typeface="Wingdings" panose="05000000000000000000" pitchFamily="2" charset="2"/>
                        <a:buChar char="ü"/>
                      </a:pPr>
                      <a:r>
                        <a:rPr lang="en-US" baseline="0" dirty="0" smtClean="0"/>
                        <a:t>Completion of work plan and budget for nationwide assessment 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Ongoing 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sw-KE" dirty="0"/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b="1" dirty="0" smtClean="0">
                          <a:solidFill>
                            <a:srgbClr val="00B0F0"/>
                          </a:solidFill>
                        </a:rPr>
                        <a:t>Done</a:t>
                      </a:r>
                      <a:endParaRPr lang="sw-KE" b="1" dirty="0">
                        <a:solidFill>
                          <a:srgbClr val="00B0F0"/>
                        </a:solidFill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FD3C619-EE2F-49A5-AE39-B2248B06A468}" type="slidenum">
              <a:rPr lang="en-US" altLang="en-US" smtClean="0"/>
              <a:pPr>
                <a:defRPr/>
              </a:pPr>
              <a:t>7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52226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oup 12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44494436"/>
              </p:ext>
            </p:extLst>
          </p:nvPr>
        </p:nvGraphicFramePr>
        <p:xfrm>
          <a:off x="554651" y="423309"/>
          <a:ext cx="11047753" cy="6047190"/>
        </p:xfrm>
        <a:graphic>
          <a:graphicData uri="http://schemas.openxmlformats.org/drawingml/2006/table">
            <a:tbl>
              <a:tblPr/>
              <a:tblGrid>
                <a:gridCol w="5691267"/>
                <a:gridCol w="1394085"/>
                <a:gridCol w="1244183"/>
                <a:gridCol w="1384091"/>
                <a:gridCol w="1334127"/>
              </a:tblGrid>
              <a:tr h="996949"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PROGRESS</a:t>
                      </a:r>
                      <a:r>
                        <a:rPr kumimoji="0" lang="en-GB" altLang="en-US" sz="2400" b="1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:Key</a:t>
                      </a: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 activities (tasks) from January 1  to 31</a:t>
                      </a:r>
                      <a:r>
                        <a:rPr kumimoji="0" lang="en-GB" altLang="en-US" sz="2400" b="1" i="0" u="none" strike="noStrike" cap="none" normalizeH="0" baseline="3000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st</a:t>
                      </a: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  March 2015</a:t>
                      </a:r>
                    </a:p>
                  </a:txBody>
                  <a:tcPr marL="46659" marR="46659" marT="18650" marB="18650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Action party</a:t>
                      </a:r>
                    </a:p>
                  </a:txBody>
                  <a:tcPr marL="46659" marR="46659" marT="18650" marB="18650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Start date</a:t>
                      </a:r>
                    </a:p>
                  </a:txBody>
                  <a:tcPr marL="46659" marR="46659" marT="18650" marB="18650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End date</a:t>
                      </a:r>
                    </a:p>
                  </a:txBody>
                  <a:tcPr marL="46659" marR="46659" marT="18650" marB="18650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ea typeface="ＭＳ Ｐゴシック" pitchFamily="34" charset="-128"/>
                        </a:rPr>
                        <a:t>Status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66CC"/>
                    </a:solidFill>
                  </a:tcPr>
                </a:tc>
              </a:tr>
              <a:tr h="808031">
                <a:tc>
                  <a:txBody>
                    <a:bodyPr/>
                    <a:lstStyle/>
                    <a:p>
                      <a:pPr marL="171450" marR="0" lvl="0" indent="-1714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GB" sz="1800" baseline="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O</a:t>
                      </a:r>
                      <a:r>
                        <a:rPr lang="en-GB" sz="1800" dirty="0" smtClean="0"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ientation of the 160  national team. The orientation will be on the SRT, data base and data entry </a:t>
                      </a:r>
                      <a:endParaRPr kumimoji="0" lang="en-GB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itchFamily="34" charset="-128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None/>
                        <a:tabLst/>
                        <a:defRPr/>
                      </a:pPr>
                      <a:endParaRPr kumimoji="0" lang="en-GB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itchFamily="34" charset="-128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HSIQAS-</a:t>
                      </a:r>
                      <a:r>
                        <a:rPr kumimoji="0" lang="en-GB" alt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MoHSW</a:t>
                      </a: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 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January 5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January  9, 2014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rowSpan="3">
                  <a:txBody>
                    <a:bodyPr/>
                    <a:lstStyle/>
                    <a:p>
                      <a:pPr marL="0" marR="0" lvl="0" indent="0" algn="ctr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2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These tasks are not yet done due to challenge of funding</a:t>
                      </a:r>
                    </a:p>
                  </a:txBody>
                  <a:tcPr marL="46659" marR="46659" marT="18650" marB="18650" vert="vert27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95241">
                <a:tc>
                  <a:txBody>
                    <a:bodyPr/>
                    <a:lstStyle/>
                    <a:p>
                      <a:pPr marL="171450" marR="0" lvl="0" indent="-1714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GB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National team to orient the regional assessment team ( 6 per council). The orientation will be on the SRT, data base and data entry</a:t>
                      </a:r>
                      <a:endParaRPr lang="en-GB" altLang="en-US" sz="18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National team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January 12 , 2015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January 16, 2015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GB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itchFamily="34" charset="-128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207733">
                <a:tc>
                  <a:txBody>
                    <a:bodyPr/>
                    <a:lstStyle/>
                    <a:p>
                      <a:pPr marL="171450" marR="0" lvl="0" indent="-1714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lang="en-GB" altLang="en-US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ssessment of all primary health facilities at district level (hospital at district level, Health Centre and dispensaries)</a:t>
                      </a:r>
                    </a:p>
                    <a:p>
                      <a:pPr marL="628650" marR="0" lvl="1" indent="-1714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Ø"/>
                        <a:tabLst/>
                      </a:pPr>
                      <a:r>
                        <a:rPr lang="en-GB" altLang="en-US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ata entry</a:t>
                      </a:r>
                      <a:r>
                        <a:rPr lang="en-GB" altLang="en-US" sz="18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on daily basis</a:t>
                      </a:r>
                    </a:p>
                    <a:p>
                      <a:pPr marL="628650" marR="0" lvl="1" indent="-1714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Ø"/>
                        <a:tabLst/>
                      </a:pPr>
                      <a:r>
                        <a:rPr lang="en-GB" altLang="en-US" sz="18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roposed QIP for each facility for implementation</a:t>
                      </a:r>
                      <a:endParaRPr lang="en-GB" altLang="en-US" sz="18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National and Regional team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January 19, 2015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February 27, 2015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GB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itchFamily="34" charset="-128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6241">
                <a:tc>
                  <a:txBody>
                    <a:bodyPr/>
                    <a:lstStyle/>
                    <a:p>
                      <a:pPr marL="171450" marR="0" lvl="0" indent="-1714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US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ll facility plans and budgets to be consolidated by CHMT and incorporated in the Comprehensive Council Health Plan (CCHP). 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Assessors’ team leads/CHMT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March 2, 2015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March 14, 2015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GB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itchFamily="34" charset="-128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vert="vert27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786241">
                <a:tc>
                  <a:txBody>
                    <a:bodyPr/>
                    <a:lstStyle/>
                    <a:p>
                      <a:pPr marL="171450" marR="0" lvl="0" indent="-17145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Wingdings" panose="05000000000000000000" pitchFamily="2" charset="2"/>
                        <a:buChar char="ü"/>
                        <a:tabLst/>
                        <a:defRPr/>
                      </a:pPr>
                      <a:r>
                        <a:rPr lang="en-GB" altLang="en-US" sz="18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velop a  detailed implementation plan to roll out the intervention program in the 12 regions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HSIQAS-</a:t>
                      </a:r>
                      <a:r>
                        <a:rPr kumimoji="0" lang="en-GB" altLang="en-US" sz="18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MoHSW</a:t>
                      </a:r>
                      <a:endParaRPr kumimoji="0" lang="en-GB" altLang="en-US" sz="18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itchFamily="34" charset="-128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  <a:defRPr/>
                      </a:pPr>
                      <a:r>
                        <a:rPr kumimoji="0" lang="en-GB" altLang="en-US" sz="18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March 16, 2015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n-GB" altLang="en-US" sz="18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ＭＳ Ｐゴシック" pitchFamily="34" charset="-128"/>
                          <a:cs typeface="Arial" panose="020B0604020202020204" pitchFamily="34" charset="0"/>
                        </a:rPr>
                        <a:t>March 31, 2015</a:t>
                      </a:r>
                    </a:p>
                  </a:txBody>
                  <a:tcPr marL="46659" marR="46659" marT="18650" marB="1865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81075" rtl="0" eaLnBrk="0" fontAlgn="base" latinLnBrk="0" hangingPunct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ct val="0"/>
                        </a:spcAft>
                        <a:buClr>
                          <a:schemeClr val="tx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en-GB" altLang="en-US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  <a:ea typeface="ＭＳ Ｐゴシック" pitchFamily="34" charset="-128"/>
                        <a:cs typeface="Arial" panose="020B0604020202020204" pitchFamily="34" charset="0"/>
                      </a:endParaRPr>
                    </a:p>
                  </a:txBody>
                  <a:tcPr marL="46659" marR="46659" marT="18650" marB="18650" vert="vert270" anchor="ctr" horzOverflow="overflow">
                    <a:lnL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7F7F7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FD3C619-EE2F-49A5-AE39-B2248B06A468}" type="slidenum">
              <a:rPr lang="en-US" altLang="en-US" smtClean="0"/>
              <a:pPr>
                <a:defRPr/>
              </a:pPr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89556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CHING THE REGIONS, COUNCILS AND HEALTH </a:t>
            </a:r>
            <a:r>
              <a:rPr lang="en-US" dirty="0" smtClean="0"/>
              <a:t>FACILITIES (1/3)</a:t>
            </a:r>
            <a:endParaRPr lang="sw-K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01600" y="764499"/>
            <a:ext cx="12090400" cy="6053106"/>
          </a:xfrm>
        </p:spPr>
        <p:txBody>
          <a:bodyPr>
            <a:normAutofit fontScale="92500"/>
          </a:bodyPr>
          <a:lstStyle/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800" dirty="0" smtClean="0"/>
              <a:t>PMO-RALG –Will be involved as national assessors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800" dirty="0" smtClean="0"/>
              <a:t>RHMTs – </a:t>
            </a:r>
          </a:p>
          <a:p>
            <a:pPr marL="1143000" lvl="1" indent="-457200"/>
            <a:r>
              <a:rPr lang="en-US" sz="2800" dirty="0" smtClean="0"/>
              <a:t>Will be oriented on BRN and the SRT before training of LGA assessors </a:t>
            </a:r>
          </a:p>
          <a:p>
            <a:pPr marL="1143000" lvl="1" indent="-457200"/>
            <a:r>
              <a:rPr lang="en-US" sz="2800" dirty="0" smtClean="0"/>
              <a:t> 2 or 3 RHMT members will be accompanying assessment teams at LGA level. (</a:t>
            </a:r>
            <a:r>
              <a:rPr lang="en-US" sz="2800" i="1" dirty="0" smtClean="0"/>
              <a:t>so as not to disrupt RHMT functioning</a:t>
            </a:r>
            <a:r>
              <a:rPr lang="en-US" sz="2800" dirty="0" smtClean="0"/>
              <a:t>)  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800" dirty="0" smtClean="0"/>
              <a:t>CHMTs </a:t>
            </a:r>
          </a:p>
          <a:p>
            <a:pPr marL="1143000" lvl="1" indent="-457200"/>
            <a:r>
              <a:rPr lang="en-US" sz="2800" dirty="0" smtClean="0"/>
              <a:t>will be oriented on the tool</a:t>
            </a:r>
          </a:p>
          <a:p>
            <a:pPr marL="1143000" lvl="1" indent="-457200"/>
            <a:r>
              <a:rPr lang="en-US" sz="2800" dirty="0"/>
              <a:t> </a:t>
            </a:r>
            <a:r>
              <a:rPr lang="en-US" sz="2800" dirty="0" smtClean="0"/>
              <a:t>will accompany assessment teams ( 1 CHMT member for each team)</a:t>
            </a:r>
          </a:p>
          <a:p>
            <a:pPr marL="1143000" lvl="1" indent="-457200"/>
            <a:r>
              <a:rPr lang="en-US" sz="2800" dirty="0"/>
              <a:t> w</a:t>
            </a:r>
            <a:r>
              <a:rPr lang="en-US" sz="2800" dirty="0" smtClean="0"/>
              <a:t>ill incorporate the QIP into the CCHP</a:t>
            </a:r>
          </a:p>
          <a:p>
            <a:pPr marL="1143000" lvl="1" indent="-457200"/>
            <a:r>
              <a:rPr lang="en-US" sz="2800" dirty="0"/>
              <a:t> w</a:t>
            </a:r>
            <a:r>
              <a:rPr lang="en-US" sz="2800" dirty="0" smtClean="0"/>
              <a:t>ill do quarterly supportive supervision  </a:t>
            </a:r>
          </a:p>
          <a:p>
            <a:pPr marL="1143000" lvl="1" indent="-457200"/>
            <a:r>
              <a:rPr lang="en-US" sz="2800" dirty="0"/>
              <a:t> </a:t>
            </a:r>
            <a:r>
              <a:rPr lang="en-US" sz="2800" dirty="0" smtClean="0"/>
              <a:t> will report to higher level (regional and national level)</a:t>
            </a:r>
          </a:p>
          <a:p>
            <a:pPr marL="457200" indent="-457200">
              <a:buFont typeface="Wingdings" panose="05000000000000000000" pitchFamily="2" charset="2"/>
              <a:buChar char="ü"/>
            </a:pPr>
            <a:r>
              <a:rPr lang="en-US" sz="2800" dirty="0" smtClean="0"/>
              <a:t>Health Facilities </a:t>
            </a:r>
          </a:p>
          <a:p>
            <a:pPr marL="1143000" lvl="1" indent="-457200"/>
            <a:r>
              <a:rPr lang="en-US" sz="2800" dirty="0" smtClean="0"/>
              <a:t>Will support assessment teams</a:t>
            </a:r>
          </a:p>
          <a:p>
            <a:pPr marL="1143000" lvl="1" indent="-457200"/>
            <a:r>
              <a:rPr lang="en-US" sz="2800" dirty="0" smtClean="0"/>
              <a:t>Will implement QIPs</a:t>
            </a:r>
          </a:p>
          <a:p>
            <a:pPr lvl="1"/>
            <a:endParaRPr lang="en-US" sz="28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pPr>
              <a:defRPr/>
            </a:pPr>
            <a:fld id="{3FD3C619-EE2F-49A5-AE39-B2248B06A468}" type="slidenum">
              <a:rPr lang="en-US" altLang="en-US" smtClean="0"/>
              <a:pPr>
                <a:defRPr/>
              </a:pPr>
              <a:t>9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88475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heme/theme1.xml><?xml version="1.0" encoding="utf-8"?>
<a:theme xmlns:a="http://schemas.openxmlformats.org/drawingml/2006/main" name="Pemandu_Tanzania_2014">
  <a:themeElements>
    <a:clrScheme name="PEMANDU">
      <a:dk1>
        <a:srgbClr val="000000"/>
      </a:dk1>
      <a:lt1>
        <a:srgbClr val="FFFFFF"/>
      </a:lt1>
      <a:dk2>
        <a:srgbClr val="00597E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597E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1_Pemandu_Tanzania_2014">
  <a:themeElements>
    <a:clrScheme name="PEMANDU">
      <a:dk1>
        <a:srgbClr val="000000"/>
      </a:dk1>
      <a:lt1>
        <a:srgbClr val="FFFFFF"/>
      </a:lt1>
      <a:dk2>
        <a:srgbClr val="00597E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597E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Pemandu_Tanzania_2014">
  <a:themeElements>
    <a:clrScheme name="PEMANDU">
      <a:dk1>
        <a:srgbClr val="000000"/>
      </a:dk1>
      <a:lt1>
        <a:srgbClr val="FFFFFF"/>
      </a:lt1>
      <a:dk2>
        <a:srgbClr val="00597E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597E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3_Pemandu_Tanzania_2014">
  <a:themeElements>
    <a:clrScheme name="PEMANDU">
      <a:dk1>
        <a:srgbClr val="000000"/>
      </a:dk1>
      <a:lt1>
        <a:srgbClr val="FFFFFF"/>
      </a:lt1>
      <a:dk2>
        <a:srgbClr val="00597E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597E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4_Pemandu_Tanzania_2014">
  <a:themeElements>
    <a:clrScheme name="PEMANDU">
      <a:dk1>
        <a:srgbClr val="000000"/>
      </a:dk1>
      <a:lt1>
        <a:srgbClr val="FFFFFF"/>
      </a:lt1>
      <a:dk2>
        <a:srgbClr val="00597E"/>
      </a:dk2>
      <a:lt2>
        <a:srgbClr val="FFFFFF"/>
      </a:lt2>
      <a:accent1>
        <a:srgbClr val="C7E0FB"/>
      </a:accent1>
      <a:accent2>
        <a:srgbClr val="91B0FF"/>
      </a:accent2>
      <a:accent3>
        <a:srgbClr val="0066CC"/>
      </a:accent3>
      <a:accent4>
        <a:srgbClr val="00597E"/>
      </a:accent4>
      <a:accent5>
        <a:srgbClr val="FF6600"/>
      </a:accent5>
      <a:accent6>
        <a:srgbClr val="808080"/>
      </a:accent6>
      <a:hlink>
        <a:srgbClr val="0066CC"/>
      </a:hlink>
      <a:folHlink>
        <a:srgbClr val="00296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tx1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8CEEA23E4E24D4082654C55388C5BE8" ma:contentTypeVersion="0" ma:contentTypeDescription="Create a new document." ma:contentTypeScope="" ma:versionID="87deb32b7336a240853198cb6801e0ab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9a4b8568435cac76f8a919af94f5200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A0C5636A-49E6-4989-A419-290B8945BB4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AF977830-B344-4F7B-AAA6-9342C6BF49E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DC725B2D-65B5-4B42-B49E-937B8A057790}">
  <ds:schemaRefs>
    <ds:schemaRef ds:uri="http://purl.org/dc/elements/1.1/"/>
    <ds:schemaRef ds:uri="http://schemas.microsoft.com/office/2006/documentManagement/types"/>
    <ds:schemaRef ds:uri="http://purl.org/dc/terms/"/>
    <ds:schemaRef ds:uri="http://schemas.openxmlformats.org/package/2006/metadata/core-properties"/>
    <ds:schemaRef ds:uri="http://www.w3.org/XML/1998/namespace"/>
    <ds:schemaRef ds:uri="http://purl.org/dc/dcmitype/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990</TotalTime>
  <Words>1622</Words>
  <Application>Microsoft Office PowerPoint</Application>
  <PresentationFormat>Widescreen</PresentationFormat>
  <Paragraphs>356</Paragraphs>
  <Slides>16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7" baseType="lpstr">
      <vt:lpstr>ＭＳ Ｐゴシック</vt:lpstr>
      <vt:lpstr>Arial</vt:lpstr>
      <vt:lpstr>Calibri</vt:lpstr>
      <vt:lpstr>Times New Roman</vt:lpstr>
      <vt:lpstr>Wingdings</vt:lpstr>
      <vt:lpstr>Pemandu_Tanzania_2014</vt:lpstr>
      <vt:lpstr>1_Pemandu_Tanzania_2014</vt:lpstr>
      <vt:lpstr>2_Pemandu_Tanzania_2014</vt:lpstr>
      <vt:lpstr>3_Pemandu_Tanzania_2014</vt:lpstr>
      <vt:lpstr>4_Pemandu_Tanzania_2014</vt:lpstr>
      <vt:lpstr>think-cell Slide</vt:lpstr>
      <vt:lpstr>          PROGRESS ON BRN IMPLEMENTATION OF STAR RATING OF PRIMARY HEALTH FACILITIES</vt:lpstr>
      <vt:lpstr>Background to  BRN:</vt:lpstr>
      <vt:lpstr>Background to BRN: specific strengthening of health facilities</vt:lpstr>
      <vt:lpstr>Background to BRN: Implementation of the intervention programs will be for *12 regions only</vt:lpstr>
      <vt:lpstr>Background to BRN: Leverage on the national and regional team to assess 6760 facilities by March 2015 </vt:lpstr>
      <vt:lpstr>Background to BRN: Ensuring sustainability of the Star Rating by monetary and non-monetary rewards </vt:lpstr>
      <vt:lpstr>PowerPoint Presentation</vt:lpstr>
      <vt:lpstr>PowerPoint Presentation</vt:lpstr>
      <vt:lpstr>REACHING THE REGIONS, COUNCILS AND HEALTH FACILITIES (1/3)</vt:lpstr>
      <vt:lpstr>REACHING THE REGIONS, COUNCILS AND HEALTH FACILITIES (2/3)</vt:lpstr>
      <vt:lpstr>REACHING THE REGIONS, COUNCILS AND HEALTH FACILITIES (3/3)</vt:lpstr>
      <vt:lpstr>M &amp; E AND MONITORING INDICATORS</vt:lpstr>
      <vt:lpstr>BUDGET FOR ASSESSMENT OF THE WHOLE COUNTRY</vt:lpstr>
      <vt:lpstr>CHALLENGES</vt:lpstr>
      <vt:lpstr>WAY FORWARD</vt:lpstr>
      <vt:lpstr>PowerPoint Presentation</vt:lpstr>
    </vt:vector>
  </TitlesOfParts>
  <Company>Microsoft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OF BRN IMPLEMENTATION ARRANGEMENT</dc:title>
  <dc:creator>user</dc:creator>
  <cp:lastModifiedBy>Aurelie Righetti</cp:lastModifiedBy>
  <cp:revision>105</cp:revision>
  <dcterms:created xsi:type="dcterms:W3CDTF">2014-12-12T11:49:22Z</dcterms:created>
  <dcterms:modified xsi:type="dcterms:W3CDTF">2015-02-05T04:57:2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8CEEA23E4E24D4082654C55388C5BE8</vt:lpwstr>
  </property>
  <property fmtid="{D5CDD505-2E9C-101B-9397-08002B2CF9AE}" pid="3" name="IsMyDocuments">
    <vt:bool>true</vt:bool>
  </property>
</Properties>
</file>